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9" r:id="rId5"/>
    <p:sldMasterId id="2147483702" r:id="rId6"/>
    <p:sldMasterId id="2147483737" r:id="rId7"/>
  </p:sldMasterIdLst>
  <p:notesMasterIdLst>
    <p:notesMasterId r:id="rId13"/>
  </p:notesMasterIdLst>
  <p:sldIdLst>
    <p:sldId id="2076136458" r:id="rId8"/>
    <p:sldId id="613" r:id="rId9"/>
    <p:sldId id="10386" r:id="rId10"/>
    <p:sldId id="2137005736" r:id="rId11"/>
    <p:sldId id="2137005737"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B9CA"/>
    <a:srgbClr val="4701A7"/>
    <a:srgbClr val="BA20BC"/>
    <a:srgbClr val="FF6327"/>
    <a:srgbClr val="CB2980"/>
    <a:srgbClr val="15636B"/>
    <a:srgbClr val="CC32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5FBCAB-D22B-4A62-B9AC-D0FD9523E050}" v="1120" dt="2021-02-07T22:12:19.5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8" y="2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3.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am, Aamer" userId="5d86354b-e28f-48b6-b29c-f9a4b7144ce7" providerId="ADAL" clId="{0B721F74-3198-4637-8FED-F1BDE7A94B35}"/>
    <pc:docChg chg="undo custSel modSld">
      <pc:chgData name="Adam, Aamer" userId="5d86354b-e28f-48b6-b29c-f9a4b7144ce7" providerId="ADAL" clId="{0B721F74-3198-4637-8FED-F1BDE7A94B35}" dt="2021-02-05T21:57:30.075" v="2208" actId="20577"/>
      <pc:docMkLst>
        <pc:docMk/>
      </pc:docMkLst>
      <pc:sldChg chg="addSp delSp modSp mod">
        <pc:chgData name="Adam, Aamer" userId="5d86354b-e28f-48b6-b29c-f9a4b7144ce7" providerId="ADAL" clId="{0B721F74-3198-4637-8FED-F1BDE7A94B35}" dt="2021-02-05T21:57:30.075" v="2208" actId="20577"/>
        <pc:sldMkLst>
          <pc:docMk/>
          <pc:sldMk cId="1028514834" sldId="257"/>
        </pc:sldMkLst>
        <pc:spChg chg="mod">
          <ac:chgData name="Adam, Aamer" userId="5d86354b-e28f-48b6-b29c-f9a4b7144ce7" providerId="ADAL" clId="{0B721F74-3198-4637-8FED-F1BDE7A94B35}" dt="2021-02-05T21:43:44.429" v="2153" actId="1076"/>
          <ac:spMkLst>
            <pc:docMk/>
            <pc:sldMk cId="1028514834" sldId="257"/>
            <ac:spMk id="2" creationId="{30A4696B-AAAC-44AB-A4A1-AC0B8E5F9FA6}"/>
          </ac:spMkLst>
        </pc:spChg>
        <pc:spChg chg="add mod">
          <ac:chgData name="Adam, Aamer" userId="5d86354b-e28f-48b6-b29c-f9a4b7144ce7" providerId="ADAL" clId="{0B721F74-3198-4637-8FED-F1BDE7A94B35}" dt="2021-02-05T21:41:20.876" v="2115" actId="1076"/>
          <ac:spMkLst>
            <pc:docMk/>
            <pc:sldMk cId="1028514834" sldId="257"/>
            <ac:spMk id="3" creationId="{28DB995E-08AA-4E3C-92F4-9778C44410F1}"/>
          </ac:spMkLst>
        </pc:spChg>
        <pc:spChg chg="add mod">
          <ac:chgData name="Adam, Aamer" userId="5d86354b-e28f-48b6-b29c-f9a4b7144ce7" providerId="ADAL" clId="{0B721F74-3198-4637-8FED-F1BDE7A94B35}" dt="2021-02-05T21:57:30.075" v="2208" actId="20577"/>
          <ac:spMkLst>
            <pc:docMk/>
            <pc:sldMk cId="1028514834" sldId="257"/>
            <ac:spMk id="7" creationId="{7E195357-DCBF-4DB2-8787-13DF40FB39CE}"/>
          </ac:spMkLst>
        </pc:spChg>
        <pc:spChg chg="mod">
          <ac:chgData name="Adam, Aamer" userId="5d86354b-e28f-48b6-b29c-f9a4b7144ce7" providerId="ADAL" clId="{0B721F74-3198-4637-8FED-F1BDE7A94B35}" dt="2021-02-05T21:43:44.429" v="2153" actId="1076"/>
          <ac:spMkLst>
            <pc:docMk/>
            <pc:sldMk cId="1028514834" sldId="257"/>
            <ac:spMk id="43" creationId="{C2707413-A140-4A22-901F-65DB3469C754}"/>
          </ac:spMkLst>
        </pc:spChg>
        <pc:spChg chg="del">
          <ac:chgData name="Adam, Aamer" userId="5d86354b-e28f-48b6-b29c-f9a4b7144ce7" providerId="ADAL" clId="{0B721F74-3198-4637-8FED-F1BDE7A94B35}" dt="2021-02-05T21:44:31.778" v="2156" actId="478"/>
          <ac:spMkLst>
            <pc:docMk/>
            <pc:sldMk cId="1028514834" sldId="257"/>
            <ac:spMk id="44" creationId="{571FF29B-8725-4300-9335-79EBA7A95B97}"/>
          </ac:spMkLst>
        </pc:spChg>
        <pc:spChg chg="add mod">
          <ac:chgData name="Adam, Aamer" userId="5d86354b-e28f-48b6-b29c-f9a4b7144ce7" providerId="ADAL" clId="{0B721F74-3198-4637-8FED-F1BDE7A94B35}" dt="2021-02-05T21:43:44.429" v="2153" actId="1076"/>
          <ac:spMkLst>
            <pc:docMk/>
            <pc:sldMk cId="1028514834" sldId="257"/>
            <ac:spMk id="51" creationId="{4DF7C0E9-B564-4233-900E-B4621A01326D}"/>
          </ac:spMkLst>
        </pc:spChg>
        <pc:spChg chg="del">
          <ac:chgData name="Adam, Aamer" userId="5d86354b-e28f-48b6-b29c-f9a4b7144ce7" providerId="ADAL" clId="{0B721F74-3198-4637-8FED-F1BDE7A94B35}" dt="2021-02-05T21:44:34.002" v="2157" actId="478"/>
          <ac:spMkLst>
            <pc:docMk/>
            <pc:sldMk cId="1028514834" sldId="257"/>
            <ac:spMk id="21515" creationId="{C36AF8BF-27B3-4C76-9432-F4B6DAAA6733}"/>
          </ac:spMkLst>
        </pc:spChg>
        <pc:grpChg chg="add mod">
          <ac:chgData name="Adam, Aamer" userId="5d86354b-e28f-48b6-b29c-f9a4b7144ce7" providerId="ADAL" clId="{0B721F74-3198-4637-8FED-F1BDE7A94B35}" dt="2021-02-05T21:43:44.429" v="2153" actId="1076"/>
          <ac:grpSpMkLst>
            <pc:docMk/>
            <pc:sldMk cId="1028514834" sldId="257"/>
            <ac:grpSpMk id="4" creationId="{341A9939-BD80-4DE4-BF26-4F8792083CCC}"/>
          </ac:grpSpMkLst>
        </pc:grpChg>
        <pc:picChg chg="mod">
          <ac:chgData name="Adam, Aamer" userId="5d86354b-e28f-48b6-b29c-f9a4b7144ce7" providerId="ADAL" clId="{0B721F74-3198-4637-8FED-F1BDE7A94B35}" dt="2021-02-05T21:43:44.429" v="2153" actId="1076"/>
          <ac:picMkLst>
            <pc:docMk/>
            <pc:sldMk cId="1028514834" sldId="257"/>
            <ac:picMk id="21506" creationId="{667CD4E3-1136-4E31-B84C-229FB51A3691}"/>
          </ac:picMkLst>
        </pc:picChg>
        <pc:cxnChg chg="add del">
          <ac:chgData name="Adam, Aamer" userId="5d86354b-e28f-48b6-b29c-f9a4b7144ce7" providerId="ADAL" clId="{0B721F74-3198-4637-8FED-F1BDE7A94B35}" dt="2021-02-05T21:44:28.998" v="2155" actId="11529"/>
          <ac:cxnSpMkLst>
            <pc:docMk/>
            <pc:sldMk cId="1028514834" sldId="257"/>
            <ac:cxnSpMk id="6" creationId="{8683DAB7-385F-4AB7-BCC6-C5F914F89585}"/>
          </ac:cxnSpMkLst>
        </pc:cxnChg>
      </pc:sldChg>
      <pc:sldChg chg="addSp modSp mod">
        <pc:chgData name="Adam, Aamer" userId="5d86354b-e28f-48b6-b29c-f9a4b7144ce7" providerId="ADAL" clId="{0B721F74-3198-4637-8FED-F1BDE7A94B35}" dt="2021-02-05T21:16:52.895" v="1891" actId="14100"/>
        <pc:sldMkLst>
          <pc:docMk/>
          <pc:sldMk cId="3610938658" sldId="613"/>
        </pc:sldMkLst>
        <pc:spChg chg="add mod">
          <ac:chgData name="Adam, Aamer" userId="5d86354b-e28f-48b6-b29c-f9a4b7144ce7" providerId="ADAL" clId="{0B721F74-3198-4637-8FED-F1BDE7A94B35}" dt="2021-02-05T20:02:51.274" v="490" actId="5793"/>
          <ac:spMkLst>
            <pc:docMk/>
            <pc:sldMk cId="3610938658" sldId="613"/>
            <ac:spMk id="20" creationId="{20085F08-28A7-456E-AC00-2C16802D22CC}"/>
          </ac:spMkLst>
        </pc:spChg>
        <pc:spChg chg="mod">
          <ac:chgData name="Adam, Aamer" userId="5d86354b-e28f-48b6-b29c-f9a4b7144ce7" providerId="ADAL" clId="{0B721F74-3198-4637-8FED-F1BDE7A94B35}" dt="2021-02-05T19:59:56.533" v="232" actId="20577"/>
          <ac:spMkLst>
            <pc:docMk/>
            <pc:sldMk cId="3610938658" sldId="613"/>
            <ac:spMk id="48" creationId="{00000000-0000-0000-0000-000000000000}"/>
          </ac:spMkLst>
        </pc:spChg>
        <pc:spChg chg="mod">
          <ac:chgData name="Adam, Aamer" userId="5d86354b-e28f-48b6-b29c-f9a4b7144ce7" providerId="ADAL" clId="{0B721F74-3198-4637-8FED-F1BDE7A94B35}" dt="2021-02-05T20:02:58.111" v="492" actId="5793"/>
          <ac:spMkLst>
            <pc:docMk/>
            <pc:sldMk cId="3610938658" sldId="613"/>
            <ac:spMk id="49" creationId="{00000000-0000-0000-0000-000000000000}"/>
          </ac:spMkLst>
        </pc:spChg>
        <pc:spChg chg="mod">
          <ac:chgData name="Adam, Aamer" userId="5d86354b-e28f-48b6-b29c-f9a4b7144ce7" providerId="ADAL" clId="{0B721F74-3198-4637-8FED-F1BDE7A94B35}" dt="2021-02-05T20:03:36.596" v="524" actId="5793"/>
          <ac:spMkLst>
            <pc:docMk/>
            <pc:sldMk cId="3610938658" sldId="613"/>
            <ac:spMk id="50" creationId="{00000000-0000-0000-0000-000000000000}"/>
          </ac:spMkLst>
        </pc:spChg>
        <pc:cxnChg chg="mod">
          <ac:chgData name="Adam, Aamer" userId="5d86354b-e28f-48b6-b29c-f9a4b7144ce7" providerId="ADAL" clId="{0B721F74-3198-4637-8FED-F1BDE7A94B35}" dt="2021-02-05T21:16:52.895" v="1891" actId="14100"/>
          <ac:cxnSpMkLst>
            <pc:docMk/>
            <pc:sldMk cId="3610938658" sldId="613"/>
            <ac:cxnSpMk id="19" creationId="{79DD59C4-C81C-489F-B875-9142FA10617A}"/>
          </ac:cxnSpMkLst>
        </pc:cxnChg>
      </pc:sldChg>
      <pc:sldChg chg="modSp mod">
        <pc:chgData name="Adam, Aamer" userId="5d86354b-e28f-48b6-b29c-f9a4b7144ce7" providerId="ADAL" clId="{0B721F74-3198-4637-8FED-F1BDE7A94B35}" dt="2021-02-05T21:23:07.005" v="2014" actId="113"/>
        <pc:sldMkLst>
          <pc:docMk/>
          <pc:sldMk cId="2019079057" sldId="10386"/>
        </pc:sldMkLst>
        <pc:spChg chg="mod">
          <ac:chgData name="Adam, Aamer" userId="5d86354b-e28f-48b6-b29c-f9a4b7144ce7" providerId="ADAL" clId="{0B721F74-3198-4637-8FED-F1BDE7A94B35}" dt="2021-02-05T20:04:29.960" v="608" actId="5793"/>
          <ac:spMkLst>
            <pc:docMk/>
            <pc:sldMk cId="2019079057" sldId="10386"/>
            <ac:spMk id="4" creationId="{8CCD45E1-BC0E-4641-8BD2-4172E29636AF}"/>
          </ac:spMkLst>
        </pc:spChg>
        <pc:spChg chg="mod">
          <ac:chgData name="Adam, Aamer" userId="5d86354b-e28f-48b6-b29c-f9a4b7144ce7" providerId="ADAL" clId="{0B721F74-3198-4637-8FED-F1BDE7A94B35}" dt="2021-02-05T21:23:07.005" v="2014" actId="113"/>
          <ac:spMkLst>
            <pc:docMk/>
            <pc:sldMk cId="2019079057" sldId="10386"/>
            <ac:spMk id="114" creationId="{1C837E96-ABC7-4F5E-8004-6581F6631F17}"/>
          </ac:spMkLst>
        </pc:spChg>
        <pc:spChg chg="mod">
          <ac:chgData name="Adam, Aamer" userId="5d86354b-e28f-48b6-b29c-f9a4b7144ce7" providerId="ADAL" clId="{0B721F74-3198-4637-8FED-F1BDE7A94B35}" dt="2021-02-05T21:21:11.738" v="1902" actId="554"/>
          <ac:spMkLst>
            <pc:docMk/>
            <pc:sldMk cId="2019079057" sldId="10386"/>
            <ac:spMk id="115" creationId="{078582B0-3DF0-4396-859C-975604B24201}"/>
          </ac:spMkLst>
        </pc:spChg>
        <pc:spChg chg="mod">
          <ac:chgData name="Adam, Aamer" userId="5d86354b-e28f-48b6-b29c-f9a4b7144ce7" providerId="ADAL" clId="{0B721F74-3198-4637-8FED-F1BDE7A94B35}" dt="2021-02-05T21:21:11.738" v="1902" actId="554"/>
          <ac:spMkLst>
            <pc:docMk/>
            <pc:sldMk cId="2019079057" sldId="10386"/>
            <ac:spMk id="116" creationId="{5A0B4513-1AB2-4832-AD41-A8762F73C8D0}"/>
          </ac:spMkLst>
        </pc:spChg>
        <pc:spChg chg="mod">
          <ac:chgData name="Adam, Aamer" userId="5d86354b-e28f-48b6-b29c-f9a4b7144ce7" providerId="ADAL" clId="{0B721F74-3198-4637-8FED-F1BDE7A94B35}" dt="2021-02-05T21:21:11.738" v="1902" actId="554"/>
          <ac:spMkLst>
            <pc:docMk/>
            <pc:sldMk cId="2019079057" sldId="10386"/>
            <ac:spMk id="117" creationId="{FF299215-4B5A-43FE-AB69-1584D8E39452}"/>
          </ac:spMkLst>
        </pc:spChg>
        <pc:spChg chg="mod">
          <ac:chgData name="Adam, Aamer" userId="5d86354b-e28f-48b6-b29c-f9a4b7144ce7" providerId="ADAL" clId="{0B721F74-3198-4637-8FED-F1BDE7A94B35}" dt="2021-02-05T21:21:11.738" v="1902" actId="554"/>
          <ac:spMkLst>
            <pc:docMk/>
            <pc:sldMk cId="2019079057" sldId="10386"/>
            <ac:spMk id="118" creationId="{13BC6EDF-E410-4303-A8E8-56AFF378C2F7}"/>
          </ac:spMkLst>
        </pc:spChg>
        <pc:spChg chg="mod">
          <ac:chgData name="Adam, Aamer" userId="5d86354b-e28f-48b6-b29c-f9a4b7144ce7" providerId="ADAL" clId="{0B721F74-3198-4637-8FED-F1BDE7A94B35}" dt="2021-02-05T20:11:42.303" v="1024" actId="20577"/>
          <ac:spMkLst>
            <pc:docMk/>
            <pc:sldMk cId="2019079057" sldId="10386"/>
            <ac:spMk id="122" creationId="{B69FFA9C-5B7F-4178-96F2-0867CE5BAF14}"/>
          </ac:spMkLst>
        </pc:spChg>
        <pc:grpChg chg="mod">
          <ac:chgData name="Adam, Aamer" userId="5d86354b-e28f-48b6-b29c-f9a4b7144ce7" providerId="ADAL" clId="{0B721F74-3198-4637-8FED-F1BDE7A94B35}" dt="2021-02-05T20:11:13.563" v="1009" actId="408"/>
          <ac:grpSpMkLst>
            <pc:docMk/>
            <pc:sldMk cId="2019079057" sldId="10386"/>
            <ac:grpSpMk id="108" creationId="{57644EC8-33AA-4656-AE20-602AB5BAD809}"/>
          </ac:grpSpMkLst>
        </pc:grpChg>
        <pc:grpChg chg="mod">
          <ac:chgData name="Adam, Aamer" userId="5d86354b-e28f-48b6-b29c-f9a4b7144ce7" providerId="ADAL" clId="{0B721F74-3198-4637-8FED-F1BDE7A94B35}" dt="2021-02-05T20:11:13.563" v="1009" actId="408"/>
          <ac:grpSpMkLst>
            <pc:docMk/>
            <pc:sldMk cId="2019079057" sldId="10386"/>
            <ac:grpSpMk id="109" creationId="{7CC8F700-3FD5-4F01-869E-48F1BCF2CCD6}"/>
          </ac:grpSpMkLst>
        </pc:grpChg>
        <pc:grpChg chg="mod">
          <ac:chgData name="Adam, Aamer" userId="5d86354b-e28f-48b6-b29c-f9a4b7144ce7" providerId="ADAL" clId="{0B721F74-3198-4637-8FED-F1BDE7A94B35}" dt="2021-02-05T20:11:05.268" v="1008" actId="408"/>
          <ac:grpSpMkLst>
            <pc:docMk/>
            <pc:sldMk cId="2019079057" sldId="10386"/>
            <ac:grpSpMk id="110" creationId="{22FE448D-53AA-4CCC-A091-B63A57727054}"/>
          </ac:grpSpMkLst>
        </pc:grpChg>
        <pc:grpChg chg="mod">
          <ac:chgData name="Adam, Aamer" userId="5d86354b-e28f-48b6-b29c-f9a4b7144ce7" providerId="ADAL" clId="{0B721F74-3198-4637-8FED-F1BDE7A94B35}" dt="2021-02-05T20:10:57.641" v="1007" actId="408"/>
          <ac:grpSpMkLst>
            <pc:docMk/>
            <pc:sldMk cId="2019079057" sldId="10386"/>
            <ac:grpSpMk id="111" creationId="{EF46796B-5C9A-4959-AB29-2199C41ECE1D}"/>
          </ac:grpSpMkLst>
        </pc:grpChg>
        <pc:grpChg chg="mod">
          <ac:chgData name="Adam, Aamer" userId="5d86354b-e28f-48b6-b29c-f9a4b7144ce7" providerId="ADAL" clId="{0B721F74-3198-4637-8FED-F1BDE7A94B35}" dt="2021-02-05T20:10:49.345" v="1006" actId="408"/>
          <ac:grpSpMkLst>
            <pc:docMk/>
            <pc:sldMk cId="2019079057" sldId="10386"/>
            <ac:grpSpMk id="112" creationId="{99BC032F-9C51-440D-B7ED-7B14EEEB436E}"/>
          </ac:grpSpMkLst>
        </pc:grpChg>
      </pc:sldChg>
      <pc:sldChg chg="addSp delSp modSp mod">
        <pc:chgData name="Adam, Aamer" userId="5d86354b-e28f-48b6-b29c-f9a4b7144ce7" providerId="ADAL" clId="{0B721F74-3198-4637-8FED-F1BDE7A94B35}" dt="2021-02-05T21:32:07.021" v="2080" actId="20577"/>
        <pc:sldMkLst>
          <pc:docMk/>
          <pc:sldMk cId="3154307126" sldId="2137005736"/>
        </pc:sldMkLst>
        <pc:spChg chg="add del mod">
          <ac:chgData name="Adam, Aamer" userId="5d86354b-e28f-48b6-b29c-f9a4b7144ce7" providerId="ADAL" clId="{0B721F74-3198-4637-8FED-F1BDE7A94B35}" dt="2021-02-05T20:14:18.836" v="1257" actId="478"/>
          <ac:spMkLst>
            <pc:docMk/>
            <pc:sldMk cId="3154307126" sldId="2137005736"/>
            <ac:spMk id="3" creationId="{46BC0A05-8F41-4A92-9C84-EF689A5D64E3}"/>
          </ac:spMkLst>
        </pc:spChg>
        <pc:spChg chg="mod">
          <ac:chgData name="Adam, Aamer" userId="5d86354b-e28f-48b6-b29c-f9a4b7144ce7" providerId="ADAL" clId="{0B721F74-3198-4637-8FED-F1BDE7A94B35}" dt="2021-02-05T20:12:46.258" v="1146" actId="20577"/>
          <ac:spMkLst>
            <pc:docMk/>
            <pc:sldMk cId="3154307126" sldId="2137005736"/>
            <ac:spMk id="18" creationId="{C35B596E-6DA9-4B91-A158-C4AD89ED418D}"/>
          </ac:spMkLst>
        </pc:spChg>
        <pc:spChg chg="add mod">
          <ac:chgData name="Adam, Aamer" userId="5d86354b-e28f-48b6-b29c-f9a4b7144ce7" providerId="ADAL" clId="{0B721F74-3198-4637-8FED-F1BDE7A94B35}" dt="2021-02-05T20:24:46.820" v="1890" actId="207"/>
          <ac:spMkLst>
            <pc:docMk/>
            <pc:sldMk cId="3154307126" sldId="2137005736"/>
            <ac:spMk id="19" creationId="{97F755DB-A67E-452D-8AD0-B1697C77DD31}"/>
          </ac:spMkLst>
        </pc:spChg>
        <pc:spChg chg="mod">
          <ac:chgData name="Adam, Aamer" userId="5d86354b-e28f-48b6-b29c-f9a4b7144ce7" providerId="ADAL" clId="{0B721F74-3198-4637-8FED-F1BDE7A94B35}" dt="2021-02-05T21:25:56.379" v="2056" actId="1037"/>
          <ac:spMkLst>
            <pc:docMk/>
            <pc:sldMk cId="3154307126" sldId="2137005736"/>
            <ac:spMk id="28" creationId="{278B4EF9-C8FD-4D1A-8486-35E525C31305}"/>
          </ac:spMkLst>
        </pc:spChg>
        <pc:spChg chg="mod">
          <ac:chgData name="Adam, Aamer" userId="5d86354b-e28f-48b6-b29c-f9a4b7144ce7" providerId="ADAL" clId="{0B721F74-3198-4637-8FED-F1BDE7A94B35}" dt="2021-02-05T20:21:41.144" v="1659" actId="20577"/>
          <ac:spMkLst>
            <pc:docMk/>
            <pc:sldMk cId="3154307126" sldId="2137005736"/>
            <ac:spMk id="52" creationId="{47865F65-A13F-4FAD-9728-230CEA46B0CA}"/>
          </ac:spMkLst>
        </pc:spChg>
        <pc:spChg chg="add mod">
          <ac:chgData name="Adam, Aamer" userId="5d86354b-e28f-48b6-b29c-f9a4b7144ce7" providerId="ADAL" clId="{0B721F74-3198-4637-8FED-F1BDE7A94B35}" dt="2021-02-05T20:14:57.890" v="1365" actId="20577"/>
          <ac:spMkLst>
            <pc:docMk/>
            <pc:sldMk cId="3154307126" sldId="2137005736"/>
            <ac:spMk id="53" creationId="{67DE6502-E4A7-45E2-B500-DFF34D4BBD82}"/>
          </ac:spMkLst>
        </pc:spChg>
        <pc:spChg chg="add del mod">
          <ac:chgData name="Adam, Aamer" userId="5d86354b-e28f-48b6-b29c-f9a4b7144ce7" providerId="ADAL" clId="{0B721F74-3198-4637-8FED-F1BDE7A94B35}" dt="2021-02-05T20:16:24.958" v="1498"/>
          <ac:spMkLst>
            <pc:docMk/>
            <pc:sldMk cId="3154307126" sldId="2137005736"/>
            <ac:spMk id="55" creationId="{3CD24D5C-2EA4-4ABE-BFBD-40F64F4AD55D}"/>
          </ac:spMkLst>
        </pc:spChg>
        <pc:spChg chg="add mod">
          <ac:chgData name="Adam, Aamer" userId="5d86354b-e28f-48b6-b29c-f9a4b7144ce7" providerId="ADAL" clId="{0B721F74-3198-4637-8FED-F1BDE7A94B35}" dt="2021-02-05T21:25:56.379" v="2056" actId="1037"/>
          <ac:spMkLst>
            <pc:docMk/>
            <pc:sldMk cId="3154307126" sldId="2137005736"/>
            <ac:spMk id="55" creationId="{FDDFA558-4C3A-428C-8AF5-67DDA477ECF1}"/>
          </ac:spMkLst>
        </pc:spChg>
        <pc:spChg chg="add mod">
          <ac:chgData name="Adam, Aamer" userId="5d86354b-e28f-48b6-b29c-f9a4b7144ce7" providerId="ADAL" clId="{0B721F74-3198-4637-8FED-F1BDE7A94B35}" dt="2021-02-05T20:17:50.348" v="1590" actId="255"/>
          <ac:spMkLst>
            <pc:docMk/>
            <pc:sldMk cId="3154307126" sldId="2137005736"/>
            <ac:spMk id="56" creationId="{657B674F-65E4-47A9-8B1B-D6886BEBBA3F}"/>
          </ac:spMkLst>
        </pc:spChg>
        <pc:spChg chg="add mod">
          <ac:chgData name="Adam, Aamer" userId="5d86354b-e28f-48b6-b29c-f9a4b7144ce7" providerId="ADAL" clId="{0B721F74-3198-4637-8FED-F1BDE7A94B35}" dt="2021-02-05T21:31:59.413" v="2076" actId="20577"/>
          <ac:spMkLst>
            <pc:docMk/>
            <pc:sldMk cId="3154307126" sldId="2137005736"/>
            <ac:spMk id="58" creationId="{37B73429-904D-4803-B67F-53F8A9893B67}"/>
          </ac:spMkLst>
        </pc:spChg>
        <pc:spChg chg="add mod">
          <ac:chgData name="Adam, Aamer" userId="5d86354b-e28f-48b6-b29c-f9a4b7144ce7" providerId="ADAL" clId="{0B721F74-3198-4637-8FED-F1BDE7A94B35}" dt="2021-02-05T21:25:56.379" v="2056" actId="1037"/>
          <ac:spMkLst>
            <pc:docMk/>
            <pc:sldMk cId="3154307126" sldId="2137005736"/>
            <ac:spMk id="59" creationId="{78D37104-486D-4E3E-BDAB-E45379E80E27}"/>
          </ac:spMkLst>
        </pc:spChg>
        <pc:spChg chg="add mod">
          <ac:chgData name="Adam, Aamer" userId="5d86354b-e28f-48b6-b29c-f9a4b7144ce7" providerId="ADAL" clId="{0B721F74-3198-4637-8FED-F1BDE7A94B35}" dt="2021-02-05T21:25:56.379" v="2056" actId="1037"/>
          <ac:spMkLst>
            <pc:docMk/>
            <pc:sldMk cId="3154307126" sldId="2137005736"/>
            <ac:spMk id="60" creationId="{4FCE3928-3F5C-48DB-B8C9-7BE5A451DD7D}"/>
          </ac:spMkLst>
        </pc:spChg>
        <pc:spChg chg="mod">
          <ac:chgData name="Adam, Aamer" userId="5d86354b-e28f-48b6-b29c-f9a4b7144ce7" providerId="ADAL" clId="{0B721F74-3198-4637-8FED-F1BDE7A94B35}" dt="2021-02-05T20:15:16.344" v="1377" actId="20577"/>
          <ac:spMkLst>
            <pc:docMk/>
            <pc:sldMk cId="3154307126" sldId="2137005736"/>
            <ac:spMk id="66" creationId="{35BF2ED3-3AE6-4263-B496-BBD450F41ED3}"/>
          </ac:spMkLst>
        </pc:spChg>
        <pc:spChg chg="mod">
          <ac:chgData name="Adam, Aamer" userId="5d86354b-e28f-48b6-b29c-f9a4b7144ce7" providerId="ADAL" clId="{0B721F74-3198-4637-8FED-F1BDE7A94B35}" dt="2021-02-05T20:17:54.827" v="1591" actId="255"/>
          <ac:spMkLst>
            <pc:docMk/>
            <pc:sldMk cId="3154307126" sldId="2137005736"/>
            <ac:spMk id="78" creationId="{9E012AD0-9DDE-4F7F-B2F5-1AD6E90394ED}"/>
          </ac:spMkLst>
        </pc:spChg>
        <pc:spChg chg="mod">
          <ac:chgData name="Adam, Aamer" userId="5d86354b-e28f-48b6-b29c-f9a4b7144ce7" providerId="ADAL" clId="{0B721F74-3198-4637-8FED-F1BDE7A94B35}" dt="2021-02-05T20:17:44.825" v="1589" actId="255"/>
          <ac:spMkLst>
            <pc:docMk/>
            <pc:sldMk cId="3154307126" sldId="2137005736"/>
            <ac:spMk id="79" creationId="{2E6A6889-6A2E-44B4-9BE3-A4CDA14584C3}"/>
          </ac:spMkLst>
        </pc:spChg>
        <pc:spChg chg="mod">
          <ac:chgData name="Adam, Aamer" userId="5d86354b-e28f-48b6-b29c-f9a4b7144ce7" providerId="ADAL" clId="{0B721F74-3198-4637-8FED-F1BDE7A94B35}" dt="2021-02-05T21:32:07.021" v="2080" actId="20577"/>
          <ac:spMkLst>
            <pc:docMk/>
            <pc:sldMk cId="3154307126" sldId="2137005736"/>
            <ac:spMk id="86" creationId="{505F41D3-CD86-49F3-A0EE-A4562ECD1129}"/>
          </ac:spMkLst>
        </pc:spChg>
        <pc:spChg chg="mod">
          <ac:chgData name="Adam, Aamer" userId="5d86354b-e28f-48b6-b29c-f9a4b7144ce7" providerId="ADAL" clId="{0B721F74-3198-4637-8FED-F1BDE7A94B35}" dt="2021-02-05T20:21:20.280" v="1609" actId="408"/>
          <ac:spMkLst>
            <pc:docMk/>
            <pc:sldMk cId="3154307126" sldId="2137005736"/>
            <ac:spMk id="87" creationId="{3A838BF2-02E3-4EA5-AB6C-4534189BD773}"/>
          </ac:spMkLst>
        </pc:spChg>
        <pc:spChg chg="del mod">
          <ac:chgData name="Adam, Aamer" userId="5d86354b-e28f-48b6-b29c-f9a4b7144ce7" providerId="ADAL" clId="{0B721F74-3198-4637-8FED-F1BDE7A94B35}" dt="2021-02-05T20:14:16.783" v="1256" actId="478"/>
          <ac:spMkLst>
            <pc:docMk/>
            <pc:sldMk cId="3154307126" sldId="2137005736"/>
            <ac:spMk id="101" creationId="{EFDB4057-00A2-4037-A4C2-9E9115D6E761}"/>
          </ac:spMkLst>
        </pc:spChg>
        <pc:spChg chg="mod">
          <ac:chgData name="Adam, Aamer" userId="5d86354b-e28f-48b6-b29c-f9a4b7144ce7" providerId="ADAL" clId="{0B721F74-3198-4637-8FED-F1BDE7A94B35}" dt="2021-02-05T20:23:02.810" v="1787" actId="1076"/>
          <ac:spMkLst>
            <pc:docMk/>
            <pc:sldMk cId="3154307126" sldId="2137005736"/>
            <ac:spMk id="102" creationId="{760B1320-168D-4DDA-82FE-EC47084CD8A6}"/>
          </ac:spMkLst>
        </pc:spChg>
        <pc:picChg chg="mod">
          <ac:chgData name="Adam, Aamer" userId="5d86354b-e28f-48b6-b29c-f9a4b7144ce7" providerId="ADAL" clId="{0B721F74-3198-4637-8FED-F1BDE7A94B35}" dt="2021-02-05T20:18:42.739" v="1596" actId="1076"/>
          <ac:picMkLst>
            <pc:docMk/>
            <pc:sldMk cId="3154307126" sldId="2137005736"/>
            <ac:picMk id="84" creationId="{062F26D5-1FCA-42A0-B41F-78FCC91ABE4D}"/>
          </ac:picMkLst>
        </pc:picChg>
        <pc:cxnChg chg="mod">
          <ac:chgData name="Adam, Aamer" userId="5d86354b-e28f-48b6-b29c-f9a4b7144ce7" providerId="ADAL" clId="{0B721F74-3198-4637-8FED-F1BDE7A94B35}" dt="2021-02-05T20:18:15.634" v="1593" actId="14100"/>
          <ac:cxnSpMkLst>
            <pc:docMk/>
            <pc:sldMk cId="3154307126" sldId="2137005736"/>
            <ac:cxnSpMk id="63" creationId="{F21703EA-B8FD-4579-A0DE-AE5C6A03C990}"/>
          </ac:cxnSpMkLst>
        </pc:cxnChg>
        <pc:cxnChg chg="mod">
          <ac:chgData name="Adam, Aamer" userId="5d86354b-e28f-48b6-b29c-f9a4b7144ce7" providerId="ADAL" clId="{0B721F74-3198-4637-8FED-F1BDE7A94B35}" dt="2021-02-05T20:18:21.873" v="1594" actId="14100"/>
          <ac:cxnSpMkLst>
            <pc:docMk/>
            <pc:sldMk cId="3154307126" sldId="2137005736"/>
            <ac:cxnSpMk id="76" creationId="{69341622-832B-454D-870C-2D4B22C5E5BA}"/>
          </ac:cxnSpMkLst>
        </pc:cxnChg>
        <pc:cxnChg chg="mod">
          <ac:chgData name="Adam, Aamer" userId="5d86354b-e28f-48b6-b29c-f9a4b7144ce7" providerId="ADAL" clId="{0B721F74-3198-4637-8FED-F1BDE7A94B35}" dt="2021-02-05T20:18:29.778" v="1595" actId="14100"/>
          <ac:cxnSpMkLst>
            <pc:docMk/>
            <pc:sldMk cId="3154307126" sldId="2137005736"/>
            <ac:cxnSpMk id="88" creationId="{B5CD6226-1D85-4384-8EB7-A3ED312E38F5}"/>
          </ac:cxnSpMkLst>
        </pc:cxnChg>
      </pc:sldChg>
    </pc:docChg>
  </pc:docChgLst>
  <pc:docChgLst>
    <pc:chgData name="YADLAPALLI, KRISHNA KUMAR" userId="S::krishna.yadlapalli@capgemini.com::c4e19615-d9cf-4c82-beb5-442ea9a62be4" providerId="AD" clId="Web-{EA62A207-8E7B-49EB-8A85-EE22EFF768DC}"/>
    <pc:docChg chg="modSld">
      <pc:chgData name="YADLAPALLI, KRISHNA KUMAR" userId="S::krishna.yadlapalli@capgemini.com::c4e19615-d9cf-4c82-beb5-442ea9a62be4" providerId="AD" clId="Web-{EA62A207-8E7B-49EB-8A85-EE22EFF768DC}" dt="2021-02-04T00:45:32.900" v="372" actId="1076"/>
      <pc:docMkLst>
        <pc:docMk/>
      </pc:docMkLst>
      <pc:sldChg chg="addSp delSp modSp">
        <pc:chgData name="YADLAPALLI, KRISHNA KUMAR" userId="S::krishna.yadlapalli@capgemini.com::c4e19615-d9cf-4c82-beb5-442ea9a62be4" providerId="AD" clId="Web-{EA62A207-8E7B-49EB-8A85-EE22EFF768DC}" dt="2021-02-04T00:45:32.900" v="372" actId="1076"/>
        <pc:sldMkLst>
          <pc:docMk/>
          <pc:sldMk cId="1028514834" sldId="257"/>
        </pc:sldMkLst>
        <pc:spChg chg="mod">
          <ac:chgData name="YADLAPALLI, KRISHNA KUMAR" userId="S::krishna.yadlapalli@capgemini.com::c4e19615-d9cf-4c82-beb5-442ea9a62be4" providerId="AD" clId="Web-{EA62A207-8E7B-49EB-8A85-EE22EFF768DC}" dt="2021-02-04T00:43:44.696" v="292" actId="1076"/>
          <ac:spMkLst>
            <pc:docMk/>
            <pc:sldMk cId="1028514834" sldId="257"/>
            <ac:spMk id="2" creationId="{30A4696B-AAAC-44AB-A4A1-AC0B8E5F9FA6}"/>
          </ac:spMkLst>
        </pc:spChg>
        <pc:spChg chg="add mod">
          <ac:chgData name="YADLAPALLI, KRISHNA KUMAR" userId="S::krishna.yadlapalli@capgemini.com::c4e19615-d9cf-4c82-beb5-442ea9a62be4" providerId="AD" clId="Web-{EA62A207-8E7B-49EB-8A85-EE22EFF768DC}" dt="2021-02-04T00:43:45.681" v="329" actId="1076"/>
          <ac:spMkLst>
            <pc:docMk/>
            <pc:sldMk cId="1028514834" sldId="257"/>
            <ac:spMk id="3" creationId="{78463C25-233E-4484-9925-1B57A4E3C0E0}"/>
          </ac:spMkLst>
        </pc:spChg>
        <pc:spChg chg="mod">
          <ac:chgData name="YADLAPALLI, KRISHNA KUMAR" userId="S::krishna.yadlapalli@capgemini.com::c4e19615-d9cf-4c82-beb5-442ea9a62be4" providerId="AD" clId="Web-{EA62A207-8E7B-49EB-8A85-EE22EFF768DC}" dt="2021-02-04T00:43:44.743" v="294" actId="1076"/>
          <ac:spMkLst>
            <pc:docMk/>
            <pc:sldMk cId="1028514834" sldId="257"/>
            <ac:spMk id="8" creationId="{A00E2A82-ACAD-4D34-9C0A-A9831CD49A56}"/>
          </ac:spMkLst>
        </pc:spChg>
        <pc:spChg chg="mod">
          <ac:chgData name="YADLAPALLI, KRISHNA KUMAR" userId="S::krishna.yadlapalli@capgemini.com::c4e19615-d9cf-4c82-beb5-442ea9a62be4" providerId="AD" clId="Web-{EA62A207-8E7B-49EB-8A85-EE22EFF768DC}" dt="2021-02-04T00:43:44.774" v="295" actId="1076"/>
          <ac:spMkLst>
            <pc:docMk/>
            <pc:sldMk cId="1028514834" sldId="257"/>
            <ac:spMk id="9" creationId="{7BE2D268-4961-4CDC-8907-0410D44C32F9}"/>
          </ac:spMkLst>
        </pc:spChg>
        <pc:spChg chg="mod">
          <ac:chgData name="YADLAPALLI, KRISHNA KUMAR" userId="S::krishna.yadlapalli@capgemini.com::c4e19615-d9cf-4c82-beb5-442ea9a62be4" providerId="AD" clId="Web-{EA62A207-8E7B-49EB-8A85-EE22EFF768DC}" dt="2021-02-04T00:43:44.837" v="297" actId="1076"/>
          <ac:spMkLst>
            <pc:docMk/>
            <pc:sldMk cId="1028514834" sldId="257"/>
            <ac:spMk id="12" creationId="{8143ED22-F72C-4458-BC79-76EF871D09AE}"/>
          </ac:spMkLst>
        </pc:spChg>
        <pc:spChg chg="mod">
          <ac:chgData name="YADLAPALLI, KRISHNA KUMAR" userId="S::krishna.yadlapalli@capgemini.com::c4e19615-d9cf-4c82-beb5-442ea9a62be4" providerId="AD" clId="Web-{EA62A207-8E7B-49EB-8A85-EE22EFF768DC}" dt="2021-02-04T00:43:44.853" v="298" actId="1076"/>
          <ac:spMkLst>
            <pc:docMk/>
            <pc:sldMk cId="1028514834" sldId="257"/>
            <ac:spMk id="13" creationId="{5B711C0A-4A06-4C6D-9363-C5A16E15DCDB}"/>
          </ac:spMkLst>
        </pc:spChg>
        <pc:spChg chg="mod">
          <ac:chgData name="YADLAPALLI, KRISHNA KUMAR" userId="S::krishna.yadlapalli@capgemini.com::c4e19615-d9cf-4c82-beb5-442ea9a62be4" providerId="AD" clId="Web-{EA62A207-8E7B-49EB-8A85-EE22EFF768DC}" dt="2021-02-04T00:43:44.884" v="299" actId="1076"/>
          <ac:spMkLst>
            <pc:docMk/>
            <pc:sldMk cId="1028514834" sldId="257"/>
            <ac:spMk id="14" creationId="{425C520C-297E-4412-B01B-780E164F4B2E}"/>
          </ac:spMkLst>
        </pc:spChg>
        <pc:spChg chg="mod">
          <ac:chgData name="YADLAPALLI, KRISHNA KUMAR" userId="S::krishna.yadlapalli@capgemini.com::c4e19615-d9cf-4c82-beb5-442ea9a62be4" providerId="AD" clId="Web-{EA62A207-8E7B-49EB-8A85-EE22EFF768DC}" dt="2021-02-04T00:43:44.915" v="300" actId="1076"/>
          <ac:spMkLst>
            <pc:docMk/>
            <pc:sldMk cId="1028514834" sldId="257"/>
            <ac:spMk id="15" creationId="{55BB4A42-5165-4683-92D0-298389937222}"/>
          </ac:spMkLst>
        </pc:spChg>
        <pc:spChg chg="mod">
          <ac:chgData name="YADLAPALLI, KRISHNA KUMAR" userId="S::krishna.yadlapalli@capgemini.com::c4e19615-d9cf-4c82-beb5-442ea9a62be4" providerId="AD" clId="Web-{EA62A207-8E7B-49EB-8A85-EE22EFF768DC}" dt="2021-02-04T00:43:44.931" v="301" actId="1076"/>
          <ac:spMkLst>
            <pc:docMk/>
            <pc:sldMk cId="1028514834" sldId="257"/>
            <ac:spMk id="16" creationId="{36680EFF-782E-4983-AD1D-F50A1EB2F6C6}"/>
          </ac:spMkLst>
        </pc:spChg>
        <pc:spChg chg="mod">
          <ac:chgData name="YADLAPALLI, KRISHNA KUMAR" userId="S::krishna.yadlapalli@capgemini.com::c4e19615-d9cf-4c82-beb5-442ea9a62be4" providerId="AD" clId="Web-{EA62A207-8E7B-49EB-8A85-EE22EFF768DC}" dt="2021-02-04T00:43:44.962" v="302" actId="1076"/>
          <ac:spMkLst>
            <pc:docMk/>
            <pc:sldMk cId="1028514834" sldId="257"/>
            <ac:spMk id="17" creationId="{202456AF-F226-44F3-B51A-CB274599E500}"/>
          </ac:spMkLst>
        </pc:spChg>
        <pc:spChg chg="mod">
          <ac:chgData name="YADLAPALLI, KRISHNA KUMAR" userId="S::krishna.yadlapalli@capgemini.com::c4e19615-d9cf-4c82-beb5-442ea9a62be4" providerId="AD" clId="Web-{EA62A207-8E7B-49EB-8A85-EE22EFF768DC}" dt="2021-02-04T00:43:44.993" v="303" actId="1076"/>
          <ac:spMkLst>
            <pc:docMk/>
            <pc:sldMk cId="1028514834" sldId="257"/>
            <ac:spMk id="18" creationId="{A6192B90-0853-4C1A-91FB-406C5CDA8E7C}"/>
          </ac:spMkLst>
        </pc:spChg>
        <pc:spChg chg="mod">
          <ac:chgData name="YADLAPALLI, KRISHNA KUMAR" userId="S::krishna.yadlapalli@capgemini.com::c4e19615-d9cf-4c82-beb5-442ea9a62be4" providerId="AD" clId="Web-{EA62A207-8E7B-49EB-8A85-EE22EFF768DC}" dt="2021-02-04T00:43:45.024" v="304" actId="1076"/>
          <ac:spMkLst>
            <pc:docMk/>
            <pc:sldMk cId="1028514834" sldId="257"/>
            <ac:spMk id="19" creationId="{73DDC514-5AA1-4707-9575-EBF721ED9D1A}"/>
          </ac:spMkLst>
        </pc:spChg>
        <pc:spChg chg="mod">
          <ac:chgData name="YADLAPALLI, KRISHNA KUMAR" userId="S::krishna.yadlapalli@capgemini.com::c4e19615-d9cf-4c82-beb5-442ea9a62be4" providerId="AD" clId="Web-{EA62A207-8E7B-49EB-8A85-EE22EFF768DC}" dt="2021-02-04T00:43:45.056" v="305" actId="1076"/>
          <ac:spMkLst>
            <pc:docMk/>
            <pc:sldMk cId="1028514834" sldId="257"/>
            <ac:spMk id="20" creationId="{49EEF118-C494-4709-9E49-ABCE24C6D0A2}"/>
          </ac:spMkLst>
        </pc:spChg>
        <pc:spChg chg="mod">
          <ac:chgData name="YADLAPALLI, KRISHNA KUMAR" userId="S::krishna.yadlapalli@capgemini.com::c4e19615-d9cf-4c82-beb5-442ea9a62be4" providerId="AD" clId="Web-{EA62A207-8E7B-49EB-8A85-EE22EFF768DC}" dt="2021-02-04T00:43:45.071" v="306" actId="1076"/>
          <ac:spMkLst>
            <pc:docMk/>
            <pc:sldMk cId="1028514834" sldId="257"/>
            <ac:spMk id="21" creationId="{DEA9E26A-3BC9-4DDB-B90F-6CF23343D913}"/>
          </ac:spMkLst>
        </pc:spChg>
        <pc:spChg chg="mod">
          <ac:chgData name="YADLAPALLI, KRISHNA KUMAR" userId="S::krishna.yadlapalli@capgemini.com::c4e19615-d9cf-4c82-beb5-442ea9a62be4" providerId="AD" clId="Web-{EA62A207-8E7B-49EB-8A85-EE22EFF768DC}" dt="2021-02-04T00:43:45.103" v="307" actId="1076"/>
          <ac:spMkLst>
            <pc:docMk/>
            <pc:sldMk cId="1028514834" sldId="257"/>
            <ac:spMk id="22" creationId="{A4C1D554-9F44-4C13-97B7-54DAC46E7A41}"/>
          </ac:spMkLst>
        </pc:spChg>
        <pc:spChg chg="mod">
          <ac:chgData name="YADLAPALLI, KRISHNA KUMAR" userId="S::krishna.yadlapalli@capgemini.com::c4e19615-d9cf-4c82-beb5-442ea9a62be4" providerId="AD" clId="Web-{EA62A207-8E7B-49EB-8A85-EE22EFF768DC}" dt="2021-02-04T00:43:45.134" v="308" actId="1076"/>
          <ac:spMkLst>
            <pc:docMk/>
            <pc:sldMk cId="1028514834" sldId="257"/>
            <ac:spMk id="23" creationId="{6DAFEB8E-A3E7-4DA3-9B08-5236E0D62318}"/>
          </ac:spMkLst>
        </pc:spChg>
        <pc:spChg chg="mod">
          <ac:chgData name="YADLAPALLI, KRISHNA KUMAR" userId="S::krishna.yadlapalli@capgemini.com::c4e19615-d9cf-4c82-beb5-442ea9a62be4" providerId="AD" clId="Web-{EA62A207-8E7B-49EB-8A85-EE22EFF768DC}" dt="2021-02-04T00:43:45.149" v="309" actId="1076"/>
          <ac:spMkLst>
            <pc:docMk/>
            <pc:sldMk cId="1028514834" sldId="257"/>
            <ac:spMk id="24" creationId="{9BB55683-BCCB-406C-9297-52ACDBE89174}"/>
          </ac:spMkLst>
        </pc:spChg>
        <pc:spChg chg="mod">
          <ac:chgData name="YADLAPALLI, KRISHNA KUMAR" userId="S::krishna.yadlapalli@capgemini.com::c4e19615-d9cf-4c82-beb5-442ea9a62be4" providerId="AD" clId="Web-{EA62A207-8E7B-49EB-8A85-EE22EFF768DC}" dt="2021-02-04T00:43:45.181" v="310" actId="1076"/>
          <ac:spMkLst>
            <pc:docMk/>
            <pc:sldMk cId="1028514834" sldId="257"/>
            <ac:spMk id="25" creationId="{48FC5EA4-8AEA-4D10-ADAD-84B0ADBBC0F2}"/>
          </ac:spMkLst>
        </pc:spChg>
        <pc:spChg chg="mod">
          <ac:chgData name="YADLAPALLI, KRISHNA KUMAR" userId="S::krishna.yadlapalli@capgemini.com::c4e19615-d9cf-4c82-beb5-442ea9a62be4" providerId="AD" clId="Web-{EA62A207-8E7B-49EB-8A85-EE22EFF768DC}" dt="2021-02-04T00:43:45.212" v="311" actId="1076"/>
          <ac:spMkLst>
            <pc:docMk/>
            <pc:sldMk cId="1028514834" sldId="257"/>
            <ac:spMk id="27" creationId="{B584A93A-100A-491C-994D-46B67EC54A05}"/>
          </ac:spMkLst>
        </pc:spChg>
        <pc:spChg chg="mod">
          <ac:chgData name="YADLAPALLI, KRISHNA KUMAR" userId="S::krishna.yadlapalli@capgemini.com::c4e19615-d9cf-4c82-beb5-442ea9a62be4" providerId="AD" clId="Web-{EA62A207-8E7B-49EB-8A85-EE22EFF768DC}" dt="2021-02-04T00:43:45.228" v="312" actId="1076"/>
          <ac:spMkLst>
            <pc:docMk/>
            <pc:sldMk cId="1028514834" sldId="257"/>
            <ac:spMk id="28" creationId="{F169E44A-8B84-4E3B-9353-145D0479FBFE}"/>
          </ac:spMkLst>
        </pc:spChg>
        <pc:spChg chg="mod">
          <ac:chgData name="YADLAPALLI, KRISHNA KUMAR" userId="S::krishna.yadlapalli@capgemini.com::c4e19615-d9cf-4c82-beb5-442ea9a62be4" providerId="AD" clId="Web-{EA62A207-8E7B-49EB-8A85-EE22EFF768DC}" dt="2021-02-04T00:43:56.759" v="334" actId="1076"/>
          <ac:spMkLst>
            <pc:docMk/>
            <pc:sldMk cId="1028514834" sldId="257"/>
            <ac:spMk id="30" creationId="{BD17CAD6-F504-47E7-AB0D-43385D3316E4}"/>
          </ac:spMkLst>
        </pc:spChg>
        <pc:spChg chg="mod">
          <ac:chgData name="YADLAPALLI, KRISHNA KUMAR" userId="S::krishna.yadlapalli@capgemini.com::c4e19615-d9cf-4c82-beb5-442ea9a62be4" providerId="AD" clId="Web-{EA62A207-8E7B-49EB-8A85-EE22EFF768DC}" dt="2021-02-04T00:45:17.119" v="364" actId="1076"/>
          <ac:spMkLst>
            <pc:docMk/>
            <pc:sldMk cId="1028514834" sldId="257"/>
            <ac:spMk id="31" creationId="{0279410D-10DB-48D2-B80D-3E0127F9605F}"/>
          </ac:spMkLst>
        </pc:spChg>
        <pc:spChg chg="mod">
          <ac:chgData name="YADLAPALLI, KRISHNA KUMAR" userId="S::krishna.yadlapalli@capgemini.com::c4e19615-d9cf-4c82-beb5-442ea9a62be4" providerId="AD" clId="Web-{EA62A207-8E7B-49EB-8A85-EE22EFF768DC}" dt="2021-02-04T00:43:45.306" v="315" actId="1076"/>
          <ac:spMkLst>
            <pc:docMk/>
            <pc:sldMk cId="1028514834" sldId="257"/>
            <ac:spMk id="32" creationId="{269718DF-AB80-4A57-BD7A-641CB987E84D}"/>
          </ac:spMkLst>
        </pc:spChg>
        <pc:spChg chg="mod">
          <ac:chgData name="YADLAPALLI, KRISHNA KUMAR" userId="S::krishna.yadlapalli@capgemini.com::c4e19615-d9cf-4c82-beb5-442ea9a62be4" providerId="AD" clId="Web-{EA62A207-8E7B-49EB-8A85-EE22EFF768DC}" dt="2021-02-04T00:45:32.900" v="372" actId="1076"/>
          <ac:spMkLst>
            <pc:docMk/>
            <pc:sldMk cId="1028514834" sldId="257"/>
            <ac:spMk id="37" creationId="{277313ED-534E-4D46-A78D-9BE89CB10115}"/>
          </ac:spMkLst>
        </pc:spChg>
        <pc:spChg chg="mod">
          <ac:chgData name="YADLAPALLI, KRISHNA KUMAR" userId="S::krishna.yadlapalli@capgemini.com::c4e19615-d9cf-4c82-beb5-442ea9a62be4" providerId="AD" clId="Web-{EA62A207-8E7B-49EB-8A85-EE22EFF768DC}" dt="2021-02-04T00:45:29.369" v="371" actId="1076"/>
          <ac:spMkLst>
            <pc:docMk/>
            <pc:sldMk cId="1028514834" sldId="257"/>
            <ac:spMk id="38" creationId="{0B21E9CC-657D-49D2-99EC-EC3584593E3E}"/>
          </ac:spMkLst>
        </pc:spChg>
        <pc:spChg chg="mod">
          <ac:chgData name="YADLAPALLI, KRISHNA KUMAR" userId="S::krishna.yadlapalli@capgemini.com::c4e19615-d9cf-4c82-beb5-442ea9a62be4" providerId="AD" clId="Web-{EA62A207-8E7B-49EB-8A85-EE22EFF768DC}" dt="2021-02-04T00:45:26.916" v="370" actId="1076"/>
          <ac:spMkLst>
            <pc:docMk/>
            <pc:sldMk cId="1028514834" sldId="257"/>
            <ac:spMk id="39" creationId="{56531885-A9E5-4466-8614-A55DF0178D45}"/>
          </ac:spMkLst>
        </pc:spChg>
        <pc:spChg chg="mod">
          <ac:chgData name="YADLAPALLI, KRISHNA KUMAR" userId="S::krishna.yadlapalli@capgemini.com::c4e19615-d9cf-4c82-beb5-442ea9a62be4" providerId="AD" clId="Web-{EA62A207-8E7B-49EB-8A85-EE22EFF768DC}" dt="2021-02-04T00:43:56.946" v="339" actId="1076"/>
          <ac:spMkLst>
            <pc:docMk/>
            <pc:sldMk cId="1028514834" sldId="257"/>
            <ac:spMk id="40" creationId="{D8422FCD-2964-4CC0-8059-FFA57920BD64}"/>
          </ac:spMkLst>
        </pc:spChg>
        <pc:spChg chg="mod">
          <ac:chgData name="YADLAPALLI, KRISHNA KUMAR" userId="S::krishna.yadlapalli@capgemini.com::c4e19615-d9cf-4c82-beb5-442ea9a62be4" providerId="AD" clId="Web-{EA62A207-8E7B-49EB-8A85-EE22EFF768DC}" dt="2021-02-04T00:44:05.056" v="342" actId="1076"/>
          <ac:spMkLst>
            <pc:docMk/>
            <pc:sldMk cId="1028514834" sldId="257"/>
            <ac:spMk id="41" creationId="{B27C8B7C-9A19-4E1A-8A4E-85BF80A32E07}"/>
          </ac:spMkLst>
        </pc:spChg>
        <pc:spChg chg="mod">
          <ac:chgData name="YADLAPALLI, KRISHNA KUMAR" userId="S::krishna.yadlapalli@capgemini.com::c4e19615-d9cf-4c82-beb5-442ea9a62be4" providerId="AD" clId="Web-{EA62A207-8E7B-49EB-8A85-EE22EFF768DC}" dt="2021-02-04T00:45:22.291" v="369" actId="1076"/>
          <ac:spMkLst>
            <pc:docMk/>
            <pc:sldMk cId="1028514834" sldId="257"/>
            <ac:spMk id="42" creationId="{ABB008D9-9C93-4A90-A5C5-F5AD5AC0F3FF}"/>
          </ac:spMkLst>
        </pc:spChg>
        <pc:spChg chg="add mod">
          <ac:chgData name="YADLAPALLI, KRISHNA KUMAR" userId="S::krishna.yadlapalli@capgemini.com::c4e19615-d9cf-4c82-beb5-442ea9a62be4" providerId="AD" clId="Web-{EA62A207-8E7B-49EB-8A85-EE22EFF768DC}" dt="2021-02-04T00:43:45.603" v="326" actId="1076"/>
          <ac:spMkLst>
            <pc:docMk/>
            <pc:sldMk cId="1028514834" sldId="257"/>
            <ac:spMk id="43" creationId="{C2707413-A140-4A22-901F-65DB3469C754}"/>
          </ac:spMkLst>
        </pc:spChg>
        <pc:spChg chg="add mod">
          <ac:chgData name="YADLAPALLI, KRISHNA KUMAR" userId="S::krishna.yadlapalli@capgemini.com::c4e19615-d9cf-4c82-beb5-442ea9a62be4" providerId="AD" clId="Web-{EA62A207-8E7B-49EB-8A85-EE22EFF768DC}" dt="2021-02-04T00:43:45.618" v="327" actId="1076"/>
          <ac:spMkLst>
            <pc:docMk/>
            <pc:sldMk cId="1028514834" sldId="257"/>
            <ac:spMk id="44" creationId="{571FF29B-8725-4300-9335-79EBA7A95B97}"/>
          </ac:spMkLst>
        </pc:spChg>
        <pc:spChg chg="add mod ord">
          <ac:chgData name="YADLAPALLI, KRISHNA KUMAR" userId="S::krishna.yadlapalli@capgemini.com::c4e19615-d9cf-4c82-beb5-442ea9a62be4" providerId="AD" clId="Web-{EA62A207-8E7B-49EB-8A85-EE22EFF768DC}" dt="2021-02-04T00:43:44.649" v="290" actId="1076"/>
          <ac:spMkLst>
            <pc:docMk/>
            <pc:sldMk cId="1028514834" sldId="257"/>
            <ac:spMk id="45" creationId="{F913B46D-3AFC-4789-92DB-7A62D0A9DB11}"/>
          </ac:spMkLst>
        </pc:spChg>
        <pc:spChg chg="add mod">
          <ac:chgData name="YADLAPALLI, KRISHNA KUMAR" userId="S::krishna.yadlapalli@capgemini.com::c4e19615-d9cf-4c82-beb5-442ea9a62be4" providerId="AD" clId="Web-{EA62A207-8E7B-49EB-8A85-EE22EFF768DC}" dt="2021-02-04T00:43:45.649" v="328" actId="1076"/>
          <ac:spMkLst>
            <pc:docMk/>
            <pc:sldMk cId="1028514834" sldId="257"/>
            <ac:spMk id="46" creationId="{CE050DD7-052B-4FD0-B818-3726FCBFB00E}"/>
          </ac:spMkLst>
        </pc:spChg>
        <pc:spChg chg="add mod">
          <ac:chgData name="YADLAPALLI, KRISHNA KUMAR" userId="S::krishna.yadlapalli@capgemini.com::c4e19615-d9cf-4c82-beb5-442ea9a62be4" providerId="AD" clId="Web-{EA62A207-8E7B-49EB-8A85-EE22EFF768DC}" dt="2021-02-04T00:43:45.696" v="330" actId="1076"/>
          <ac:spMkLst>
            <pc:docMk/>
            <pc:sldMk cId="1028514834" sldId="257"/>
            <ac:spMk id="48" creationId="{16B56439-B28A-4A6B-A1AE-925F628488E0}"/>
          </ac:spMkLst>
        </pc:spChg>
        <pc:spChg chg="add mod ord">
          <ac:chgData name="YADLAPALLI, KRISHNA KUMAR" userId="S::krishna.yadlapalli@capgemini.com::c4e19615-d9cf-4c82-beb5-442ea9a62be4" providerId="AD" clId="Web-{EA62A207-8E7B-49EB-8A85-EE22EFF768DC}" dt="2021-02-04T00:43:44.618" v="289" actId="1076"/>
          <ac:spMkLst>
            <pc:docMk/>
            <pc:sldMk cId="1028514834" sldId="257"/>
            <ac:spMk id="50" creationId="{43836FC9-1307-40B7-A288-7719A39DE03C}"/>
          </ac:spMkLst>
        </pc:spChg>
        <pc:spChg chg="add mod">
          <ac:chgData name="YADLAPALLI, KRISHNA KUMAR" userId="S::krishna.yadlapalli@capgemini.com::c4e19615-d9cf-4c82-beb5-442ea9a62be4" providerId="AD" clId="Web-{EA62A207-8E7B-49EB-8A85-EE22EFF768DC}" dt="2021-02-04T00:45:03.275" v="363" actId="20577"/>
          <ac:spMkLst>
            <pc:docMk/>
            <pc:sldMk cId="1028514834" sldId="257"/>
            <ac:spMk id="53" creationId="{E02763C8-AD75-4812-81DC-B61FBA2780B4}"/>
          </ac:spMkLst>
        </pc:spChg>
        <pc:spChg chg="mod">
          <ac:chgData name="YADLAPALLI, KRISHNA KUMAR" userId="S::krishna.yadlapalli@capgemini.com::c4e19615-d9cf-4c82-beb5-442ea9a62be4" providerId="AD" clId="Web-{EA62A207-8E7B-49EB-8A85-EE22EFF768DC}" dt="2021-02-04T00:43:57.009" v="341" actId="1076"/>
          <ac:spMkLst>
            <pc:docMk/>
            <pc:sldMk cId="1028514834" sldId="257"/>
            <ac:spMk id="58" creationId="{771B40E9-4134-49FE-BCD6-518F97300577}"/>
          </ac:spMkLst>
        </pc:spChg>
        <pc:cxnChg chg="add del">
          <ac:chgData name="YADLAPALLI, KRISHNA KUMAR" userId="S::krishna.yadlapalli@capgemini.com::c4e19615-d9cf-4c82-beb5-442ea9a62be4" providerId="AD" clId="Web-{EA62A207-8E7B-49EB-8A85-EE22EFF768DC}" dt="2021-02-04T00:40:06.445" v="94"/>
          <ac:cxnSpMkLst>
            <pc:docMk/>
            <pc:sldMk cId="1028514834" sldId="257"/>
            <ac:cxnSpMk id="4" creationId="{6AF4DCF0-167F-4C73-92AA-6CE38F7F3A74}"/>
          </ac:cxnSpMkLst>
        </pc:cxnChg>
        <pc:cxnChg chg="add mod">
          <ac:chgData name="YADLAPALLI, KRISHNA KUMAR" userId="S::krishna.yadlapalli@capgemini.com::c4e19615-d9cf-4c82-beb5-442ea9a62be4" providerId="AD" clId="Web-{EA62A207-8E7B-49EB-8A85-EE22EFF768DC}" dt="2021-02-04T00:43:45.728" v="331" actId="1076"/>
          <ac:cxnSpMkLst>
            <pc:docMk/>
            <pc:sldMk cId="1028514834" sldId="257"/>
            <ac:cxnSpMk id="5" creationId="{E7EDED5D-FD0C-4BEE-8CDC-6CFD01588BCD}"/>
          </ac:cxnSpMkLst>
        </pc:cxnChg>
        <pc:cxnChg chg="mod">
          <ac:chgData name="YADLAPALLI, KRISHNA KUMAR" userId="S::krishna.yadlapalli@capgemini.com::c4e19615-d9cf-4c82-beb5-442ea9a62be4" providerId="AD" clId="Web-{EA62A207-8E7B-49EB-8A85-EE22EFF768DC}" dt="2021-02-04T00:43:44.728" v="293" actId="1076"/>
          <ac:cxnSpMkLst>
            <pc:docMk/>
            <pc:sldMk cId="1028514834" sldId="257"/>
            <ac:cxnSpMk id="7" creationId="{6F3D00BF-1FAD-4B74-A91A-C43524293CC1}"/>
          </ac:cxnSpMkLst>
        </pc:cxnChg>
        <pc:cxnChg chg="mod">
          <ac:chgData name="YADLAPALLI, KRISHNA KUMAR" userId="S::krishna.yadlapalli@capgemini.com::c4e19615-d9cf-4c82-beb5-442ea9a62be4" providerId="AD" clId="Web-{EA62A207-8E7B-49EB-8A85-EE22EFF768DC}" dt="2021-02-04T00:43:44.806" v="296" actId="1076"/>
          <ac:cxnSpMkLst>
            <pc:docMk/>
            <pc:sldMk cId="1028514834" sldId="257"/>
            <ac:cxnSpMk id="11" creationId="{4F4DFACB-B5D9-446F-943A-F44053BBAAD0}"/>
          </ac:cxnSpMkLst>
        </pc:cxnChg>
        <pc:cxnChg chg="mod">
          <ac:chgData name="YADLAPALLI, KRISHNA KUMAR" userId="S::krishna.yadlapalli@capgemini.com::c4e19615-d9cf-4c82-beb5-442ea9a62be4" providerId="AD" clId="Web-{EA62A207-8E7B-49EB-8A85-EE22EFF768DC}" dt="2021-02-04T00:43:45.478" v="321" actId="1076"/>
          <ac:cxnSpMkLst>
            <pc:docMk/>
            <pc:sldMk cId="1028514834" sldId="257"/>
            <ac:cxnSpMk id="47" creationId="{C2392FD0-DEE0-4443-B3D7-7C67C5D1A3D5}"/>
          </ac:cxnSpMkLst>
        </pc:cxnChg>
        <pc:cxnChg chg="mod">
          <ac:chgData name="YADLAPALLI, KRISHNA KUMAR" userId="S::krishna.yadlapalli@capgemini.com::c4e19615-d9cf-4c82-beb5-442ea9a62be4" providerId="AD" clId="Web-{EA62A207-8E7B-49EB-8A85-EE22EFF768DC}" dt="2021-02-04T00:43:45.493" v="322" actId="1076"/>
          <ac:cxnSpMkLst>
            <pc:docMk/>
            <pc:sldMk cId="1028514834" sldId="257"/>
            <ac:cxnSpMk id="49" creationId="{3A5D71E3-A95F-4970-BD8E-796CB4529509}"/>
          </ac:cxnSpMkLst>
        </pc:cxnChg>
        <pc:cxnChg chg="mod">
          <ac:chgData name="YADLAPALLI, KRISHNA KUMAR" userId="S::krishna.yadlapalli@capgemini.com::c4e19615-d9cf-4c82-beb5-442ea9a62be4" providerId="AD" clId="Web-{EA62A207-8E7B-49EB-8A85-EE22EFF768DC}" dt="2021-02-04T00:43:45.524" v="323" actId="1076"/>
          <ac:cxnSpMkLst>
            <pc:docMk/>
            <pc:sldMk cId="1028514834" sldId="257"/>
            <ac:cxnSpMk id="51" creationId="{446A215A-3438-4FED-921E-E99B868F057A}"/>
          </ac:cxnSpMkLst>
        </pc:cxnChg>
        <pc:cxnChg chg="add mod">
          <ac:chgData name="YADLAPALLI, KRISHNA KUMAR" userId="S::krishna.yadlapalli@capgemini.com::c4e19615-d9cf-4c82-beb5-442ea9a62be4" providerId="AD" clId="Web-{EA62A207-8E7B-49EB-8A85-EE22EFF768DC}" dt="2021-02-04T00:43:45.743" v="332" actId="1076"/>
          <ac:cxnSpMkLst>
            <pc:docMk/>
            <pc:sldMk cId="1028514834" sldId="257"/>
            <ac:cxnSpMk id="52" creationId="{3F34215A-7D58-442E-96E0-46D84E965FE0}"/>
          </ac:cxnSpMkLst>
        </pc:cxnChg>
        <pc:cxnChg chg="mod">
          <ac:chgData name="YADLAPALLI, KRISHNA KUMAR" userId="S::krishna.yadlapalli@capgemini.com::c4e19615-d9cf-4c82-beb5-442ea9a62be4" providerId="AD" clId="Web-{EA62A207-8E7B-49EB-8A85-EE22EFF768DC}" dt="2021-02-04T00:43:45.540" v="324" actId="1076"/>
          <ac:cxnSpMkLst>
            <pc:docMk/>
            <pc:sldMk cId="1028514834" sldId="257"/>
            <ac:cxnSpMk id="55" creationId="{864C9A7C-C127-4E78-B1D4-3E5A11579DC3}"/>
          </ac:cxnSpMkLst>
        </pc:cxnChg>
        <pc:cxnChg chg="del mod">
          <ac:chgData name="YADLAPALLI, KRISHNA KUMAR" userId="S::krishna.yadlapalli@capgemini.com::c4e19615-d9cf-4c82-beb5-442ea9a62be4" providerId="AD" clId="Web-{EA62A207-8E7B-49EB-8A85-EE22EFF768DC}" dt="2021-02-04T00:39:59.601" v="93"/>
          <ac:cxnSpMkLst>
            <pc:docMk/>
            <pc:sldMk cId="1028514834" sldId="257"/>
            <ac:cxnSpMk id="57" creationId="{7CED6C0B-BF38-4E97-94F1-34D1212D833D}"/>
          </ac:cxnSpMkLst>
        </pc:cxnChg>
      </pc:sldChg>
    </pc:docChg>
  </pc:docChgLst>
  <pc:docChgLst>
    <pc:chgData name="Ghate, Atul" userId="e633be56-9ace-423d-8883-e42d357bf4e0" providerId="ADAL" clId="{573C8DA9-FF6C-4F66-86ED-44192EA93B69}"/>
    <pc:docChg chg="undo custSel addSld modSld sldOrd">
      <pc:chgData name="Ghate, Atul" userId="e633be56-9ace-423d-8883-e42d357bf4e0" providerId="ADAL" clId="{573C8DA9-FF6C-4F66-86ED-44192EA93B69}" dt="2021-02-03T03:28:14.475" v="435" actId="14100"/>
      <pc:docMkLst>
        <pc:docMk/>
      </pc:docMkLst>
      <pc:sldChg chg="modSp ord">
        <pc:chgData name="Ghate, Atul" userId="e633be56-9ace-423d-8883-e42d357bf4e0" providerId="ADAL" clId="{573C8DA9-FF6C-4F66-86ED-44192EA93B69}" dt="2021-02-03T03:28:14.475" v="435" actId="14100"/>
        <pc:sldMkLst>
          <pc:docMk/>
          <pc:sldMk cId="1028514834" sldId="257"/>
        </pc:sldMkLst>
        <pc:spChg chg="mod">
          <ac:chgData name="Ghate, Atul" userId="e633be56-9ace-423d-8883-e42d357bf4e0" providerId="ADAL" clId="{573C8DA9-FF6C-4F66-86ED-44192EA93B69}" dt="2021-02-03T03:27:27.115" v="434" actId="1076"/>
          <ac:spMkLst>
            <pc:docMk/>
            <pc:sldMk cId="1028514834" sldId="257"/>
            <ac:spMk id="18" creationId="{A6192B90-0853-4C1A-91FB-406C5CDA8E7C}"/>
          </ac:spMkLst>
        </pc:spChg>
        <pc:cxnChg chg="mod">
          <ac:chgData name="Ghate, Atul" userId="e633be56-9ace-423d-8883-e42d357bf4e0" providerId="ADAL" clId="{573C8DA9-FF6C-4F66-86ED-44192EA93B69}" dt="2021-02-03T03:26:46.672" v="433" actId="1076"/>
          <ac:cxnSpMkLst>
            <pc:docMk/>
            <pc:sldMk cId="1028514834" sldId="257"/>
            <ac:cxnSpMk id="47" creationId="{C2392FD0-DEE0-4443-B3D7-7C67C5D1A3D5}"/>
          </ac:cxnSpMkLst>
        </pc:cxnChg>
        <pc:cxnChg chg="mod">
          <ac:chgData name="Ghate, Atul" userId="e633be56-9ace-423d-8883-e42d357bf4e0" providerId="ADAL" clId="{573C8DA9-FF6C-4F66-86ED-44192EA93B69}" dt="2021-02-03T03:28:14.475" v="435" actId="14100"/>
          <ac:cxnSpMkLst>
            <pc:docMk/>
            <pc:sldMk cId="1028514834" sldId="257"/>
            <ac:cxnSpMk id="55" creationId="{864C9A7C-C127-4E78-B1D4-3E5A11579DC3}"/>
          </ac:cxnSpMkLst>
        </pc:cxnChg>
      </pc:sldChg>
      <pc:sldChg chg="modSp">
        <pc:chgData name="Ghate, Atul" userId="e633be56-9ace-423d-8883-e42d357bf4e0" providerId="ADAL" clId="{573C8DA9-FF6C-4F66-86ED-44192EA93B69}" dt="2021-02-03T03:13:02.089" v="80" actId="13926"/>
        <pc:sldMkLst>
          <pc:docMk/>
          <pc:sldMk cId="900996307" sldId="315"/>
        </pc:sldMkLst>
        <pc:spChg chg="mod">
          <ac:chgData name="Ghate, Atul" userId="e633be56-9ace-423d-8883-e42d357bf4e0" providerId="ADAL" clId="{573C8DA9-FF6C-4F66-86ED-44192EA93B69}" dt="2021-02-03T03:07:25.610" v="6" actId="1076"/>
          <ac:spMkLst>
            <pc:docMk/>
            <pc:sldMk cId="900996307" sldId="315"/>
            <ac:spMk id="4" creationId="{17740563-7263-4AE7-B861-F51D29CCCFEB}"/>
          </ac:spMkLst>
        </pc:spChg>
        <pc:spChg chg="mod">
          <ac:chgData name="Ghate, Atul" userId="e633be56-9ace-423d-8883-e42d357bf4e0" providerId="ADAL" clId="{573C8DA9-FF6C-4F66-86ED-44192EA93B69}" dt="2021-02-03T03:09:24.138" v="36" actId="6549"/>
          <ac:spMkLst>
            <pc:docMk/>
            <pc:sldMk cId="900996307" sldId="315"/>
            <ac:spMk id="98" creationId="{AB18A91F-FCA6-4464-BD5E-C4734496452C}"/>
          </ac:spMkLst>
        </pc:spChg>
        <pc:spChg chg="mod">
          <ac:chgData name="Ghate, Atul" userId="e633be56-9ace-423d-8883-e42d357bf4e0" providerId="ADAL" clId="{573C8DA9-FF6C-4F66-86ED-44192EA93B69}" dt="2021-02-03T03:13:02.089" v="80" actId="13926"/>
          <ac:spMkLst>
            <pc:docMk/>
            <pc:sldMk cId="900996307" sldId="315"/>
            <ac:spMk id="99" creationId="{0FA277BA-DB39-4DCD-A8A1-418C54A4050B}"/>
          </ac:spMkLst>
        </pc:spChg>
        <pc:spChg chg="mod">
          <ac:chgData name="Ghate, Atul" userId="e633be56-9ace-423d-8883-e42d357bf4e0" providerId="ADAL" clId="{573C8DA9-FF6C-4F66-86ED-44192EA93B69}" dt="2021-02-03T03:07:03.605" v="4" actId="1076"/>
          <ac:spMkLst>
            <pc:docMk/>
            <pc:sldMk cId="900996307" sldId="315"/>
            <ac:spMk id="100" creationId="{5700466F-F7CF-4C23-9FE2-81AA372FD537}"/>
          </ac:spMkLst>
        </pc:spChg>
        <pc:grpChg chg="mod">
          <ac:chgData name="Ghate, Atul" userId="e633be56-9ace-423d-8883-e42d357bf4e0" providerId="ADAL" clId="{573C8DA9-FF6C-4F66-86ED-44192EA93B69}" dt="2021-02-03T03:09:58.754" v="37" actId="1076"/>
          <ac:grpSpMkLst>
            <pc:docMk/>
            <pc:sldMk cId="900996307" sldId="315"/>
            <ac:grpSpMk id="120" creationId="{B8D5349D-705E-40C8-8006-76478DBA82EE}"/>
          </ac:grpSpMkLst>
        </pc:grpChg>
        <pc:grpChg chg="mod">
          <ac:chgData name="Ghate, Atul" userId="e633be56-9ace-423d-8883-e42d357bf4e0" providerId="ADAL" clId="{573C8DA9-FF6C-4F66-86ED-44192EA93B69}" dt="2021-02-03T03:04:12.940" v="1" actId="1076"/>
          <ac:grpSpMkLst>
            <pc:docMk/>
            <pc:sldMk cId="900996307" sldId="315"/>
            <ac:grpSpMk id="241" creationId="{84A0F06A-E49B-4ACB-B225-BFF7831791E9}"/>
          </ac:grpSpMkLst>
        </pc:grpChg>
      </pc:sldChg>
      <pc:sldChg chg="add">
        <pc:chgData name="Ghate, Atul" userId="e633be56-9ace-423d-8883-e42d357bf4e0" providerId="ADAL" clId="{573C8DA9-FF6C-4F66-86ED-44192EA93B69}" dt="2021-02-03T03:18:08.655" v="185"/>
        <pc:sldMkLst>
          <pc:docMk/>
          <pc:sldMk cId="2234310523" sldId="7348"/>
        </pc:sldMkLst>
      </pc:sldChg>
      <pc:sldChg chg="modSp">
        <pc:chgData name="Ghate, Atul" userId="e633be56-9ace-423d-8883-e42d357bf4e0" providerId="ADAL" clId="{573C8DA9-FF6C-4F66-86ED-44192EA93B69}" dt="2021-02-03T03:14:49.028" v="155" actId="20577"/>
        <pc:sldMkLst>
          <pc:docMk/>
          <pc:sldMk cId="2019079057" sldId="10386"/>
        </pc:sldMkLst>
        <pc:spChg chg="mod">
          <ac:chgData name="Ghate, Atul" userId="e633be56-9ace-423d-8883-e42d357bf4e0" providerId="ADAL" clId="{573C8DA9-FF6C-4F66-86ED-44192EA93B69}" dt="2021-02-03T03:14:05.890" v="90" actId="20577"/>
          <ac:spMkLst>
            <pc:docMk/>
            <pc:sldMk cId="2019079057" sldId="10386"/>
            <ac:spMk id="31" creationId="{101AEFF0-A7FA-4430-AEBC-5EDCD4A90AE8}"/>
          </ac:spMkLst>
        </pc:spChg>
        <pc:spChg chg="mod">
          <ac:chgData name="Ghate, Atul" userId="e633be56-9ace-423d-8883-e42d357bf4e0" providerId="ADAL" clId="{573C8DA9-FF6C-4F66-86ED-44192EA93B69}" dt="2021-02-03T03:14:09.961" v="91" actId="20577"/>
          <ac:spMkLst>
            <pc:docMk/>
            <pc:sldMk cId="2019079057" sldId="10386"/>
            <ac:spMk id="33" creationId="{D1B60395-CC2E-4A5F-8C82-9721AA178E18}"/>
          </ac:spMkLst>
        </pc:spChg>
        <pc:spChg chg="mod">
          <ac:chgData name="Ghate, Atul" userId="e633be56-9ace-423d-8883-e42d357bf4e0" providerId="ADAL" clId="{573C8DA9-FF6C-4F66-86ED-44192EA93B69}" dt="2021-02-03T03:14:02.144" v="89" actId="1076"/>
          <ac:spMkLst>
            <pc:docMk/>
            <pc:sldMk cId="2019079057" sldId="10386"/>
            <ac:spMk id="114" creationId="{1C837E96-ABC7-4F5E-8004-6581F6631F17}"/>
          </ac:spMkLst>
        </pc:spChg>
        <pc:spChg chg="mod">
          <ac:chgData name="Ghate, Atul" userId="e633be56-9ace-423d-8883-e42d357bf4e0" providerId="ADAL" clId="{573C8DA9-FF6C-4F66-86ED-44192EA93B69}" dt="2021-02-03T03:13:55.854" v="88" actId="1076"/>
          <ac:spMkLst>
            <pc:docMk/>
            <pc:sldMk cId="2019079057" sldId="10386"/>
            <ac:spMk id="115" creationId="{078582B0-3DF0-4396-859C-975604B24201}"/>
          </ac:spMkLst>
        </pc:spChg>
        <pc:spChg chg="mod">
          <ac:chgData name="Ghate, Atul" userId="e633be56-9ace-423d-8883-e42d357bf4e0" providerId="ADAL" clId="{573C8DA9-FF6C-4F66-86ED-44192EA93B69}" dt="2021-02-03T03:14:49.028" v="155" actId="20577"/>
          <ac:spMkLst>
            <pc:docMk/>
            <pc:sldMk cId="2019079057" sldId="10386"/>
            <ac:spMk id="117" creationId="{FF299215-4B5A-43FE-AB69-1584D8E39452}"/>
          </ac:spMkLst>
        </pc:spChg>
        <pc:spChg chg="mod">
          <ac:chgData name="Ghate, Atul" userId="e633be56-9ace-423d-8883-e42d357bf4e0" providerId="ADAL" clId="{573C8DA9-FF6C-4F66-86ED-44192EA93B69}" dt="2021-02-03T03:13:49.776" v="86" actId="1076"/>
          <ac:spMkLst>
            <pc:docMk/>
            <pc:sldMk cId="2019079057" sldId="10386"/>
            <ac:spMk id="122" creationId="{B69FFA9C-5B7F-4178-96F2-0867CE5BAF14}"/>
          </ac:spMkLst>
        </pc:spChg>
        <pc:spChg chg="mod">
          <ac:chgData name="Ghate, Atul" userId="e633be56-9ace-423d-8883-e42d357bf4e0" providerId="ADAL" clId="{573C8DA9-FF6C-4F66-86ED-44192EA93B69}" dt="2021-02-03T03:13:47.155" v="85" actId="1076"/>
          <ac:spMkLst>
            <pc:docMk/>
            <pc:sldMk cId="2019079057" sldId="10386"/>
            <ac:spMk id="125" creationId="{3F1CC714-4A72-4534-9CB9-987943F37716}"/>
          </ac:spMkLst>
        </pc:spChg>
      </pc:sldChg>
      <pc:sldChg chg="add">
        <pc:chgData name="Ghate, Atul" userId="e633be56-9ace-423d-8883-e42d357bf4e0" providerId="ADAL" clId="{573C8DA9-FF6C-4F66-86ED-44192EA93B69}" dt="2021-02-03T03:17:49.350" v="184"/>
        <pc:sldMkLst>
          <pc:docMk/>
          <pc:sldMk cId="3519287765" sldId="10470"/>
        </pc:sldMkLst>
      </pc:sldChg>
      <pc:sldChg chg="modSp">
        <pc:chgData name="Ghate, Atul" userId="e633be56-9ace-423d-8883-e42d357bf4e0" providerId="ADAL" clId="{573C8DA9-FF6C-4F66-86ED-44192EA93B69}" dt="2021-02-03T03:25:07.829" v="430" actId="20577"/>
        <pc:sldMkLst>
          <pc:docMk/>
          <pc:sldMk cId="4126289590" sldId="2076136458"/>
        </pc:sldMkLst>
        <pc:spChg chg="mod">
          <ac:chgData name="Ghate, Atul" userId="e633be56-9ace-423d-8883-e42d357bf4e0" providerId="ADAL" clId="{573C8DA9-FF6C-4F66-86ED-44192EA93B69}" dt="2021-02-03T03:22:21.286" v="224" actId="20577"/>
          <ac:spMkLst>
            <pc:docMk/>
            <pc:sldMk cId="4126289590" sldId="2076136458"/>
            <ac:spMk id="8" creationId="{981D5D4A-66D5-436E-9685-0239B48C42C3}"/>
          </ac:spMkLst>
        </pc:spChg>
        <pc:spChg chg="mod">
          <ac:chgData name="Ghate, Atul" userId="e633be56-9ace-423d-8883-e42d357bf4e0" providerId="ADAL" clId="{573C8DA9-FF6C-4F66-86ED-44192EA93B69}" dt="2021-02-03T03:22:44.518" v="274" actId="20577"/>
          <ac:spMkLst>
            <pc:docMk/>
            <pc:sldMk cId="4126289590" sldId="2076136458"/>
            <ac:spMk id="11" creationId="{4417E88F-1CA9-45D8-9C0E-84E1AE62EBD9}"/>
          </ac:spMkLst>
        </pc:spChg>
        <pc:spChg chg="mod">
          <ac:chgData name="Ghate, Atul" userId="e633be56-9ace-423d-8883-e42d357bf4e0" providerId="ADAL" clId="{573C8DA9-FF6C-4F66-86ED-44192EA93B69}" dt="2021-02-03T03:24:28.336" v="410" actId="313"/>
          <ac:spMkLst>
            <pc:docMk/>
            <pc:sldMk cId="4126289590" sldId="2076136458"/>
            <ac:spMk id="14" creationId="{DB268EEF-BD04-42CE-868C-9361930A6ADE}"/>
          </ac:spMkLst>
        </pc:spChg>
        <pc:spChg chg="mod">
          <ac:chgData name="Ghate, Atul" userId="e633be56-9ace-423d-8883-e42d357bf4e0" providerId="ADAL" clId="{573C8DA9-FF6C-4F66-86ED-44192EA93B69}" dt="2021-02-03T03:24:13.630" v="409" actId="20577"/>
          <ac:spMkLst>
            <pc:docMk/>
            <pc:sldMk cId="4126289590" sldId="2076136458"/>
            <ac:spMk id="17" creationId="{CB55FC94-01DE-4BC9-A749-CF59040349C1}"/>
          </ac:spMkLst>
        </pc:spChg>
        <pc:spChg chg="mod">
          <ac:chgData name="Ghate, Atul" userId="e633be56-9ace-423d-8883-e42d357bf4e0" providerId="ADAL" clId="{573C8DA9-FF6C-4F66-86ED-44192EA93B69}" dt="2021-02-03T03:25:07.829" v="430" actId="20577"/>
          <ac:spMkLst>
            <pc:docMk/>
            <pc:sldMk cId="4126289590" sldId="2076136458"/>
            <ac:spMk id="20" creationId="{7D621A66-9423-42D4-869E-47C57A5D3C56}"/>
          </ac:spMkLst>
        </pc:spChg>
      </pc:sldChg>
      <pc:sldChg chg="addSp modSp">
        <pc:chgData name="Ghate, Atul" userId="e633be56-9ace-423d-8883-e42d357bf4e0" providerId="ADAL" clId="{573C8DA9-FF6C-4F66-86ED-44192EA93B69}" dt="2021-02-03T03:23:40.703" v="351" actId="1076"/>
        <pc:sldMkLst>
          <pc:docMk/>
          <pc:sldMk cId="3042069393" sldId="2076136792"/>
        </pc:sldMkLst>
        <pc:spChg chg="add mod">
          <ac:chgData name="Ghate, Atul" userId="e633be56-9ace-423d-8883-e42d357bf4e0" providerId="ADAL" clId="{573C8DA9-FF6C-4F66-86ED-44192EA93B69}" dt="2021-02-03T03:16:22.325" v="183" actId="20577"/>
          <ac:spMkLst>
            <pc:docMk/>
            <pc:sldMk cId="3042069393" sldId="2076136792"/>
            <ac:spMk id="3" creationId="{6367BCEA-1EB5-489B-AE81-5891B1AFEC42}"/>
          </ac:spMkLst>
        </pc:spChg>
        <pc:spChg chg="add mod">
          <ac:chgData name="Ghate, Atul" userId="e633be56-9ace-423d-8883-e42d357bf4e0" providerId="ADAL" clId="{573C8DA9-FF6C-4F66-86ED-44192EA93B69}" dt="2021-02-03T03:23:40.703" v="351" actId="1076"/>
          <ac:spMkLst>
            <pc:docMk/>
            <pc:sldMk cId="3042069393" sldId="2076136792"/>
            <ac:spMk id="28" creationId="{9855B752-28EF-4836-A8E6-343B5E2DA4B7}"/>
          </ac:spMkLst>
        </pc:spChg>
        <pc:spChg chg="mod">
          <ac:chgData name="Ghate, Atul" userId="e633be56-9ace-423d-8883-e42d357bf4e0" providerId="ADAL" clId="{573C8DA9-FF6C-4F66-86ED-44192EA93B69}" dt="2021-02-03T03:21:46.487" v="211" actId="313"/>
          <ac:spMkLst>
            <pc:docMk/>
            <pc:sldMk cId="3042069393" sldId="2076136792"/>
            <ac:spMk id="74" creationId="{DA14AF17-4206-4C1C-BDE5-13CEE16BEE7B}"/>
          </ac:spMkLst>
        </pc:spChg>
      </pc:sldChg>
    </pc:docChg>
  </pc:docChgLst>
  <pc:docChgLst>
    <pc:chgData name="YADLAPALLI, KRISHNA KUMAR" userId="c4e19615-d9cf-4c82-beb5-442ea9a62be4" providerId="ADAL" clId="{2398EA5B-F15C-4AD1-87E3-C1C9250090B9}"/>
    <pc:docChg chg="undo addSld delSld modSld">
      <pc:chgData name="YADLAPALLI, KRISHNA KUMAR" userId="c4e19615-d9cf-4c82-beb5-442ea9a62be4" providerId="ADAL" clId="{2398EA5B-F15C-4AD1-87E3-C1C9250090B9}" dt="2021-02-06T18:45:05.516" v="70" actId="207"/>
      <pc:docMkLst>
        <pc:docMk/>
      </pc:docMkLst>
      <pc:sldChg chg="addSp modSp">
        <pc:chgData name="YADLAPALLI, KRISHNA KUMAR" userId="c4e19615-d9cf-4c82-beb5-442ea9a62be4" providerId="ADAL" clId="{2398EA5B-F15C-4AD1-87E3-C1C9250090B9}" dt="2021-02-05T22:27:12.831" v="55" actId="14100"/>
        <pc:sldMkLst>
          <pc:docMk/>
          <pc:sldMk cId="1028514834" sldId="257"/>
        </pc:sldMkLst>
        <pc:spChg chg="mod">
          <ac:chgData name="YADLAPALLI, KRISHNA KUMAR" userId="c4e19615-d9cf-4c82-beb5-442ea9a62be4" providerId="ADAL" clId="{2398EA5B-F15C-4AD1-87E3-C1C9250090B9}" dt="2021-02-05T22:26:56.192" v="50" actId="1035"/>
          <ac:spMkLst>
            <pc:docMk/>
            <pc:sldMk cId="1028514834" sldId="257"/>
            <ac:spMk id="43" creationId="{C2707413-A140-4A22-901F-65DB3469C754}"/>
          </ac:spMkLst>
        </pc:spChg>
        <pc:spChg chg="mod">
          <ac:chgData name="YADLAPALLI, KRISHNA KUMAR" userId="c4e19615-d9cf-4c82-beb5-442ea9a62be4" providerId="ADAL" clId="{2398EA5B-F15C-4AD1-87E3-C1C9250090B9}" dt="2021-02-05T22:26:58.897" v="54" actId="1035"/>
          <ac:spMkLst>
            <pc:docMk/>
            <pc:sldMk cId="1028514834" sldId="257"/>
            <ac:spMk id="51" creationId="{4DF7C0E9-B564-4233-900E-B4621A01326D}"/>
          </ac:spMkLst>
        </pc:spChg>
        <pc:spChg chg="add mod">
          <ac:chgData name="YADLAPALLI, KRISHNA KUMAR" userId="c4e19615-d9cf-4c82-beb5-442ea9a62be4" providerId="ADAL" clId="{2398EA5B-F15C-4AD1-87E3-C1C9250090B9}" dt="2021-02-05T22:27:12.831" v="55" actId="14100"/>
          <ac:spMkLst>
            <pc:docMk/>
            <pc:sldMk cId="1028514834" sldId="257"/>
            <ac:spMk id="56" creationId="{0DD4B3AC-A077-4428-92E9-AA8FA0CE0A81}"/>
          </ac:spMkLst>
        </pc:spChg>
      </pc:sldChg>
      <pc:sldChg chg="modSp add del">
        <pc:chgData name="YADLAPALLI, KRISHNA KUMAR" userId="c4e19615-d9cf-4c82-beb5-442ea9a62be4" providerId="ADAL" clId="{2398EA5B-F15C-4AD1-87E3-C1C9250090B9}" dt="2021-02-06T18:45:05.516" v="70" actId="207"/>
        <pc:sldMkLst>
          <pc:docMk/>
          <pc:sldMk cId="70477963" sldId="2137005737"/>
        </pc:sldMkLst>
        <pc:spChg chg="mod">
          <ac:chgData name="YADLAPALLI, KRISHNA KUMAR" userId="c4e19615-d9cf-4c82-beb5-442ea9a62be4" providerId="ADAL" clId="{2398EA5B-F15C-4AD1-87E3-C1C9250090B9}" dt="2021-02-06T18:44:28.956" v="69" actId="1037"/>
          <ac:spMkLst>
            <pc:docMk/>
            <pc:sldMk cId="70477963" sldId="2137005737"/>
            <ac:spMk id="32" creationId="{269718DF-AB80-4A57-BD7A-641CB987E84D}"/>
          </ac:spMkLst>
        </pc:spChg>
        <pc:spChg chg="mod">
          <ac:chgData name="YADLAPALLI, KRISHNA KUMAR" userId="c4e19615-d9cf-4c82-beb5-442ea9a62be4" providerId="ADAL" clId="{2398EA5B-F15C-4AD1-87E3-C1C9250090B9}" dt="2021-02-06T18:43:54.783" v="63" actId="207"/>
          <ac:spMkLst>
            <pc:docMk/>
            <pc:sldMk cId="70477963" sldId="2137005737"/>
            <ac:spMk id="110" creationId="{61FE4910-4BE2-406D-A745-B9009957F275}"/>
          </ac:spMkLst>
        </pc:spChg>
        <pc:spChg chg="mod">
          <ac:chgData name="YADLAPALLI, KRISHNA KUMAR" userId="c4e19615-d9cf-4c82-beb5-442ea9a62be4" providerId="ADAL" clId="{2398EA5B-F15C-4AD1-87E3-C1C9250090B9}" dt="2021-02-06T18:44:14.386" v="65" actId="1076"/>
          <ac:spMkLst>
            <pc:docMk/>
            <pc:sldMk cId="70477963" sldId="2137005737"/>
            <ac:spMk id="112" creationId="{9DB50C04-7FE2-46DF-80A0-568CAB7FAA5A}"/>
          </ac:spMkLst>
        </pc:spChg>
        <pc:spChg chg="mod">
          <ac:chgData name="YADLAPALLI, KRISHNA KUMAR" userId="c4e19615-d9cf-4c82-beb5-442ea9a62be4" providerId="ADAL" clId="{2398EA5B-F15C-4AD1-87E3-C1C9250090B9}" dt="2021-02-06T18:45:05.516" v="70" actId="207"/>
          <ac:spMkLst>
            <pc:docMk/>
            <pc:sldMk cId="70477963" sldId="2137005737"/>
            <ac:spMk id="116" creationId="{3CF8B44F-9BEC-44D4-B694-A6D1BCACAFC5}"/>
          </ac:spMkLst>
        </pc:spChg>
        <pc:spChg chg="mod">
          <ac:chgData name="YADLAPALLI, KRISHNA KUMAR" userId="c4e19615-d9cf-4c82-beb5-442ea9a62be4" providerId="ADAL" clId="{2398EA5B-F15C-4AD1-87E3-C1C9250090B9}" dt="2021-02-06T18:43:50.612" v="62" actId="207"/>
          <ac:spMkLst>
            <pc:docMk/>
            <pc:sldMk cId="70477963" sldId="2137005737"/>
            <ac:spMk id="157" creationId="{F607DC95-4D57-4134-874D-548AAAE69868}"/>
          </ac:spMkLst>
        </pc:spChg>
      </pc:sldChg>
      <pc:sldMasterChg chg="delSldLayout">
        <pc:chgData name="YADLAPALLI, KRISHNA KUMAR" userId="c4e19615-d9cf-4c82-beb5-442ea9a62be4" providerId="ADAL" clId="{2398EA5B-F15C-4AD1-87E3-C1C9250090B9}" dt="2021-02-06T18:42:30.352" v="58" actId="2696"/>
        <pc:sldMasterMkLst>
          <pc:docMk/>
          <pc:sldMasterMk cId="2327657252" sldId="2147483702"/>
        </pc:sldMasterMkLst>
        <pc:sldLayoutChg chg="del">
          <pc:chgData name="YADLAPALLI, KRISHNA KUMAR" userId="c4e19615-d9cf-4c82-beb5-442ea9a62be4" providerId="ADAL" clId="{2398EA5B-F15C-4AD1-87E3-C1C9250090B9}" dt="2021-02-06T18:42:30.352" v="58" actId="2696"/>
          <pc:sldLayoutMkLst>
            <pc:docMk/>
            <pc:sldMasterMk cId="2327657252" sldId="2147483702"/>
            <pc:sldLayoutMk cId="2957013610" sldId="2147483773"/>
          </pc:sldLayoutMkLst>
        </pc:sldLayoutChg>
      </pc:sldMasterChg>
    </pc:docChg>
  </pc:docChgLst>
  <pc:docChgLst>
    <pc:chgData name="YADLAPALLI, KRISHNA KUMAR" userId="S::krishna.yadlapalli@capgemini.com::c4e19615-d9cf-4c82-beb5-442ea9a62be4" providerId="AD" clId="Web-{6E89FCBB-8B0A-4ED4-AE81-0BE60B18C2AF}"/>
    <pc:docChg chg="delSld modSld">
      <pc:chgData name="YADLAPALLI, KRISHNA KUMAR" userId="S::krishna.yadlapalli@capgemini.com::c4e19615-d9cf-4c82-beb5-442ea9a62be4" providerId="AD" clId="Web-{6E89FCBB-8B0A-4ED4-AE81-0BE60B18C2AF}" dt="2021-02-06T17:31:49.982" v="2"/>
      <pc:docMkLst>
        <pc:docMk/>
      </pc:docMkLst>
      <pc:sldChg chg="addSp delSp modSp del">
        <pc:chgData name="YADLAPALLI, KRISHNA KUMAR" userId="S::krishna.yadlapalli@capgemini.com::c4e19615-d9cf-4c82-beb5-442ea9a62be4" providerId="AD" clId="Web-{6E89FCBB-8B0A-4ED4-AE81-0BE60B18C2AF}" dt="2021-02-06T17:31:49.982" v="2"/>
        <pc:sldMkLst>
          <pc:docMk/>
          <pc:sldMk cId="3154307126" sldId="2137005736"/>
        </pc:sldMkLst>
        <pc:picChg chg="add del mod">
          <ac:chgData name="YADLAPALLI, KRISHNA KUMAR" userId="S::krishna.yadlapalli@capgemini.com::c4e19615-d9cf-4c82-beb5-442ea9a62be4" providerId="AD" clId="Web-{6E89FCBB-8B0A-4ED4-AE81-0BE60B18C2AF}" dt="2021-02-06T17:31:47.060" v="1"/>
          <ac:picMkLst>
            <pc:docMk/>
            <pc:sldMk cId="3154307126" sldId="2137005736"/>
            <ac:picMk id="2" creationId="{5CBB51F4-DA1E-4CEB-9949-99B84AE29951}"/>
          </ac:picMkLst>
        </pc:picChg>
      </pc:sldChg>
    </pc:docChg>
  </pc:docChgLst>
  <pc:docChgLst>
    <pc:chgData name="Ghate, Atul" userId="e633be56-9ace-423d-8883-e42d357bf4e0" providerId="ADAL" clId="{3A5FBCAB-D22B-4A62-B9AC-D0FD9523E050}"/>
    <pc:docChg chg="undo redo custSel addSld delSld modSld sldOrd delMainMaster">
      <pc:chgData name="Ghate, Atul" userId="e633be56-9ace-423d-8883-e42d357bf4e0" providerId="ADAL" clId="{3A5FBCAB-D22B-4A62-B9AC-D0FD9523E050}" dt="2021-02-07T22:12:19.593" v="3693"/>
      <pc:docMkLst>
        <pc:docMk/>
      </pc:docMkLst>
      <pc:sldChg chg="addSp delSp modSp mod">
        <pc:chgData name="Ghate, Atul" userId="e633be56-9ace-423d-8883-e42d357bf4e0" providerId="ADAL" clId="{3A5FBCAB-D22B-4A62-B9AC-D0FD9523E050}" dt="2021-02-05T17:51:36.453" v="3691" actId="20577"/>
        <pc:sldMkLst>
          <pc:docMk/>
          <pc:sldMk cId="1028514834" sldId="257"/>
        </pc:sldMkLst>
        <pc:spChg chg="mod">
          <ac:chgData name="Ghate, Atul" userId="e633be56-9ace-423d-8883-e42d357bf4e0" providerId="ADAL" clId="{3A5FBCAB-D22B-4A62-B9AC-D0FD9523E050}" dt="2021-02-05T17:48:44.287" v="3660" actId="1076"/>
          <ac:spMkLst>
            <pc:docMk/>
            <pc:sldMk cId="1028514834" sldId="257"/>
            <ac:spMk id="2" creationId="{30A4696B-AAAC-44AB-A4A1-AC0B8E5F9FA6}"/>
          </ac:spMkLst>
        </pc:spChg>
        <pc:spChg chg="del mod">
          <ac:chgData name="Ghate, Atul" userId="e633be56-9ace-423d-8883-e42d357bf4e0" providerId="ADAL" clId="{3A5FBCAB-D22B-4A62-B9AC-D0FD9523E050}" dt="2021-02-05T16:29:22.162" v="2242" actId="478"/>
          <ac:spMkLst>
            <pc:docMk/>
            <pc:sldMk cId="1028514834" sldId="257"/>
            <ac:spMk id="3" creationId="{78463C25-233E-4484-9925-1B57A4E3C0E0}"/>
          </ac:spMkLst>
        </pc:spChg>
        <pc:spChg chg="add del">
          <ac:chgData name="Ghate, Atul" userId="e633be56-9ace-423d-8883-e42d357bf4e0" providerId="ADAL" clId="{3A5FBCAB-D22B-4A62-B9AC-D0FD9523E050}" dt="2021-02-05T15:53:15.578" v="2139" actId="11529"/>
          <ac:spMkLst>
            <pc:docMk/>
            <pc:sldMk cId="1028514834" sldId="257"/>
            <ac:spMk id="4" creationId="{45DC93D5-DFF9-4EF8-8B8B-7371581BA53E}"/>
          </ac:spMkLst>
        </pc:spChg>
        <pc:spChg chg="del mod">
          <ac:chgData name="Ghate, Atul" userId="e633be56-9ace-423d-8883-e42d357bf4e0" providerId="ADAL" clId="{3A5FBCAB-D22B-4A62-B9AC-D0FD9523E050}" dt="2021-02-05T16:06:57.289" v="2158" actId="478"/>
          <ac:spMkLst>
            <pc:docMk/>
            <pc:sldMk cId="1028514834" sldId="257"/>
            <ac:spMk id="8" creationId="{A00E2A82-ACAD-4D34-9C0A-A9831CD49A56}"/>
          </ac:spMkLst>
        </pc:spChg>
        <pc:spChg chg="del mod">
          <ac:chgData name="Ghate, Atul" userId="e633be56-9ace-423d-8883-e42d357bf4e0" providerId="ADAL" clId="{3A5FBCAB-D22B-4A62-B9AC-D0FD9523E050}" dt="2021-02-05T16:06:55.105" v="2157" actId="478"/>
          <ac:spMkLst>
            <pc:docMk/>
            <pc:sldMk cId="1028514834" sldId="257"/>
            <ac:spMk id="9" creationId="{7BE2D268-4961-4CDC-8907-0410D44C32F9}"/>
          </ac:spMkLst>
        </pc:spChg>
        <pc:spChg chg="add del mod">
          <ac:chgData name="Ghate, Atul" userId="e633be56-9ace-423d-8883-e42d357bf4e0" providerId="ADAL" clId="{3A5FBCAB-D22B-4A62-B9AC-D0FD9523E050}" dt="2021-02-05T17:29:05.106" v="3153" actId="478"/>
          <ac:spMkLst>
            <pc:docMk/>
            <pc:sldMk cId="1028514834" sldId="257"/>
            <ac:spMk id="10" creationId="{8C38FF01-1D77-452C-9727-CF74D67DE444}"/>
          </ac:spMkLst>
        </pc:spChg>
        <pc:spChg chg="mod">
          <ac:chgData name="Ghate, Atul" userId="e633be56-9ace-423d-8883-e42d357bf4e0" providerId="ADAL" clId="{3A5FBCAB-D22B-4A62-B9AC-D0FD9523E050}" dt="2021-02-05T17:48:44.287" v="3660" actId="1076"/>
          <ac:spMkLst>
            <pc:docMk/>
            <pc:sldMk cId="1028514834" sldId="257"/>
            <ac:spMk id="12" creationId="{8143ED22-F72C-4458-BC79-76EF871D09AE}"/>
          </ac:spMkLst>
        </pc:spChg>
        <pc:spChg chg="mod">
          <ac:chgData name="Ghate, Atul" userId="e633be56-9ace-423d-8883-e42d357bf4e0" providerId="ADAL" clId="{3A5FBCAB-D22B-4A62-B9AC-D0FD9523E050}" dt="2021-02-05T17:48:44.287" v="3660" actId="1076"/>
          <ac:spMkLst>
            <pc:docMk/>
            <pc:sldMk cId="1028514834" sldId="257"/>
            <ac:spMk id="13" creationId="{5B711C0A-4A06-4C6D-9363-C5A16E15DCDB}"/>
          </ac:spMkLst>
        </pc:spChg>
        <pc:spChg chg="mod">
          <ac:chgData name="Ghate, Atul" userId="e633be56-9ace-423d-8883-e42d357bf4e0" providerId="ADAL" clId="{3A5FBCAB-D22B-4A62-B9AC-D0FD9523E050}" dt="2021-02-05T17:48:44.287" v="3660" actId="1076"/>
          <ac:spMkLst>
            <pc:docMk/>
            <pc:sldMk cId="1028514834" sldId="257"/>
            <ac:spMk id="14" creationId="{425C520C-297E-4412-B01B-780E164F4B2E}"/>
          </ac:spMkLst>
        </pc:spChg>
        <pc:spChg chg="mod">
          <ac:chgData name="Ghate, Atul" userId="e633be56-9ace-423d-8883-e42d357bf4e0" providerId="ADAL" clId="{3A5FBCAB-D22B-4A62-B9AC-D0FD9523E050}" dt="2021-02-05T17:48:44.287" v="3660" actId="1076"/>
          <ac:spMkLst>
            <pc:docMk/>
            <pc:sldMk cId="1028514834" sldId="257"/>
            <ac:spMk id="15" creationId="{55BB4A42-5165-4683-92D0-298389937222}"/>
          </ac:spMkLst>
        </pc:spChg>
        <pc:spChg chg="del mod">
          <ac:chgData name="Ghate, Atul" userId="e633be56-9ace-423d-8883-e42d357bf4e0" providerId="ADAL" clId="{3A5FBCAB-D22B-4A62-B9AC-D0FD9523E050}" dt="2021-02-05T16:42:21.336" v="2257" actId="478"/>
          <ac:spMkLst>
            <pc:docMk/>
            <pc:sldMk cId="1028514834" sldId="257"/>
            <ac:spMk id="16" creationId="{36680EFF-782E-4983-AD1D-F50A1EB2F6C6}"/>
          </ac:spMkLst>
        </pc:spChg>
        <pc:spChg chg="mod">
          <ac:chgData name="Ghate, Atul" userId="e633be56-9ace-423d-8883-e42d357bf4e0" providerId="ADAL" clId="{3A5FBCAB-D22B-4A62-B9AC-D0FD9523E050}" dt="2021-02-05T17:48:44.287" v="3660" actId="1076"/>
          <ac:spMkLst>
            <pc:docMk/>
            <pc:sldMk cId="1028514834" sldId="257"/>
            <ac:spMk id="17" creationId="{202456AF-F226-44F3-B51A-CB274599E500}"/>
          </ac:spMkLst>
        </pc:spChg>
        <pc:spChg chg="del mod">
          <ac:chgData name="Ghate, Atul" userId="e633be56-9ace-423d-8883-e42d357bf4e0" providerId="ADAL" clId="{3A5FBCAB-D22B-4A62-B9AC-D0FD9523E050}" dt="2021-02-05T17:42:58.641" v="3594" actId="478"/>
          <ac:spMkLst>
            <pc:docMk/>
            <pc:sldMk cId="1028514834" sldId="257"/>
            <ac:spMk id="18" creationId="{A6192B90-0853-4C1A-91FB-406C5CDA8E7C}"/>
          </ac:spMkLst>
        </pc:spChg>
        <pc:spChg chg="del mod">
          <ac:chgData name="Ghate, Atul" userId="e633be56-9ace-423d-8883-e42d357bf4e0" providerId="ADAL" clId="{3A5FBCAB-D22B-4A62-B9AC-D0FD9523E050}" dt="2021-02-05T17:43:15.672" v="3599" actId="478"/>
          <ac:spMkLst>
            <pc:docMk/>
            <pc:sldMk cId="1028514834" sldId="257"/>
            <ac:spMk id="19" creationId="{73DDC514-5AA1-4707-9575-EBF721ED9D1A}"/>
          </ac:spMkLst>
        </pc:spChg>
        <pc:spChg chg="mod">
          <ac:chgData name="Ghate, Atul" userId="e633be56-9ace-423d-8883-e42d357bf4e0" providerId="ADAL" clId="{3A5FBCAB-D22B-4A62-B9AC-D0FD9523E050}" dt="2021-02-05T17:48:44.287" v="3660" actId="1076"/>
          <ac:spMkLst>
            <pc:docMk/>
            <pc:sldMk cId="1028514834" sldId="257"/>
            <ac:spMk id="20" creationId="{49EEF118-C494-4709-9E49-ABCE24C6D0A2}"/>
          </ac:spMkLst>
        </pc:spChg>
        <pc:spChg chg="mod">
          <ac:chgData name="Ghate, Atul" userId="e633be56-9ace-423d-8883-e42d357bf4e0" providerId="ADAL" clId="{3A5FBCAB-D22B-4A62-B9AC-D0FD9523E050}" dt="2021-02-05T17:50:53.487" v="3683" actId="1038"/>
          <ac:spMkLst>
            <pc:docMk/>
            <pc:sldMk cId="1028514834" sldId="257"/>
            <ac:spMk id="21" creationId="{DEA9E26A-3BC9-4DDB-B90F-6CF23343D913}"/>
          </ac:spMkLst>
        </pc:spChg>
        <pc:spChg chg="mod">
          <ac:chgData name="Ghate, Atul" userId="e633be56-9ace-423d-8883-e42d357bf4e0" providerId="ADAL" clId="{3A5FBCAB-D22B-4A62-B9AC-D0FD9523E050}" dt="2021-02-05T17:48:44.287" v="3660" actId="1076"/>
          <ac:spMkLst>
            <pc:docMk/>
            <pc:sldMk cId="1028514834" sldId="257"/>
            <ac:spMk id="22" creationId="{A4C1D554-9F44-4C13-97B7-54DAC46E7A41}"/>
          </ac:spMkLst>
        </pc:spChg>
        <pc:spChg chg="mod">
          <ac:chgData name="Ghate, Atul" userId="e633be56-9ace-423d-8883-e42d357bf4e0" providerId="ADAL" clId="{3A5FBCAB-D22B-4A62-B9AC-D0FD9523E050}" dt="2021-02-05T17:48:44.287" v="3660" actId="1076"/>
          <ac:spMkLst>
            <pc:docMk/>
            <pc:sldMk cId="1028514834" sldId="257"/>
            <ac:spMk id="23" creationId="{6DAFEB8E-A3E7-4DA3-9B08-5236E0D62318}"/>
          </ac:spMkLst>
        </pc:spChg>
        <pc:spChg chg="mod">
          <ac:chgData name="Ghate, Atul" userId="e633be56-9ace-423d-8883-e42d357bf4e0" providerId="ADAL" clId="{3A5FBCAB-D22B-4A62-B9AC-D0FD9523E050}" dt="2021-02-05T17:50:53.487" v="3683" actId="1038"/>
          <ac:spMkLst>
            <pc:docMk/>
            <pc:sldMk cId="1028514834" sldId="257"/>
            <ac:spMk id="24" creationId="{9BB55683-BCCB-406C-9297-52ACDBE89174}"/>
          </ac:spMkLst>
        </pc:spChg>
        <pc:spChg chg="mod">
          <ac:chgData name="Ghate, Atul" userId="e633be56-9ace-423d-8883-e42d357bf4e0" providerId="ADAL" clId="{3A5FBCAB-D22B-4A62-B9AC-D0FD9523E050}" dt="2021-02-05T17:50:53.487" v="3683" actId="1038"/>
          <ac:spMkLst>
            <pc:docMk/>
            <pc:sldMk cId="1028514834" sldId="257"/>
            <ac:spMk id="25" creationId="{48FC5EA4-8AEA-4D10-ADAD-84B0ADBBC0F2}"/>
          </ac:spMkLst>
        </pc:spChg>
        <pc:spChg chg="mod">
          <ac:chgData name="Ghate, Atul" userId="e633be56-9ace-423d-8883-e42d357bf4e0" providerId="ADAL" clId="{3A5FBCAB-D22B-4A62-B9AC-D0FD9523E050}" dt="2021-02-05T17:50:53.487" v="3683" actId="1038"/>
          <ac:spMkLst>
            <pc:docMk/>
            <pc:sldMk cId="1028514834" sldId="257"/>
            <ac:spMk id="27" creationId="{B584A93A-100A-491C-994D-46B67EC54A05}"/>
          </ac:spMkLst>
        </pc:spChg>
        <pc:spChg chg="mod">
          <ac:chgData name="Ghate, Atul" userId="e633be56-9ace-423d-8883-e42d357bf4e0" providerId="ADAL" clId="{3A5FBCAB-D22B-4A62-B9AC-D0FD9523E050}" dt="2021-02-05T17:48:44.287" v="3660" actId="1076"/>
          <ac:spMkLst>
            <pc:docMk/>
            <pc:sldMk cId="1028514834" sldId="257"/>
            <ac:spMk id="28" creationId="{F169E44A-8B84-4E3B-9353-145D0479FBFE}"/>
          </ac:spMkLst>
        </pc:spChg>
        <pc:spChg chg="add mod ord">
          <ac:chgData name="Ghate, Atul" userId="e633be56-9ace-423d-8883-e42d357bf4e0" providerId="ADAL" clId="{3A5FBCAB-D22B-4A62-B9AC-D0FD9523E050}" dt="2021-02-05T17:51:22.876" v="3690" actId="1035"/>
          <ac:spMkLst>
            <pc:docMk/>
            <pc:sldMk cId="1028514834" sldId="257"/>
            <ac:spMk id="29" creationId="{AC04C05D-3810-49A3-BE83-DEDD44F745DA}"/>
          </ac:spMkLst>
        </pc:spChg>
        <pc:spChg chg="mod">
          <ac:chgData name="Ghate, Atul" userId="e633be56-9ace-423d-8883-e42d357bf4e0" providerId="ADAL" clId="{3A5FBCAB-D22B-4A62-B9AC-D0FD9523E050}" dt="2021-02-05T17:50:23.914" v="3676" actId="1076"/>
          <ac:spMkLst>
            <pc:docMk/>
            <pc:sldMk cId="1028514834" sldId="257"/>
            <ac:spMk id="30" creationId="{BD17CAD6-F504-47E7-AB0D-43385D3316E4}"/>
          </ac:spMkLst>
        </pc:spChg>
        <pc:spChg chg="del mod">
          <ac:chgData name="Ghate, Atul" userId="e633be56-9ace-423d-8883-e42d357bf4e0" providerId="ADAL" clId="{3A5FBCAB-D22B-4A62-B9AC-D0FD9523E050}" dt="2021-02-05T16:54:13.935" v="2598" actId="478"/>
          <ac:spMkLst>
            <pc:docMk/>
            <pc:sldMk cId="1028514834" sldId="257"/>
            <ac:spMk id="31" creationId="{0279410D-10DB-48D2-B80D-3E0127F9605F}"/>
          </ac:spMkLst>
        </pc:spChg>
        <pc:spChg chg="mod">
          <ac:chgData name="Ghate, Atul" userId="e633be56-9ace-423d-8883-e42d357bf4e0" providerId="ADAL" clId="{3A5FBCAB-D22B-4A62-B9AC-D0FD9523E050}" dt="2021-02-05T17:48:44.287" v="3660" actId="1076"/>
          <ac:spMkLst>
            <pc:docMk/>
            <pc:sldMk cId="1028514834" sldId="257"/>
            <ac:spMk id="32" creationId="{269718DF-AB80-4A57-BD7A-641CB987E84D}"/>
          </ac:spMkLst>
        </pc:spChg>
        <pc:spChg chg="del mod">
          <ac:chgData name="Ghate, Atul" userId="e633be56-9ace-423d-8883-e42d357bf4e0" providerId="ADAL" clId="{3A5FBCAB-D22B-4A62-B9AC-D0FD9523E050}" dt="2021-02-05T17:01:10.462" v="2808" actId="478"/>
          <ac:spMkLst>
            <pc:docMk/>
            <pc:sldMk cId="1028514834" sldId="257"/>
            <ac:spMk id="37" creationId="{277313ED-534E-4D46-A78D-9BE89CB10115}"/>
          </ac:spMkLst>
        </pc:spChg>
        <pc:spChg chg="del mod">
          <ac:chgData name="Ghate, Atul" userId="e633be56-9ace-423d-8883-e42d357bf4e0" providerId="ADAL" clId="{3A5FBCAB-D22B-4A62-B9AC-D0FD9523E050}" dt="2021-02-05T17:03:01.956" v="2881" actId="478"/>
          <ac:spMkLst>
            <pc:docMk/>
            <pc:sldMk cId="1028514834" sldId="257"/>
            <ac:spMk id="38" creationId="{0B21E9CC-657D-49D2-99EC-EC3584593E3E}"/>
          </ac:spMkLst>
        </pc:spChg>
        <pc:spChg chg="del mod">
          <ac:chgData name="Ghate, Atul" userId="e633be56-9ace-423d-8883-e42d357bf4e0" providerId="ADAL" clId="{3A5FBCAB-D22B-4A62-B9AC-D0FD9523E050}" dt="2021-02-05T17:04:19.733" v="2888" actId="478"/>
          <ac:spMkLst>
            <pc:docMk/>
            <pc:sldMk cId="1028514834" sldId="257"/>
            <ac:spMk id="39" creationId="{56531885-A9E5-4466-8614-A55DF0178D45}"/>
          </ac:spMkLst>
        </pc:spChg>
        <pc:spChg chg="mod">
          <ac:chgData name="Ghate, Atul" userId="e633be56-9ace-423d-8883-e42d357bf4e0" providerId="ADAL" clId="{3A5FBCAB-D22B-4A62-B9AC-D0FD9523E050}" dt="2021-02-05T17:50:17.510" v="3673" actId="1076"/>
          <ac:spMkLst>
            <pc:docMk/>
            <pc:sldMk cId="1028514834" sldId="257"/>
            <ac:spMk id="40" creationId="{D8422FCD-2964-4CC0-8059-FFA57920BD64}"/>
          </ac:spMkLst>
        </pc:spChg>
        <pc:spChg chg="mod">
          <ac:chgData name="Ghate, Atul" userId="e633be56-9ace-423d-8883-e42d357bf4e0" providerId="ADAL" clId="{3A5FBCAB-D22B-4A62-B9AC-D0FD9523E050}" dt="2021-02-05T17:48:57.542" v="3661" actId="1076"/>
          <ac:spMkLst>
            <pc:docMk/>
            <pc:sldMk cId="1028514834" sldId="257"/>
            <ac:spMk id="41" creationId="{B27C8B7C-9A19-4E1A-8A4E-85BF80A32E07}"/>
          </ac:spMkLst>
        </pc:spChg>
        <pc:spChg chg="del mod">
          <ac:chgData name="Ghate, Atul" userId="e633be56-9ace-423d-8883-e42d357bf4e0" providerId="ADAL" clId="{3A5FBCAB-D22B-4A62-B9AC-D0FD9523E050}" dt="2021-02-05T17:15:21.987" v="2941" actId="478"/>
          <ac:spMkLst>
            <pc:docMk/>
            <pc:sldMk cId="1028514834" sldId="257"/>
            <ac:spMk id="42" creationId="{ABB008D9-9C93-4A90-A5C5-F5AD5AC0F3FF}"/>
          </ac:spMkLst>
        </pc:spChg>
        <pc:spChg chg="mod">
          <ac:chgData name="Ghate, Atul" userId="e633be56-9ace-423d-8883-e42d357bf4e0" providerId="ADAL" clId="{3A5FBCAB-D22B-4A62-B9AC-D0FD9523E050}" dt="2021-02-05T17:48:44.287" v="3660" actId="1076"/>
          <ac:spMkLst>
            <pc:docMk/>
            <pc:sldMk cId="1028514834" sldId="257"/>
            <ac:spMk id="43" creationId="{C2707413-A140-4A22-901F-65DB3469C754}"/>
          </ac:spMkLst>
        </pc:spChg>
        <pc:spChg chg="mod">
          <ac:chgData name="Ghate, Atul" userId="e633be56-9ace-423d-8883-e42d357bf4e0" providerId="ADAL" clId="{3A5FBCAB-D22B-4A62-B9AC-D0FD9523E050}" dt="2021-02-05T17:48:44.287" v="3660" actId="1076"/>
          <ac:spMkLst>
            <pc:docMk/>
            <pc:sldMk cId="1028514834" sldId="257"/>
            <ac:spMk id="44" creationId="{571FF29B-8725-4300-9335-79EBA7A95B97}"/>
          </ac:spMkLst>
        </pc:spChg>
        <pc:spChg chg="add del mod">
          <ac:chgData name="Ghate, Atul" userId="e633be56-9ace-423d-8883-e42d357bf4e0" providerId="ADAL" clId="{3A5FBCAB-D22B-4A62-B9AC-D0FD9523E050}" dt="2021-02-05T17:48:44.287" v="3660" actId="1076"/>
          <ac:spMkLst>
            <pc:docMk/>
            <pc:sldMk cId="1028514834" sldId="257"/>
            <ac:spMk id="45" creationId="{F913B46D-3AFC-4789-92DB-7A62D0A9DB11}"/>
          </ac:spMkLst>
        </pc:spChg>
        <pc:spChg chg="del mod">
          <ac:chgData name="Ghate, Atul" userId="e633be56-9ace-423d-8883-e42d357bf4e0" providerId="ADAL" clId="{3A5FBCAB-D22B-4A62-B9AC-D0FD9523E050}" dt="2021-02-05T16:04:20.041" v="2153" actId="478"/>
          <ac:spMkLst>
            <pc:docMk/>
            <pc:sldMk cId="1028514834" sldId="257"/>
            <ac:spMk id="46" creationId="{CE050DD7-052B-4FD0-B818-3726FCBFB00E}"/>
          </ac:spMkLst>
        </pc:spChg>
        <pc:spChg chg="del mod">
          <ac:chgData name="Ghate, Atul" userId="e633be56-9ace-423d-8883-e42d357bf4e0" providerId="ADAL" clId="{3A5FBCAB-D22B-4A62-B9AC-D0FD9523E050}" dt="2021-02-05T17:26:31.458" v="3118" actId="478"/>
          <ac:spMkLst>
            <pc:docMk/>
            <pc:sldMk cId="1028514834" sldId="257"/>
            <ac:spMk id="48" creationId="{16B56439-B28A-4A6B-A1AE-925F628488E0}"/>
          </ac:spMkLst>
        </pc:spChg>
        <pc:spChg chg="mod">
          <ac:chgData name="Ghate, Atul" userId="e633be56-9ace-423d-8883-e42d357bf4e0" providerId="ADAL" clId="{3A5FBCAB-D22B-4A62-B9AC-D0FD9523E050}" dt="2021-02-05T17:51:36.453" v="3691" actId="20577"/>
          <ac:spMkLst>
            <pc:docMk/>
            <pc:sldMk cId="1028514834" sldId="257"/>
            <ac:spMk id="50" creationId="{43836FC9-1307-40B7-A288-7719A39DE03C}"/>
          </ac:spMkLst>
        </pc:spChg>
        <pc:spChg chg="del mod">
          <ac:chgData name="Ghate, Atul" userId="e633be56-9ace-423d-8883-e42d357bf4e0" providerId="ADAL" clId="{3A5FBCAB-D22B-4A62-B9AC-D0FD9523E050}" dt="2021-02-05T17:32:03.485" v="3197" actId="478"/>
          <ac:spMkLst>
            <pc:docMk/>
            <pc:sldMk cId="1028514834" sldId="257"/>
            <ac:spMk id="53" creationId="{E02763C8-AD75-4812-81DC-B61FBA2780B4}"/>
          </ac:spMkLst>
        </pc:spChg>
        <pc:spChg chg="add del mod ord">
          <ac:chgData name="Ghate, Atul" userId="e633be56-9ace-423d-8883-e42d357bf4e0" providerId="ADAL" clId="{3A5FBCAB-D22B-4A62-B9AC-D0FD9523E050}" dt="2021-02-05T17:50:19.997" v="3675" actId="1076"/>
          <ac:spMkLst>
            <pc:docMk/>
            <pc:sldMk cId="1028514834" sldId="257"/>
            <ac:spMk id="54" creationId="{A4D2429D-9825-4F7F-B288-08193B5D5768}"/>
          </ac:spMkLst>
        </pc:spChg>
        <pc:spChg chg="add mod">
          <ac:chgData name="Ghate, Atul" userId="e633be56-9ace-423d-8883-e42d357bf4e0" providerId="ADAL" clId="{3A5FBCAB-D22B-4A62-B9AC-D0FD9523E050}" dt="2021-02-05T16:53:05.189" v="2590" actId="571"/>
          <ac:spMkLst>
            <pc:docMk/>
            <pc:sldMk cId="1028514834" sldId="257"/>
            <ac:spMk id="56" creationId="{2088FE3D-4AEB-45C9-A948-3B1419235448}"/>
          </ac:spMkLst>
        </pc:spChg>
        <pc:spChg chg="mod">
          <ac:chgData name="Ghate, Atul" userId="e633be56-9ace-423d-8883-e42d357bf4e0" providerId="ADAL" clId="{3A5FBCAB-D22B-4A62-B9AC-D0FD9523E050}" dt="2021-02-05T17:50:28.305" v="3677" actId="1076"/>
          <ac:spMkLst>
            <pc:docMk/>
            <pc:sldMk cId="1028514834" sldId="257"/>
            <ac:spMk id="58" creationId="{771B40E9-4134-49FE-BCD6-518F97300577}"/>
          </ac:spMkLst>
        </pc:spChg>
        <pc:spChg chg="add mod">
          <ac:chgData name="Ghate, Atul" userId="e633be56-9ace-423d-8883-e42d357bf4e0" providerId="ADAL" clId="{3A5FBCAB-D22B-4A62-B9AC-D0FD9523E050}" dt="2021-02-05T17:49:16.001" v="3664" actId="1076"/>
          <ac:spMkLst>
            <pc:docMk/>
            <pc:sldMk cId="1028514834" sldId="257"/>
            <ac:spMk id="65" creationId="{60427DBF-5CD8-4140-993D-5F7D726EA5BA}"/>
          </ac:spMkLst>
        </pc:spChg>
        <pc:spChg chg="add mod">
          <ac:chgData name="Ghate, Atul" userId="e633be56-9ace-423d-8883-e42d357bf4e0" providerId="ADAL" clId="{3A5FBCAB-D22B-4A62-B9AC-D0FD9523E050}" dt="2021-02-05T17:48:57.542" v="3661" actId="1076"/>
          <ac:spMkLst>
            <pc:docMk/>
            <pc:sldMk cId="1028514834" sldId="257"/>
            <ac:spMk id="66" creationId="{72D4B192-2FFE-43B5-B1F8-982CEBDF3EB9}"/>
          </ac:spMkLst>
        </pc:spChg>
        <pc:spChg chg="add mod">
          <ac:chgData name="Ghate, Atul" userId="e633be56-9ace-423d-8883-e42d357bf4e0" providerId="ADAL" clId="{3A5FBCAB-D22B-4A62-B9AC-D0FD9523E050}" dt="2021-02-05T17:48:57.542" v="3661" actId="1076"/>
          <ac:spMkLst>
            <pc:docMk/>
            <pc:sldMk cId="1028514834" sldId="257"/>
            <ac:spMk id="67" creationId="{5966C211-4DFA-40D1-AAF3-9C0127906749}"/>
          </ac:spMkLst>
        </pc:spChg>
        <pc:spChg chg="add mod">
          <ac:chgData name="Ghate, Atul" userId="e633be56-9ace-423d-8883-e42d357bf4e0" providerId="ADAL" clId="{3A5FBCAB-D22B-4A62-B9AC-D0FD9523E050}" dt="2021-02-05T17:48:57.542" v="3661" actId="1076"/>
          <ac:spMkLst>
            <pc:docMk/>
            <pc:sldMk cId="1028514834" sldId="257"/>
            <ac:spMk id="68" creationId="{93AA2FE2-7760-49C6-BA23-92C0A4D32A1D}"/>
          </ac:spMkLst>
        </pc:spChg>
        <pc:spChg chg="mod">
          <ac:chgData name="Ghate, Atul" userId="e633be56-9ace-423d-8883-e42d357bf4e0" providerId="ADAL" clId="{3A5FBCAB-D22B-4A62-B9AC-D0FD9523E050}" dt="2021-02-05T17:17:33.924" v="3005"/>
          <ac:spMkLst>
            <pc:docMk/>
            <pc:sldMk cId="1028514834" sldId="257"/>
            <ac:spMk id="70" creationId="{62708F63-2AA9-456A-8E04-ACAEA7B8C280}"/>
          </ac:spMkLst>
        </pc:spChg>
        <pc:spChg chg="mod">
          <ac:chgData name="Ghate, Atul" userId="e633be56-9ace-423d-8883-e42d357bf4e0" providerId="ADAL" clId="{3A5FBCAB-D22B-4A62-B9AC-D0FD9523E050}" dt="2021-02-05T17:17:33.924" v="3005"/>
          <ac:spMkLst>
            <pc:docMk/>
            <pc:sldMk cId="1028514834" sldId="257"/>
            <ac:spMk id="72" creationId="{E30D3F53-5996-4D54-A19B-B99DD452B2AE}"/>
          </ac:spMkLst>
        </pc:spChg>
        <pc:spChg chg="mod">
          <ac:chgData name="Ghate, Atul" userId="e633be56-9ace-423d-8883-e42d357bf4e0" providerId="ADAL" clId="{3A5FBCAB-D22B-4A62-B9AC-D0FD9523E050}" dt="2021-02-05T17:17:33.924" v="3005"/>
          <ac:spMkLst>
            <pc:docMk/>
            <pc:sldMk cId="1028514834" sldId="257"/>
            <ac:spMk id="73" creationId="{2DA45C23-0236-43DD-A529-660C14F9A437}"/>
          </ac:spMkLst>
        </pc:spChg>
        <pc:spChg chg="mod">
          <ac:chgData name="Ghate, Atul" userId="e633be56-9ace-423d-8883-e42d357bf4e0" providerId="ADAL" clId="{3A5FBCAB-D22B-4A62-B9AC-D0FD9523E050}" dt="2021-02-05T17:17:33.924" v="3005"/>
          <ac:spMkLst>
            <pc:docMk/>
            <pc:sldMk cId="1028514834" sldId="257"/>
            <ac:spMk id="74" creationId="{917D5104-6531-45E2-9BCC-D1BE90114C41}"/>
          </ac:spMkLst>
        </pc:spChg>
        <pc:spChg chg="mod">
          <ac:chgData name="Ghate, Atul" userId="e633be56-9ace-423d-8883-e42d357bf4e0" providerId="ADAL" clId="{3A5FBCAB-D22B-4A62-B9AC-D0FD9523E050}" dt="2021-02-05T17:17:33.924" v="3005"/>
          <ac:spMkLst>
            <pc:docMk/>
            <pc:sldMk cId="1028514834" sldId="257"/>
            <ac:spMk id="75" creationId="{7A968F3C-B2DF-41A5-948C-BD1C0D0F482A}"/>
          </ac:spMkLst>
        </pc:spChg>
        <pc:spChg chg="mod">
          <ac:chgData name="Ghate, Atul" userId="e633be56-9ace-423d-8883-e42d357bf4e0" providerId="ADAL" clId="{3A5FBCAB-D22B-4A62-B9AC-D0FD9523E050}" dt="2021-02-05T17:17:33.924" v="3005"/>
          <ac:spMkLst>
            <pc:docMk/>
            <pc:sldMk cId="1028514834" sldId="257"/>
            <ac:spMk id="76" creationId="{686F2C58-A4BC-4625-8A1A-4B68FB09E6E0}"/>
          </ac:spMkLst>
        </pc:spChg>
        <pc:spChg chg="mod">
          <ac:chgData name="Ghate, Atul" userId="e633be56-9ace-423d-8883-e42d357bf4e0" providerId="ADAL" clId="{3A5FBCAB-D22B-4A62-B9AC-D0FD9523E050}" dt="2021-02-05T17:17:33.924" v="3005"/>
          <ac:spMkLst>
            <pc:docMk/>
            <pc:sldMk cId="1028514834" sldId="257"/>
            <ac:spMk id="77" creationId="{7572E904-0921-4F0E-AD51-5EAE4D65FEFE}"/>
          </ac:spMkLst>
        </pc:spChg>
        <pc:spChg chg="mod">
          <ac:chgData name="Ghate, Atul" userId="e633be56-9ace-423d-8883-e42d357bf4e0" providerId="ADAL" clId="{3A5FBCAB-D22B-4A62-B9AC-D0FD9523E050}" dt="2021-02-05T17:17:33.924" v="3005"/>
          <ac:spMkLst>
            <pc:docMk/>
            <pc:sldMk cId="1028514834" sldId="257"/>
            <ac:spMk id="78" creationId="{2DB3E60F-27F7-4E2B-B7B6-60357DC5FBDD}"/>
          </ac:spMkLst>
        </pc:spChg>
        <pc:spChg chg="mod">
          <ac:chgData name="Ghate, Atul" userId="e633be56-9ace-423d-8883-e42d357bf4e0" providerId="ADAL" clId="{3A5FBCAB-D22B-4A62-B9AC-D0FD9523E050}" dt="2021-02-05T17:17:33.924" v="3005"/>
          <ac:spMkLst>
            <pc:docMk/>
            <pc:sldMk cId="1028514834" sldId="257"/>
            <ac:spMk id="79" creationId="{AA4BEF9A-FFFC-4531-92C7-58C2DEA206BD}"/>
          </ac:spMkLst>
        </pc:spChg>
        <pc:spChg chg="mod">
          <ac:chgData name="Ghate, Atul" userId="e633be56-9ace-423d-8883-e42d357bf4e0" providerId="ADAL" clId="{3A5FBCAB-D22B-4A62-B9AC-D0FD9523E050}" dt="2021-02-05T17:17:33.924" v="3005"/>
          <ac:spMkLst>
            <pc:docMk/>
            <pc:sldMk cId="1028514834" sldId="257"/>
            <ac:spMk id="80" creationId="{5F037A99-FB02-4FC0-A990-631E71F02B30}"/>
          </ac:spMkLst>
        </pc:spChg>
        <pc:spChg chg="mod">
          <ac:chgData name="Ghate, Atul" userId="e633be56-9ace-423d-8883-e42d357bf4e0" providerId="ADAL" clId="{3A5FBCAB-D22B-4A62-B9AC-D0FD9523E050}" dt="2021-02-05T17:17:33.924" v="3005"/>
          <ac:spMkLst>
            <pc:docMk/>
            <pc:sldMk cId="1028514834" sldId="257"/>
            <ac:spMk id="82" creationId="{5CCF4053-F652-43EE-B4E5-142C902D08D8}"/>
          </ac:spMkLst>
        </pc:spChg>
        <pc:spChg chg="mod">
          <ac:chgData name="Ghate, Atul" userId="e633be56-9ace-423d-8883-e42d357bf4e0" providerId="ADAL" clId="{3A5FBCAB-D22B-4A62-B9AC-D0FD9523E050}" dt="2021-02-05T17:17:33.924" v="3005"/>
          <ac:spMkLst>
            <pc:docMk/>
            <pc:sldMk cId="1028514834" sldId="257"/>
            <ac:spMk id="83" creationId="{C3E10939-7071-46B4-B1F5-29C035E75A8B}"/>
          </ac:spMkLst>
        </pc:spChg>
        <pc:spChg chg="mod">
          <ac:chgData name="Ghate, Atul" userId="e633be56-9ace-423d-8883-e42d357bf4e0" providerId="ADAL" clId="{3A5FBCAB-D22B-4A62-B9AC-D0FD9523E050}" dt="2021-02-05T17:17:33.924" v="3005"/>
          <ac:spMkLst>
            <pc:docMk/>
            <pc:sldMk cId="1028514834" sldId="257"/>
            <ac:spMk id="84" creationId="{997F436B-35BC-46D4-B696-109217ECEED6}"/>
          </ac:spMkLst>
        </pc:spChg>
        <pc:spChg chg="mod">
          <ac:chgData name="Ghate, Atul" userId="e633be56-9ace-423d-8883-e42d357bf4e0" providerId="ADAL" clId="{3A5FBCAB-D22B-4A62-B9AC-D0FD9523E050}" dt="2021-02-05T17:17:33.924" v="3005"/>
          <ac:spMkLst>
            <pc:docMk/>
            <pc:sldMk cId="1028514834" sldId="257"/>
            <ac:spMk id="85" creationId="{E91A00FB-4770-460B-BC13-F58054503F47}"/>
          </ac:spMkLst>
        </pc:spChg>
        <pc:spChg chg="mod">
          <ac:chgData name="Ghate, Atul" userId="e633be56-9ace-423d-8883-e42d357bf4e0" providerId="ADAL" clId="{3A5FBCAB-D22B-4A62-B9AC-D0FD9523E050}" dt="2021-02-05T17:17:33.924" v="3005"/>
          <ac:spMkLst>
            <pc:docMk/>
            <pc:sldMk cId="1028514834" sldId="257"/>
            <ac:spMk id="86" creationId="{8CF9F2DF-4235-4AEA-8FBF-2EE2F2453499}"/>
          </ac:spMkLst>
        </pc:spChg>
        <pc:spChg chg="mod">
          <ac:chgData name="Ghate, Atul" userId="e633be56-9ace-423d-8883-e42d357bf4e0" providerId="ADAL" clId="{3A5FBCAB-D22B-4A62-B9AC-D0FD9523E050}" dt="2021-02-05T17:17:33.924" v="3005"/>
          <ac:spMkLst>
            <pc:docMk/>
            <pc:sldMk cId="1028514834" sldId="257"/>
            <ac:spMk id="87" creationId="{F743B9FF-0490-4319-B229-F9AF61B05F54}"/>
          </ac:spMkLst>
        </pc:spChg>
        <pc:spChg chg="mod">
          <ac:chgData name="Ghate, Atul" userId="e633be56-9ace-423d-8883-e42d357bf4e0" providerId="ADAL" clId="{3A5FBCAB-D22B-4A62-B9AC-D0FD9523E050}" dt="2021-02-05T17:17:33.924" v="3005"/>
          <ac:spMkLst>
            <pc:docMk/>
            <pc:sldMk cId="1028514834" sldId="257"/>
            <ac:spMk id="88" creationId="{49E9B65D-C539-4763-8F79-11530E99ABCA}"/>
          </ac:spMkLst>
        </pc:spChg>
        <pc:spChg chg="mod">
          <ac:chgData name="Ghate, Atul" userId="e633be56-9ace-423d-8883-e42d357bf4e0" providerId="ADAL" clId="{3A5FBCAB-D22B-4A62-B9AC-D0FD9523E050}" dt="2021-02-05T17:17:33.924" v="3005"/>
          <ac:spMkLst>
            <pc:docMk/>
            <pc:sldMk cId="1028514834" sldId="257"/>
            <ac:spMk id="89" creationId="{ACC22E70-9C9D-4576-8EB1-D263EC87FB4A}"/>
          </ac:spMkLst>
        </pc:spChg>
        <pc:spChg chg="add mod">
          <ac:chgData name="Ghate, Atul" userId="e633be56-9ace-423d-8883-e42d357bf4e0" providerId="ADAL" clId="{3A5FBCAB-D22B-4A62-B9AC-D0FD9523E050}" dt="2021-02-05T17:24:34.949" v="3083" actId="571"/>
          <ac:spMkLst>
            <pc:docMk/>
            <pc:sldMk cId="1028514834" sldId="257"/>
            <ac:spMk id="91" creationId="{6474C319-2512-41FB-9C17-0F01DA48384E}"/>
          </ac:spMkLst>
        </pc:spChg>
        <pc:spChg chg="add mod">
          <ac:chgData name="Ghate, Atul" userId="e633be56-9ace-423d-8883-e42d357bf4e0" providerId="ADAL" clId="{3A5FBCAB-D22B-4A62-B9AC-D0FD9523E050}" dt="2021-02-05T17:24:34.949" v="3083" actId="571"/>
          <ac:spMkLst>
            <pc:docMk/>
            <pc:sldMk cId="1028514834" sldId="257"/>
            <ac:spMk id="92" creationId="{C5D4CE23-F63A-4804-8ABF-7A6D5FF78A19}"/>
          </ac:spMkLst>
        </pc:spChg>
        <pc:spChg chg="add del mod">
          <ac:chgData name="Ghate, Atul" userId="e633be56-9ace-423d-8883-e42d357bf4e0" providerId="ADAL" clId="{3A5FBCAB-D22B-4A62-B9AC-D0FD9523E050}" dt="2021-02-05T17:29:14.344" v="3156" actId="478"/>
          <ac:spMkLst>
            <pc:docMk/>
            <pc:sldMk cId="1028514834" sldId="257"/>
            <ac:spMk id="93" creationId="{BE4EDEAD-2CB1-43DB-9DE3-BDB4D39CCF36}"/>
          </ac:spMkLst>
        </pc:spChg>
        <pc:spChg chg="add del mod">
          <ac:chgData name="Ghate, Atul" userId="e633be56-9ace-423d-8883-e42d357bf4e0" providerId="ADAL" clId="{3A5FBCAB-D22B-4A62-B9AC-D0FD9523E050}" dt="2021-02-05T17:27:24.107" v="3137" actId="478"/>
          <ac:spMkLst>
            <pc:docMk/>
            <pc:sldMk cId="1028514834" sldId="257"/>
            <ac:spMk id="94" creationId="{5793553B-1C97-45A6-9DEE-45726DC8A311}"/>
          </ac:spMkLst>
        </pc:spChg>
        <pc:spChg chg="add del mod">
          <ac:chgData name="Ghate, Atul" userId="e633be56-9ace-423d-8883-e42d357bf4e0" providerId="ADAL" clId="{3A5FBCAB-D22B-4A62-B9AC-D0FD9523E050}" dt="2021-02-05T17:28:32.589" v="3145"/>
          <ac:spMkLst>
            <pc:docMk/>
            <pc:sldMk cId="1028514834" sldId="257"/>
            <ac:spMk id="96" creationId="{8AC6F379-34A9-4B57-B346-CB6AD82BC338}"/>
          </ac:spMkLst>
        </pc:spChg>
        <pc:spChg chg="add mod">
          <ac:chgData name="Ghate, Atul" userId="e633be56-9ace-423d-8883-e42d357bf4e0" providerId="ADAL" clId="{3A5FBCAB-D22B-4A62-B9AC-D0FD9523E050}" dt="2021-02-05T17:48:44.287" v="3660" actId="1076"/>
          <ac:spMkLst>
            <pc:docMk/>
            <pc:sldMk cId="1028514834" sldId="257"/>
            <ac:spMk id="97" creationId="{C951C2A3-82BC-4EA0-BBC4-EC6D2F8F53DB}"/>
          </ac:spMkLst>
        </pc:spChg>
        <pc:spChg chg="add mod">
          <ac:chgData name="Ghate, Atul" userId="e633be56-9ace-423d-8883-e42d357bf4e0" providerId="ADAL" clId="{3A5FBCAB-D22B-4A62-B9AC-D0FD9523E050}" dt="2021-02-05T17:48:44.287" v="3660" actId="1076"/>
          <ac:spMkLst>
            <pc:docMk/>
            <pc:sldMk cId="1028514834" sldId="257"/>
            <ac:spMk id="98" creationId="{C67BA4A5-4EC8-4636-86FC-3DE2809A1D89}"/>
          </ac:spMkLst>
        </pc:spChg>
        <pc:spChg chg="add mod">
          <ac:chgData name="Ghate, Atul" userId="e633be56-9ace-423d-8883-e42d357bf4e0" providerId="ADAL" clId="{3A5FBCAB-D22B-4A62-B9AC-D0FD9523E050}" dt="2021-02-05T17:48:44.287" v="3660" actId="1076"/>
          <ac:spMkLst>
            <pc:docMk/>
            <pc:sldMk cId="1028514834" sldId="257"/>
            <ac:spMk id="99" creationId="{89CF66EE-4064-4744-81AA-4F20F786EA58}"/>
          </ac:spMkLst>
        </pc:spChg>
        <pc:spChg chg="add mod">
          <ac:chgData name="Ghate, Atul" userId="e633be56-9ace-423d-8883-e42d357bf4e0" providerId="ADAL" clId="{3A5FBCAB-D22B-4A62-B9AC-D0FD9523E050}" dt="2021-02-05T17:48:44.287" v="3660" actId="1076"/>
          <ac:spMkLst>
            <pc:docMk/>
            <pc:sldMk cId="1028514834" sldId="257"/>
            <ac:spMk id="100" creationId="{3C21F5A8-2CA6-42FA-8973-5BD70A29FF38}"/>
          </ac:spMkLst>
        </pc:spChg>
        <pc:spChg chg="add mod">
          <ac:chgData name="Ghate, Atul" userId="e633be56-9ace-423d-8883-e42d357bf4e0" providerId="ADAL" clId="{3A5FBCAB-D22B-4A62-B9AC-D0FD9523E050}" dt="2021-02-05T17:51:12.247" v="3686" actId="1076"/>
          <ac:spMkLst>
            <pc:docMk/>
            <pc:sldMk cId="1028514834" sldId="257"/>
            <ac:spMk id="104" creationId="{0C000371-D26F-4980-9199-1F0451F65370}"/>
          </ac:spMkLst>
        </pc:spChg>
        <pc:spChg chg="add mod">
          <ac:chgData name="Ghate, Atul" userId="e633be56-9ace-423d-8883-e42d357bf4e0" providerId="ADAL" clId="{3A5FBCAB-D22B-4A62-B9AC-D0FD9523E050}" dt="2021-02-05T17:51:04.213" v="3685" actId="14100"/>
          <ac:spMkLst>
            <pc:docMk/>
            <pc:sldMk cId="1028514834" sldId="257"/>
            <ac:spMk id="105" creationId="{6F874FD7-B9BD-4FE0-9660-529C12DC3C46}"/>
          </ac:spMkLst>
        </pc:spChg>
        <pc:spChg chg="add mod">
          <ac:chgData name="Ghate, Atul" userId="e633be56-9ace-423d-8883-e42d357bf4e0" providerId="ADAL" clId="{3A5FBCAB-D22B-4A62-B9AC-D0FD9523E050}" dt="2021-02-05T17:51:00.619" v="3684" actId="14100"/>
          <ac:spMkLst>
            <pc:docMk/>
            <pc:sldMk cId="1028514834" sldId="257"/>
            <ac:spMk id="106" creationId="{F757237F-2AA4-4C41-9C4E-3AB82E419F2E}"/>
          </ac:spMkLst>
        </pc:spChg>
        <pc:spChg chg="add del mod">
          <ac:chgData name="Ghate, Atul" userId="e633be56-9ace-423d-8883-e42d357bf4e0" providerId="ADAL" clId="{3A5FBCAB-D22B-4A62-B9AC-D0FD9523E050}" dt="2021-02-05T17:41:23.324" v="3562" actId="478"/>
          <ac:spMkLst>
            <pc:docMk/>
            <pc:sldMk cId="1028514834" sldId="257"/>
            <ac:spMk id="107" creationId="{12ABF45E-26F7-46F9-88E9-05ABA0084029}"/>
          </ac:spMkLst>
        </pc:spChg>
        <pc:spChg chg="add del mod">
          <ac:chgData name="Ghate, Atul" userId="e633be56-9ace-423d-8883-e42d357bf4e0" providerId="ADAL" clId="{3A5FBCAB-D22B-4A62-B9AC-D0FD9523E050}" dt="2021-02-05T17:41:16.633" v="3560" actId="478"/>
          <ac:spMkLst>
            <pc:docMk/>
            <pc:sldMk cId="1028514834" sldId="257"/>
            <ac:spMk id="108" creationId="{4F111A12-64F0-43A9-8E62-62D8568AC406}"/>
          </ac:spMkLst>
        </pc:spChg>
        <pc:spChg chg="add mod">
          <ac:chgData name="Ghate, Atul" userId="e633be56-9ace-423d-8883-e42d357bf4e0" providerId="ADAL" clId="{3A5FBCAB-D22B-4A62-B9AC-D0FD9523E050}" dt="2021-02-05T17:48:44.287" v="3660" actId="1076"/>
          <ac:spMkLst>
            <pc:docMk/>
            <pc:sldMk cId="1028514834" sldId="257"/>
            <ac:spMk id="109" creationId="{F0661702-4F8E-42F9-BEF3-5C1C92153601}"/>
          </ac:spMkLst>
        </pc:spChg>
        <pc:spChg chg="add mod">
          <ac:chgData name="Ghate, Atul" userId="e633be56-9ace-423d-8883-e42d357bf4e0" providerId="ADAL" clId="{3A5FBCAB-D22B-4A62-B9AC-D0FD9523E050}" dt="2021-02-05T17:51:22.876" v="3690" actId="1035"/>
          <ac:spMkLst>
            <pc:docMk/>
            <pc:sldMk cId="1028514834" sldId="257"/>
            <ac:spMk id="21504" creationId="{EBA3F504-7735-43F5-9E62-CE38EB5FF7A9}"/>
          </ac:spMkLst>
        </pc:spChg>
        <pc:spChg chg="add mod">
          <ac:chgData name="Ghate, Atul" userId="e633be56-9ace-423d-8883-e42d357bf4e0" providerId="ADAL" clId="{3A5FBCAB-D22B-4A62-B9AC-D0FD9523E050}" dt="2021-02-05T17:48:57.542" v="3661" actId="1076"/>
          <ac:spMkLst>
            <pc:docMk/>
            <pc:sldMk cId="1028514834" sldId="257"/>
            <ac:spMk id="21505" creationId="{084CFCE8-BF54-4B91-8C90-58F3B3EF8FCB}"/>
          </ac:spMkLst>
        </pc:spChg>
        <pc:spChg chg="add mod">
          <ac:chgData name="Ghate, Atul" userId="e633be56-9ace-423d-8883-e42d357bf4e0" providerId="ADAL" clId="{3A5FBCAB-D22B-4A62-B9AC-D0FD9523E050}" dt="2021-02-05T17:48:44.287" v="3660" actId="1076"/>
          <ac:spMkLst>
            <pc:docMk/>
            <pc:sldMk cId="1028514834" sldId="257"/>
            <ac:spMk id="21507" creationId="{44E2C55F-E5E4-4130-ABD3-EC9B55AE1AC4}"/>
          </ac:spMkLst>
        </pc:spChg>
        <pc:spChg chg="add del mod">
          <ac:chgData name="Ghate, Atul" userId="e633be56-9ace-423d-8883-e42d357bf4e0" providerId="ADAL" clId="{3A5FBCAB-D22B-4A62-B9AC-D0FD9523E050}" dt="2021-02-05T17:28:34.376" v="3149" actId="11529"/>
          <ac:spMkLst>
            <pc:docMk/>
            <pc:sldMk cId="1028514834" sldId="257"/>
            <ac:spMk id="21509" creationId="{FEA64A13-030B-4661-B368-69C2AA8FE84A}"/>
          </ac:spMkLst>
        </pc:spChg>
        <pc:spChg chg="add mod">
          <ac:chgData name="Ghate, Atul" userId="e633be56-9ace-423d-8883-e42d357bf4e0" providerId="ADAL" clId="{3A5FBCAB-D22B-4A62-B9AC-D0FD9523E050}" dt="2021-02-05T17:48:44.287" v="3660" actId="1076"/>
          <ac:spMkLst>
            <pc:docMk/>
            <pc:sldMk cId="1028514834" sldId="257"/>
            <ac:spMk id="21515" creationId="{C36AF8BF-27B3-4C76-9432-F4B6DAAA6733}"/>
          </ac:spMkLst>
        </pc:spChg>
        <pc:spChg chg="add del mod">
          <ac:chgData name="Ghate, Atul" userId="e633be56-9ace-423d-8883-e42d357bf4e0" providerId="ADAL" clId="{3A5FBCAB-D22B-4A62-B9AC-D0FD9523E050}" dt="2021-02-05T17:43:00.146" v="3596"/>
          <ac:spMkLst>
            <pc:docMk/>
            <pc:sldMk cId="1028514834" sldId="257"/>
            <ac:spMk id="21517" creationId="{A4BC8AE5-4C27-4467-B334-B8CC399AF9EA}"/>
          </ac:spMkLst>
        </pc:spChg>
        <pc:grpChg chg="add del mod">
          <ac:chgData name="Ghate, Atul" userId="e633be56-9ace-423d-8883-e42d357bf4e0" providerId="ADAL" clId="{3A5FBCAB-D22B-4A62-B9AC-D0FD9523E050}" dt="2021-02-05T17:17:47.891" v="3008"/>
          <ac:grpSpMkLst>
            <pc:docMk/>
            <pc:sldMk cId="1028514834" sldId="257"/>
            <ac:grpSpMk id="69" creationId="{A6289D97-E21F-424A-B172-4F0A86BB5F49}"/>
          </ac:grpSpMkLst>
        </pc:grpChg>
        <pc:grpChg chg="mod">
          <ac:chgData name="Ghate, Atul" userId="e633be56-9ace-423d-8883-e42d357bf4e0" providerId="ADAL" clId="{3A5FBCAB-D22B-4A62-B9AC-D0FD9523E050}" dt="2021-02-05T17:17:33.924" v="3005"/>
          <ac:grpSpMkLst>
            <pc:docMk/>
            <pc:sldMk cId="1028514834" sldId="257"/>
            <ac:grpSpMk id="71" creationId="{24654DF1-FA5E-410C-B0DD-674D4FE494A6}"/>
          </ac:grpSpMkLst>
        </pc:grpChg>
        <pc:grpChg chg="mod">
          <ac:chgData name="Ghate, Atul" userId="e633be56-9ace-423d-8883-e42d357bf4e0" providerId="ADAL" clId="{3A5FBCAB-D22B-4A62-B9AC-D0FD9523E050}" dt="2021-02-05T17:17:33.924" v="3005"/>
          <ac:grpSpMkLst>
            <pc:docMk/>
            <pc:sldMk cId="1028514834" sldId="257"/>
            <ac:grpSpMk id="81" creationId="{621D5210-7514-408F-8468-63BF8CB9DE2D}"/>
          </ac:grpSpMkLst>
        </pc:grpChg>
        <pc:picChg chg="add del mod">
          <ac:chgData name="Ghate, Atul" userId="e633be56-9ace-423d-8883-e42d357bf4e0" providerId="ADAL" clId="{3A5FBCAB-D22B-4A62-B9AC-D0FD9523E050}" dt="2021-02-05T17:02:44.672" v="2876"/>
          <ac:picMkLst>
            <pc:docMk/>
            <pc:sldMk cId="1028514834" sldId="257"/>
            <ac:picMk id="59" creationId="{F8315A28-F250-4B88-877B-5907DBBA06AC}"/>
          </ac:picMkLst>
        </pc:picChg>
        <pc:picChg chg="add mod">
          <ac:chgData name="Ghate, Atul" userId="e633be56-9ace-423d-8883-e42d357bf4e0" providerId="ADAL" clId="{3A5FBCAB-D22B-4A62-B9AC-D0FD9523E050}" dt="2021-02-05T17:48:44.287" v="3660" actId="1076"/>
          <ac:picMkLst>
            <pc:docMk/>
            <pc:sldMk cId="1028514834" sldId="257"/>
            <ac:picMk id="21506" creationId="{667CD4E3-1136-4E31-B84C-229FB51A3691}"/>
          </ac:picMkLst>
        </pc:picChg>
        <pc:picChg chg="add del mod">
          <ac:chgData name="Ghate, Atul" userId="e633be56-9ace-423d-8883-e42d357bf4e0" providerId="ADAL" clId="{3A5FBCAB-D22B-4A62-B9AC-D0FD9523E050}" dt="2021-02-05T17:01:30.771" v="2816" actId="478"/>
          <ac:picMkLst>
            <pc:docMk/>
            <pc:sldMk cId="1028514834" sldId="257"/>
            <ac:picMk id="21508" creationId="{A8E333D4-2F2E-4C6B-BC92-3B713AC423B3}"/>
          </ac:picMkLst>
        </pc:picChg>
        <pc:picChg chg="add mod">
          <ac:chgData name="Ghate, Atul" userId="e633be56-9ace-423d-8883-e42d357bf4e0" providerId="ADAL" clId="{3A5FBCAB-D22B-4A62-B9AC-D0FD9523E050}" dt="2021-02-05T17:51:22.876" v="3690" actId="1035"/>
          <ac:picMkLst>
            <pc:docMk/>
            <pc:sldMk cId="1028514834" sldId="257"/>
            <ac:picMk id="21510" creationId="{F60D42D4-6FE6-47D5-AAAB-EA20088067CE}"/>
          </ac:picMkLst>
        </pc:picChg>
        <pc:picChg chg="add del mod">
          <ac:chgData name="Ghate, Atul" userId="e633be56-9ace-423d-8883-e42d357bf4e0" providerId="ADAL" clId="{3A5FBCAB-D22B-4A62-B9AC-D0FD9523E050}" dt="2021-02-05T17:51:22.876" v="3690" actId="1035"/>
          <ac:picMkLst>
            <pc:docMk/>
            <pc:sldMk cId="1028514834" sldId="257"/>
            <ac:picMk id="21512" creationId="{BD075264-9D07-4FFE-98E8-75DFB681EAD9}"/>
          </ac:picMkLst>
        </pc:picChg>
        <pc:picChg chg="add mod">
          <ac:chgData name="Ghate, Atul" userId="e633be56-9ace-423d-8883-e42d357bf4e0" providerId="ADAL" clId="{3A5FBCAB-D22B-4A62-B9AC-D0FD9523E050}" dt="2021-02-05T17:51:22.876" v="3690" actId="1035"/>
          <ac:picMkLst>
            <pc:docMk/>
            <pc:sldMk cId="1028514834" sldId="257"/>
            <ac:picMk id="21514" creationId="{D21E7564-71CF-4137-BE3B-0DB129E33F24}"/>
          </ac:picMkLst>
        </pc:picChg>
        <pc:picChg chg="add del mod">
          <ac:chgData name="Ghate, Atul" userId="e633be56-9ace-423d-8883-e42d357bf4e0" providerId="ADAL" clId="{3A5FBCAB-D22B-4A62-B9AC-D0FD9523E050}" dt="2021-02-05T17:06:13.091" v="2913" actId="478"/>
          <ac:picMkLst>
            <pc:docMk/>
            <pc:sldMk cId="1028514834" sldId="257"/>
            <ac:picMk id="21516" creationId="{8BB74C3F-CC72-474A-8C6A-26FB86A7DB0E}"/>
          </ac:picMkLst>
        </pc:picChg>
        <pc:picChg chg="add del mod">
          <ac:chgData name="Ghate, Atul" userId="e633be56-9ace-423d-8883-e42d357bf4e0" providerId="ADAL" clId="{3A5FBCAB-D22B-4A62-B9AC-D0FD9523E050}" dt="2021-02-05T17:13:14.724" v="2932"/>
          <ac:picMkLst>
            <pc:docMk/>
            <pc:sldMk cId="1028514834" sldId="257"/>
            <ac:picMk id="21518" creationId="{E07110DC-96B2-44AC-A100-D92E6B045E7B}"/>
          </ac:picMkLst>
        </pc:picChg>
        <pc:picChg chg="add del mod">
          <ac:chgData name="Ghate, Atul" userId="e633be56-9ace-423d-8883-e42d357bf4e0" providerId="ADAL" clId="{3A5FBCAB-D22B-4A62-B9AC-D0FD9523E050}" dt="2021-02-05T17:15:18.350" v="2940" actId="478"/>
          <ac:picMkLst>
            <pc:docMk/>
            <pc:sldMk cId="1028514834" sldId="257"/>
            <ac:picMk id="21520" creationId="{51857F1D-F2F6-4D30-AE87-273F905DDF9D}"/>
          </ac:picMkLst>
        </pc:picChg>
        <pc:picChg chg="add del mod">
          <ac:chgData name="Ghate, Atul" userId="e633be56-9ace-423d-8883-e42d357bf4e0" providerId="ADAL" clId="{3A5FBCAB-D22B-4A62-B9AC-D0FD9523E050}" dt="2021-02-05T17:45:09.928" v="3616" actId="478"/>
          <ac:picMkLst>
            <pc:docMk/>
            <pc:sldMk cId="1028514834" sldId="257"/>
            <ac:picMk id="21525" creationId="{28A4489B-374D-4B92-8F6A-B4BCB13C68BB}"/>
          </ac:picMkLst>
        </pc:picChg>
        <pc:picChg chg="add mod">
          <ac:chgData name="Ghate, Atul" userId="e633be56-9ace-423d-8883-e42d357bf4e0" providerId="ADAL" clId="{3A5FBCAB-D22B-4A62-B9AC-D0FD9523E050}" dt="2021-02-05T17:48:44.287" v="3660" actId="1076"/>
          <ac:picMkLst>
            <pc:docMk/>
            <pc:sldMk cId="1028514834" sldId="257"/>
            <ac:picMk id="21526" creationId="{5AD5134B-A079-4357-9C23-A3443ECC271A}"/>
          </ac:picMkLst>
        </pc:picChg>
        <pc:cxnChg chg="del mod">
          <ac:chgData name="Ghate, Atul" userId="e633be56-9ace-423d-8883-e42d357bf4e0" providerId="ADAL" clId="{3A5FBCAB-D22B-4A62-B9AC-D0FD9523E050}" dt="2021-02-05T17:23:03.671" v="3071" actId="478"/>
          <ac:cxnSpMkLst>
            <pc:docMk/>
            <pc:sldMk cId="1028514834" sldId="257"/>
            <ac:cxnSpMk id="5" creationId="{E7EDED5D-FD0C-4BEE-8CDC-6CFD01588BCD}"/>
          </ac:cxnSpMkLst>
        </pc:cxnChg>
        <pc:cxnChg chg="del mod">
          <ac:chgData name="Ghate, Atul" userId="e633be56-9ace-423d-8883-e42d357bf4e0" providerId="ADAL" clId="{3A5FBCAB-D22B-4A62-B9AC-D0FD9523E050}" dt="2021-02-05T16:07:01.312" v="2159" actId="478"/>
          <ac:cxnSpMkLst>
            <pc:docMk/>
            <pc:sldMk cId="1028514834" sldId="257"/>
            <ac:cxnSpMk id="7" creationId="{6F3D00BF-1FAD-4B74-A91A-C43524293CC1}"/>
          </ac:cxnSpMkLst>
        </pc:cxnChg>
        <pc:cxnChg chg="del mod">
          <ac:chgData name="Ghate, Atul" userId="e633be56-9ace-423d-8883-e42d357bf4e0" providerId="ADAL" clId="{3A5FBCAB-D22B-4A62-B9AC-D0FD9523E050}" dt="2021-02-05T17:25:50.592" v="3086" actId="478"/>
          <ac:cxnSpMkLst>
            <pc:docMk/>
            <pc:sldMk cId="1028514834" sldId="257"/>
            <ac:cxnSpMk id="11" creationId="{4F4DFACB-B5D9-446F-943A-F44053BBAAD0}"/>
          </ac:cxnSpMkLst>
        </pc:cxnChg>
        <pc:cxnChg chg="del mod">
          <ac:chgData name="Ghate, Atul" userId="e633be56-9ace-423d-8883-e42d357bf4e0" providerId="ADAL" clId="{3A5FBCAB-D22B-4A62-B9AC-D0FD9523E050}" dt="2021-02-05T16:07:31.669" v="2163" actId="478"/>
          <ac:cxnSpMkLst>
            <pc:docMk/>
            <pc:sldMk cId="1028514834" sldId="257"/>
            <ac:cxnSpMk id="47" creationId="{C2392FD0-DEE0-4443-B3D7-7C67C5D1A3D5}"/>
          </ac:cxnSpMkLst>
        </pc:cxnChg>
        <pc:cxnChg chg="del mod">
          <ac:chgData name="Ghate, Atul" userId="e633be56-9ace-423d-8883-e42d357bf4e0" providerId="ADAL" clId="{3A5FBCAB-D22B-4A62-B9AC-D0FD9523E050}" dt="2021-02-05T16:09:36.735" v="2185" actId="478"/>
          <ac:cxnSpMkLst>
            <pc:docMk/>
            <pc:sldMk cId="1028514834" sldId="257"/>
            <ac:cxnSpMk id="49" creationId="{3A5D71E3-A95F-4970-BD8E-796CB4529509}"/>
          </ac:cxnSpMkLst>
        </pc:cxnChg>
        <pc:cxnChg chg="del mod">
          <ac:chgData name="Ghate, Atul" userId="e633be56-9ace-423d-8883-e42d357bf4e0" providerId="ADAL" clId="{3A5FBCAB-D22B-4A62-B9AC-D0FD9523E050}" dt="2021-02-05T16:08:50.555" v="2181" actId="478"/>
          <ac:cxnSpMkLst>
            <pc:docMk/>
            <pc:sldMk cId="1028514834" sldId="257"/>
            <ac:cxnSpMk id="51" creationId="{446A215A-3438-4FED-921E-E99B868F057A}"/>
          </ac:cxnSpMkLst>
        </pc:cxnChg>
        <pc:cxnChg chg="add del mod">
          <ac:chgData name="Ghate, Atul" userId="e633be56-9ace-423d-8883-e42d357bf4e0" providerId="ADAL" clId="{3A5FBCAB-D22B-4A62-B9AC-D0FD9523E050}" dt="2021-02-05T17:38:49.175" v="3331" actId="478"/>
          <ac:cxnSpMkLst>
            <pc:docMk/>
            <pc:sldMk cId="1028514834" sldId="257"/>
            <ac:cxnSpMk id="52" creationId="{3F34215A-7D58-442E-96E0-46D84E965FE0}"/>
          </ac:cxnSpMkLst>
        </pc:cxnChg>
        <pc:cxnChg chg="del mod">
          <ac:chgData name="Ghate, Atul" userId="e633be56-9ace-423d-8883-e42d357bf4e0" providerId="ADAL" clId="{3A5FBCAB-D22B-4A62-B9AC-D0FD9523E050}" dt="2021-02-05T16:13:26.299" v="2191" actId="478"/>
          <ac:cxnSpMkLst>
            <pc:docMk/>
            <pc:sldMk cId="1028514834" sldId="257"/>
            <ac:cxnSpMk id="55" creationId="{864C9A7C-C127-4E78-B1D4-3E5A11579DC3}"/>
          </ac:cxnSpMkLst>
        </pc:cxnChg>
        <pc:cxnChg chg="add mod">
          <ac:chgData name="Ghate, Atul" userId="e633be56-9ace-423d-8883-e42d357bf4e0" providerId="ADAL" clId="{3A5FBCAB-D22B-4A62-B9AC-D0FD9523E050}" dt="2021-02-05T17:48:44.287" v="3660" actId="1076"/>
          <ac:cxnSpMkLst>
            <pc:docMk/>
            <pc:sldMk cId="1028514834" sldId="257"/>
            <ac:cxnSpMk id="21513" creationId="{574D5EF1-DEDE-44C5-992C-2BF04D0FFD32}"/>
          </ac:cxnSpMkLst>
        </pc:cxnChg>
        <pc:cxnChg chg="add del mod">
          <ac:chgData name="Ghate, Atul" userId="e633be56-9ace-423d-8883-e42d357bf4e0" providerId="ADAL" clId="{3A5FBCAB-D22B-4A62-B9AC-D0FD9523E050}" dt="2021-02-05T17:43:37.475" v="3606" actId="11529"/>
          <ac:cxnSpMkLst>
            <pc:docMk/>
            <pc:sldMk cId="1028514834" sldId="257"/>
            <ac:cxnSpMk id="21521" creationId="{8541CBBD-C07E-45B7-B02E-17A89ABBA878}"/>
          </ac:cxnSpMkLst>
        </pc:cxnChg>
        <pc:cxnChg chg="add mod">
          <ac:chgData name="Ghate, Atul" userId="e633be56-9ace-423d-8883-e42d357bf4e0" providerId="ADAL" clId="{3A5FBCAB-D22B-4A62-B9AC-D0FD9523E050}" dt="2021-02-05T17:48:44.287" v="3660" actId="1076"/>
          <ac:cxnSpMkLst>
            <pc:docMk/>
            <pc:sldMk cId="1028514834" sldId="257"/>
            <ac:cxnSpMk id="21523" creationId="{87BA6C7E-0F61-4ED6-9148-7698B39901E7}"/>
          </ac:cxnSpMkLst>
        </pc:cxnChg>
      </pc:sldChg>
      <pc:sldChg chg="del">
        <pc:chgData name="Ghate, Atul" userId="e633be56-9ace-423d-8883-e42d357bf4e0" providerId="ADAL" clId="{3A5FBCAB-D22B-4A62-B9AC-D0FD9523E050}" dt="2021-02-04T18:06:38.830" v="141" actId="2696"/>
        <pc:sldMkLst>
          <pc:docMk/>
          <pc:sldMk cId="900996307" sldId="315"/>
        </pc:sldMkLst>
      </pc:sldChg>
      <pc:sldChg chg="add del">
        <pc:chgData name="Ghate, Atul" userId="e633be56-9ace-423d-8883-e42d357bf4e0" providerId="ADAL" clId="{3A5FBCAB-D22B-4A62-B9AC-D0FD9523E050}" dt="2021-02-04T19:00:51.701" v="393"/>
        <pc:sldMkLst>
          <pc:docMk/>
          <pc:sldMk cId="3986305382" sldId="318"/>
        </pc:sldMkLst>
      </pc:sldChg>
      <pc:sldChg chg="addSp delSp modSp add del">
        <pc:chgData name="Ghate, Atul" userId="e633be56-9ace-423d-8883-e42d357bf4e0" providerId="ADAL" clId="{3A5FBCAB-D22B-4A62-B9AC-D0FD9523E050}" dt="2021-02-05T01:28:20.467" v="2006" actId="1076"/>
        <pc:sldMkLst>
          <pc:docMk/>
          <pc:sldMk cId="3610938658" sldId="613"/>
        </pc:sldMkLst>
        <pc:spChg chg="mod">
          <ac:chgData name="Ghate, Atul" userId="e633be56-9ace-423d-8883-e42d357bf4e0" providerId="ADAL" clId="{3A5FBCAB-D22B-4A62-B9AC-D0FD9523E050}" dt="2021-02-04T17:57:58.521" v="7" actId="14100"/>
          <ac:spMkLst>
            <pc:docMk/>
            <pc:sldMk cId="3610938658" sldId="613"/>
            <ac:spMk id="2" creationId="{00000000-0000-0000-0000-000000000000}"/>
          </ac:spMkLst>
        </pc:spChg>
        <pc:spChg chg="add mod">
          <ac:chgData name="Ghate, Atul" userId="e633be56-9ace-423d-8883-e42d357bf4e0" providerId="ADAL" clId="{3A5FBCAB-D22B-4A62-B9AC-D0FD9523E050}" dt="2021-02-04T18:51:00.797" v="302" actId="1076"/>
          <ac:spMkLst>
            <pc:docMk/>
            <pc:sldMk cId="3610938658" sldId="613"/>
            <ac:spMk id="17" creationId="{AB46C142-F33B-45CE-8E65-E6C745F3C581}"/>
          </ac:spMkLst>
        </pc:spChg>
        <pc:spChg chg="mod">
          <ac:chgData name="Ghate, Atul" userId="e633be56-9ace-423d-8883-e42d357bf4e0" providerId="ADAL" clId="{3A5FBCAB-D22B-4A62-B9AC-D0FD9523E050}" dt="2021-02-04T18:50:57.847" v="301" actId="1076"/>
          <ac:spMkLst>
            <pc:docMk/>
            <pc:sldMk cId="3610938658" sldId="613"/>
            <ac:spMk id="36" creationId="{00000000-0000-0000-0000-000000000000}"/>
          </ac:spMkLst>
        </pc:spChg>
        <pc:spChg chg="mod">
          <ac:chgData name="Ghate, Atul" userId="e633be56-9ace-423d-8883-e42d357bf4e0" providerId="ADAL" clId="{3A5FBCAB-D22B-4A62-B9AC-D0FD9523E050}" dt="2021-02-04T18:05:04.101" v="93" actId="1076"/>
          <ac:spMkLst>
            <pc:docMk/>
            <pc:sldMk cId="3610938658" sldId="613"/>
            <ac:spMk id="37" creationId="{00000000-0000-0000-0000-000000000000}"/>
          </ac:spMkLst>
        </pc:spChg>
        <pc:spChg chg="mod">
          <ac:chgData name="Ghate, Atul" userId="e633be56-9ace-423d-8883-e42d357bf4e0" providerId="ADAL" clId="{3A5FBCAB-D22B-4A62-B9AC-D0FD9523E050}" dt="2021-02-05T01:28:12.116" v="2004" actId="1076"/>
          <ac:spMkLst>
            <pc:docMk/>
            <pc:sldMk cId="3610938658" sldId="613"/>
            <ac:spMk id="39" creationId="{00000000-0000-0000-0000-000000000000}"/>
          </ac:spMkLst>
        </pc:spChg>
        <pc:spChg chg="mod">
          <ac:chgData name="Ghate, Atul" userId="e633be56-9ace-423d-8883-e42d357bf4e0" providerId="ADAL" clId="{3A5FBCAB-D22B-4A62-B9AC-D0FD9523E050}" dt="2021-02-04T18:05:04.101" v="93" actId="1076"/>
          <ac:spMkLst>
            <pc:docMk/>
            <pc:sldMk cId="3610938658" sldId="613"/>
            <ac:spMk id="41" creationId="{00000000-0000-0000-0000-000000000000}"/>
          </ac:spMkLst>
        </pc:spChg>
        <pc:spChg chg="mod">
          <ac:chgData name="Ghate, Atul" userId="e633be56-9ace-423d-8883-e42d357bf4e0" providerId="ADAL" clId="{3A5FBCAB-D22B-4A62-B9AC-D0FD9523E050}" dt="2021-02-05T01:28:20.467" v="2006" actId="1076"/>
          <ac:spMkLst>
            <pc:docMk/>
            <pc:sldMk cId="3610938658" sldId="613"/>
            <ac:spMk id="42" creationId="{00000000-0000-0000-0000-000000000000}"/>
          </ac:spMkLst>
        </pc:spChg>
        <pc:spChg chg="mod">
          <ac:chgData name="Ghate, Atul" userId="e633be56-9ace-423d-8883-e42d357bf4e0" providerId="ADAL" clId="{3A5FBCAB-D22B-4A62-B9AC-D0FD9523E050}" dt="2021-02-04T18:05:04.101" v="93" actId="1076"/>
          <ac:spMkLst>
            <pc:docMk/>
            <pc:sldMk cId="3610938658" sldId="613"/>
            <ac:spMk id="43" creationId="{00000000-0000-0000-0000-000000000000}"/>
          </ac:spMkLst>
        </pc:spChg>
        <pc:spChg chg="mod">
          <ac:chgData name="Ghate, Atul" userId="e633be56-9ace-423d-8883-e42d357bf4e0" providerId="ADAL" clId="{3A5FBCAB-D22B-4A62-B9AC-D0FD9523E050}" dt="2021-02-05T01:28:15.177" v="2005" actId="1076"/>
          <ac:spMkLst>
            <pc:docMk/>
            <pc:sldMk cId="3610938658" sldId="613"/>
            <ac:spMk id="44" creationId="{00000000-0000-0000-0000-000000000000}"/>
          </ac:spMkLst>
        </pc:spChg>
        <pc:spChg chg="mod">
          <ac:chgData name="Ghate, Atul" userId="e633be56-9ace-423d-8883-e42d357bf4e0" providerId="ADAL" clId="{3A5FBCAB-D22B-4A62-B9AC-D0FD9523E050}" dt="2021-02-04T18:51:02.808" v="303" actId="313"/>
          <ac:spMkLst>
            <pc:docMk/>
            <pc:sldMk cId="3610938658" sldId="613"/>
            <ac:spMk id="45" creationId="{00000000-0000-0000-0000-000000000000}"/>
          </ac:spMkLst>
        </pc:spChg>
        <pc:spChg chg="mod">
          <ac:chgData name="Ghate, Atul" userId="e633be56-9ace-423d-8883-e42d357bf4e0" providerId="ADAL" clId="{3A5FBCAB-D22B-4A62-B9AC-D0FD9523E050}" dt="2021-02-05T01:27:03.890" v="1999" actId="20577"/>
          <ac:spMkLst>
            <pc:docMk/>
            <pc:sldMk cId="3610938658" sldId="613"/>
            <ac:spMk id="48" creationId="{00000000-0000-0000-0000-000000000000}"/>
          </ac:spMkLst>
        </pc:spChg>
        <pc:spChg chg="mod">
          <ac:chgData name="Ghate, Atul" userId="e633be56-9ace-423d-8883-e42d357bf4e0" providerId="ADAL" clId="{3A5FBCAB-D22B-4A62-B9AC-D0FD9523E050}" dt="2021-02-05T01:27:48.989" v="2003" actId="1076"/>
          <ac:spMkLst>
            <pc:docMk/>
            <pc:sldMk cId="3610938658" sldId="613"/>
            <ac:spMk id="49" creationId="{00000000-0000-0000-0000-000000000000}"/>
          </ac:spMkLst>
        </pc:spChg>
        <pc:spChg chg="mod">
          <ac:chgData name="Ghate, Atul" userId="e633be56-9ace-423d-8883-e42d357bf4e0" providerId="ADAL" clId="{3A5FBCAB-D22B-4A62-B9AC-D0FD9523E050}" dt="2021-02-04T18:05:29.779" v="95" actId="1076"/>
          <ac:spMkLst>
            <pc:docMk/>
            <pc:sldMk cId="3610938658" sldId="613"/>
            <ac:spMk id="50" creationId="{00000000-0000-0000-0000-000000000000}"/>
          </ac:spMkLst>
        </pc:spChg>
        <pc:picChg chg="del mod">
          <ac:chgData name="Ghate, Atul" userId="e633be56-9ace-423d-8883-e42d357bf4e0" providerId="ADAL" clId="{3A5FBCAB-D22B-4A62-B9AC-D0FD9523E050}" dt="2021-02-04T18:50:55.929" v="299" actId="478"/>
          <ac:picMkLst>
            <pc:docMk/>
            <pc:sldMk cId="3610938658" sldId="613"/>
            <ac:picMk id="51" creationId="{00000000-0000-0000-0000-000000000000}"/>
          </ac:picMkLst>
        </pc:picChg>
        <pc:picChg chg="mod">
          <ac:chgData name="Ghate, Atul" userId="e633be56-9ace-423d-8883-e42d357bf4e0" providerId="ADAL" clId="{3A5FBCAB-D22B-4A62-B9AC-D0FD9523E050}" dt="2021-02-04T18:05:04.101" v="93" actId="1076"/>
          <ac:picMkLst>
            <pc:docMk/>
            <pc:sldMk cId="3610938658" sldId="613"/>
            <ac:picMk id="346116" creationId="{00000000-0000-0000-0000-000000000000}"/>
          </ac:picMkLst>
        </pc:picChg>
        <pc:cxnChg chg="add mod">
          <ac:chgData name="Ghate, Atul" userId="e633be56-9ace-423d-8883-e42d357bf4e0" providerId="ADAL" clId="{3A5FBCAB-D22B-4A62-B9AC-D0FD9523E050}" dt="2021-02-05T01:25:58.256" v="1982" actId="14100"/>
          <ac:cxnSpMkLst>
            <pc:docMk/>
            <pc:sldMk cId="3610938658" sldId="613"/>
            <ac:cxnSpMk id="18" creationId="{2CD8CE1A-3FB2-467B-AFF9-CE187B8530D5}"/>
          </ac:cxnSpMkLst>
        </pc:cxnChg>
        <pc:cxnChg chg="add mod">
          <ac:chgData name="Ghate, Atul" userId="e633be56-9ace-423d-8883-e42d357bf4e0" providerId="ADAL" clId="{3A5FBCAB-D22B-4A62-B9AC-D0FD9523E050}" dt="2021-02-05T01:26:03.393" v="1983" actId="14100"/>
          <ac:cxnSpMkLst>
            <pc:docMk/>
            <pc:sldMk cId="3610938658" sldId="613"/>
            <ac:cxnSpMk id="19" creationId="{79DD59C4-C81C-489F-B875-9142FA10617A}"/>
          </ac:cxnSpMkLst>
        </pc:cxnChg>
      </pc:sldChg>
      <pc:sldChg chg="del">
        <pc:chgData name="Ghate, Atul" userId="e633be56-9ace-423d-8883-e42d357bf4e0" providerId="ADAL" clId="{3A5FBCAB-D22B-4A62-B9AC-D0FD9523E050}" dt="2021-02-04T18:52:30.204" v="306" actId="2696"/>
        <pc:sldMkLst>
          <pc:docMk/>
          <pc:sldMk cId="2234310523" sldId="7348"/>
        </pc:sldMkLst>
      </pc:sldChg>
      <pc:sldChg chg="addSp delSp modSp">
        <pc:chgData name="Ghate, Atul" userId="e633be56-9ace-423d-8883-e42d357bf4e0" providerId="ADAL" clId="{3A5FBCAB-D22B-4A62-B9AC-D0FD9523E050}" dt="2021-02-05T03:03:46.169" v="2136" actId="20577"/>
        <pc:sldMkLst>
          <pc:docMk/>
          <pc:sldMk cId="2019079057" sldId="10386"/>
        </pc:sldMkLst>
        <pc:spChg chg="del mod">
          <ac:chgData name="Ghate, Atul" userId="e633be56-9ace-423d-8883-e42d357bf4e0" providerId="ADAL" clId="{3A5FBCAB-D22B-4A62-B9AC-D0FD9523E050}" dt="2021-02-05T01:20:05.502" v="1732" actId="478"/>
          <ac:spMkLst>
            <pc:docMk/>
            <pc:sldMk cId="2019079057" sldId="10386"/>
            <ac:spMk id="2" creationId="{1D2753DB-2693-4A16-93E8-06CAF3512E41}"/>
          </ac:spMkLst>
        </pc:spChg>
        <pc:spChg chg="add mod">
          <ac:chgData name="Ghate, Atul" userId="e633be56-9ace-423d-8883-e42d357bf4e0" providerId="ADAL" clId="{3A5FBCAB-D22B-4A62-B9AC-D0FD9523E050}" dt="2021-02-05T03:03:46.169" v="2136" actId="20577"/>
          <ac:spMkLst>
            <pc:docMk/>
            <pc:sldMk cId="2019079057" sldId="10386"/>
            <ac:spMk id="4" creationId="{8CCD45E1-BC0E-4641-8BD2-4172E29636AF}"/>
          </ac:spMkLst>
        </pc:spChg>
        <pc:spChg chg="add mod">
          <ac:chgData name="Ghate, Atul" userId="e633be56-9ace-423d-8883-e42d357bf4e0" providerId="ADAL" clId="{3A5FBCAB-D22B-4A62-B9AC-D0FD9523E050}" dt="2021-02-04T18:47:52.426" v="265" actId="571"/>
          <ac:spMkLst>
            <pc:docMk/>
            <pc:sldMk cId="2019079057" sldId="10386"/>
            <ac:spMk id="35" creationId="{34B49151-6CAB-4B59-A5EA-CEBD7D40CF07}"/>
          </ac:spMkLst>
        </pc:spChg>
        <pc:spChg chg="add del mod">
          <ac:chgData name="Ghate, Atul" userId="e633be56-9ace-423d-8883-e42d357bf4e0" providerId="ADAL" clId="{3A5FBCAB-D22B-4A62-B9AC-D0FD9523E050}" dt="2021-02-05T01:20:18.747" v="1735" actId="478"/>
          <ac:spMkLst>
            <pc:docMk/>
            <pc:sldMk cId="2019079057" sldId="10386"/>
            <ac:spMk id="36" creationId="{EEB9F41E-35C9-4D5D-AACC-220B5984489F}"/>
          </ac:spMkLst>
        </pc:spChg>
        <pc:spChg chg="mod">
          <ac:chgData name="Ghate, Atul" userId="e633be56-9ace-423d-8883-e42d357bf4e0" providerId="ADAL" clId="{3A5FBCAB-D22B-4A62-B9AC-D0FD9523E050}" dt="2021-02-05T01:19:57.919" v="1730" actId="1076"/>
          <ac:spMkLst>
            <pc:docMk/>
            <pc:sldMk cId="2019079057" sldId="10386"/>
            <ac:spMk id="114" creationId="{1C837E96-ABC7-4F5E-8004-6581F6631F17}"/>
          </ac:spMkLst>
        </pc:spChg>
        <pc:spChg chg="mod">
          <ac:chgData name="Ghate, Atul" userId="e633be56-9ace-423d-8883-e42d357bf4e0" providerId="ADAL" clId="{3A5FBCAB-D22B-4A62-B9AC-D0FD9523E050}" dt="2021-02-04T18:43:40.632" v="261" actId="20577"/>
          <ac:spMkLst>
            <pc:docMk/>
            <pc:sldMk cId="2019079057" sldId="10386"/>
            <ac:spMk id="115" creationId="{078582B0-3DF0-4396-859C-975604B24201}"/>
          </ac:spMkLst>
        </pc:spChg>
        <pc:spChg chg="mod">
          <ac:chgData name="Ghate, Atul" userId="e633be56-9ace-423d-8883-e42d357bf4e0" providerId="ADAL" clId="{3A5FBCAB-D22B-4A62-B9AC-D0FD9523E050}" dt="2021-02-05T01:20:26.062" v="1739" actId="1076"/>
          <ac:spMkLst>
            <pc:docMk/>
            <pc:sldMk cId="2019079057" sldId="10386"/>
            <ac:spMk id="116" creationId="{5A0B4513-1AB2-4832-AD41-A8762F73C8D0}"/>
          </ac:spMkLst>
        </pc:spChg>
        <pc:spChg chg="mod">
          <ac:chgData name="Ghate, Atul" userId="e633be56-9ace-423d-8883-e42d357bf4e0" providerId="ADAL" clId="{3A5FBCAB-D22B-4A62-B9AC-D0FD9523E050}" dt="2021-02-04T18:43:10.791" v="239" actId="1076"/>
          <ac:spMkLst>
            <pc:docMk/>
            <pc:sldMk cId="2019079057" sldId="10386"/>
            <ac:spMk id="117" creationId="{FF299215-4B5A-43FE-AB69-1584D8E39452}"/>
          </ac:spMkLst>
        </pc:spChg>
        <pc:spChg chg="mod">
          <ac:chgData name="Ghate, Atul" userId="e633be56-9ace-423d-8883-e42d357bf4e0" providerId="ADAL" clId="{3A5FBCAB-D22B-4A62-B9AC-D0FD9523E050}" dt="2021-02-04T18:39:50.303" v="155" actId="20577"/>
          <ac:spMkLst>
            <pc:docMk/>
            <pc:sldMk cId="2019079057" sldId="10386"/>
            <ac:spMk id="121" creationId="{248F3609-E826-4B06-899D-6D477CD9E397}"/>
          </ac:spMkLst>
        </pc:spChg>
        <pc:spChg chg="mod">
          <ac:chgData name="Ghate, Atul" userId="e633be56-9ace-423d-8883-e42d357bf4e0" providerId="ADAL" clId="{3A5FBCAB-D22B-4A62-B9AC-D0FD9523E050}" dt="2021-02-04T18:48:12.161" v="270" actId="1076"/>
          <ac:spMkLst>
            <pc:docMk/>
            <pc:sldMk cId="2019079057" sldId="10386"/>
            <ac:spMk id="122" creationId="{B69FFA9C-5B7F-4178-96F2-0867CE5BAF14}"/>
          </ac:spMkLst>
        </pc:spChg>
        <pc:spChg chg="mod">
          <ac:chgData name="Ghate, Atul" userId="e633be56-9ace-423d-8883-e42d357bf4e0" providerId="ADAL" clId="{3A5FBCAB-D22B-4A62-B9AC-D0FD9523E050}" dt="2021-02-04T18:43:04.576" v="236" actId="20577"/>
          <ac:spMkLst>
            <pc:docMk/>
            <pc:sldMk cId="2019079057" sldId="10386"/>
            <ac:spMk id="123" creationId="{7CA503F7-1845-41D1-A601-DD8D2A594EFB}"/>
          </ac:spMkLst>
        </pc:spChg>
        <pc:spChg chg="mod">
          <ac:chgData name="Ghate, Atul" userId="e633be56-9ace-423d-8883-e42d357bf4e0" providerId="ADAL" clId="{3A5FBCAB-D22B-4A62-B9AC-D0FD9523E050}" dt="2021-02-04T18:48:02.709" v="268" actId="1076"/>
          <ac:spMkLst>
            <pc:docMk/>
            <pc:sldMk cId="2019079057" sldId="10386"/>
            <ac:spMk id="124" creationId="{4B0AFE7B-0CD6-4C9E-AB40-9B50A5D43643}"/>
          </ac:spMkLst>
        </pc:spChg>
        <pc:spChg chg="mod">
          <ac:chgData name="Ghate, Atul" userId="e633be56-9ace-423d-8883-e42d357bf4e0" providerId="ADAL" clId="{3A5FBCAB-D22B-4A62-B9AC-D0FD9523E050}" dt="2021-02-04T18:43:09.328" v="238"/>
          <ac:spMkLst>
            <pc:docMk/>
            <pc:sldMk cId="2019079057" sldId="10386"/>
            <ac:spMk id="125" creationId="{3F1CC714-4A72-4534-9CB9-987943F37716}"/>
          </ac:spMkLst>
        </pc:spChg>
      </pc:sldChg>
      <pc:sldChg chg="addSp delSp modSp del ord">
        <pc:chgData name="Ghate, Atul" userId="e633be56-9ace-423d-8883-e42d357bf4e0" providerId="ADAL" clId="{3A5FBCAB-D22B-4A62-B9AC-D0FD9523E050}" dt="2021-02-04T19:09:08.368" v="446" actId="2696"/>
        <pc:sldMkLst>
          <pc:docMk/>
          <pc:sldMk cId="3519287765" sldId="10470"/>
        </pc:sldMkLst>
        <pc:spChg chg="del mod">
          <ac:chgData name="Ghate, Atul" userId="e633be56-9ace-423d-8883-e42d357bf4e0" providerId="ADAL" clId="{3A5FBCAB-D22B-4A62-B9AC-D0FD9523E050}" dt="2021-02-04T18:52:57.078" v="310" actId="478"/>
          <ac:spMkLst>
            <pc:docMk/>
            <pc:sldMk cId="3519287765" sldId="10470"/>
            <ac:spMk id="4" creationId="{88A4E96C-604F-4F19-9387-D44055C4CD34}"/>
          </ac:spMkLst>
        </pc:spChg>
        <pc:spChg chg="add del mod">
          <ac:chgData name="Ghate, Atul" userId="e633be56-9ace-423d-8883-e42d357bf4e0" providerId="ADAL" clId="{3A5FBCAB-D22B-4A62-B9AC-D0FD9523E050}" dt="2021-02-04T18:53:01.320" v="311" actId="478"/>
          <ac:spMkLst>
            <pc:docMk/>
            <pc:sldMk cId="3519287765" sldId="10470"/>
            <ac:spMk id="6" creationId="{7ABDB159-8FD8-4BA5-B47E-9DF30714E5BC}"/>
          </ac:spMkLst>
        </pc:spChg>
        <pc:spChg chg="del mod">
          <ac:chgData name="Ghate, Atul" userId="e633be56-9ace-423d-8883-e42d357bf4e0" providerId="ADAL" clId="{3A5FBCAB-D22B-4A62-B9AC-D0FD9523E050}" dt="2021-02-04T18:54:01.616" v="351" actId="478"/>
          <ac:spMkLst>
            <pc:docMk/>
            <pc:sldMk cId="3519287765" sldId="10470"/>
            <ac:spMk id="92" creationId="{92BEA692-07A3-4434-B1BB-F0F066D011D5}"/>
          </ac:spMkLst>
        </pc:spChg>
        <pc:spChg chg="add mod">
          <ac:chgData name="Ghate, Atul" userId="e633be56-9ace-423d-8883-e42d357bf4e0" providerId="ADAL" clId="{3A5FBCAB-D22B-4A62-B9AC-D0FD9523E050}" dt="2021-02-04T18:54:33.192" v="359" actId="1076"/>
          <ac:spMkLst>
            <pc:docMk/>
            <pc:sldMk cId="3519287765" sldId="10470"/>
            <ac:spMk id="93" creationId="{D17A2F4D-AC92-4C26-9D6A-4B0C69450FE7}"/>
          </ac:spMkLst>
        </pc:spChg>
        <pc:spChg chg="add del mod">
          <ac:chgData name="Ghate, Atul" userId="e633be56-9ace-423d-8883-e42d357bf4e0" providerId="ADAL" clId="{3A5FBCAB-D22B-4A62-B9AC-D0FD9523E050}" dt="2021-02-04T18:54:31.098" v="358" actId="478"/>
          <ac:spMkLst>
            <pc:docMk/>
            <pc:sldMk cId="3519287765" sldId="10470"/>
            <ac:spMk id="95" creationId="{5A30BE95-04A9-4FE3-AA35-9C3A0FD39FEA}"/>
          </ac:spMkLst>
        </pc:spChg>
      </pc:sldChg>
      <pc:sldChg chg="del ord">
        <pc:chgData name="Ghate, Atul" userId="e633be56-9ace-423d-8883-e42d357bf4e0" providerId="ADAL" clId="{3A5FBCAB-D22B-4A62-B9AC-D0FD9523E050}" dt="2021-02-04T19:09:14.797" v="470" actId="2696"/>
        <pc:sldMkLst>
          <pc:docMk/>
          <pc:sldMk cId="3042069393" sldId="2076136792"/>
        </pc:sldMkLst>
      </pc:sldChg>
      <pc:sldChg chg="addSp delSp modSp add del">
        <pc:chgData name="Ghate, Atul" userId="e633be56-9ace-423d-8883-e42d357bf4e0" providerId="ADAL" clId="{3A5FBCAB-D22B-4A62-B9AC-D0FD9523E050}" dt="2021-02-05T21:58:52.487" v="3692"/>
        <pc:sldMkLst>
          <pc:docMk/>
          <pc:sldMk cId="2224675279" sldId="2137005735"/>
        </pc:sldMkLst>
        <pc:spChg chg="mod">
          <ac:chgData name="Ghate, Atul" userId="e633be56-9ace-423d-8883-e42d357bf4e0" providerId="ADAL" clId="{3A5FBCAB-D22B-4A62-B9AC-D0FD9523E050}" dt="2021-02-05T01:28:47.367" v="2011" actId="20577"/>
          <ac:spMkLst>
            <pc:docMk/>
            <pc:sldMk cId="2224675279" sldId="2137005735"/>
            <ac:spMk id="2" creationId="{0BA57650-4A0B-415D-9618-458BD785EF06}"/>
          </ac:spMkLst>
        </pc:spChg>
        <pc:spChg chg="mod topLvl">
          <ac:chgData name="Ghate, Atul" userId="e633be56-9ace-423d-8883-e42d357bf4e0" providerId="ADAL" clId="{3A5FBCAB-D22B-4A62-B9AC-D0FD9523E050}" dt="2021-02-05T01:33:03.183" v="2130" actId="165"/>
          <ac:spMkLst>
            <pc:docMk/>
            <pc:sldMk cId="2224675279" sldId="2137005735"/>
            <ac:spMk id="112" creationId="{C62AD1E2-13A6-472E-8320-AF8F9E8C5F14}"/>
          </ac:spMkLst>
        </pc:spChg>
        <pc:spChg chg="mod topLvl">
          <ac:chgData name="Ghate, Atul" userId="e633be56-9ace-423d-8883-e42d357bf4e0" providerId="ADAL" clId="{3A5FBCAB-D22B-4A62-B9AC-D0FD9523E050}" dt="2021-02-05T01:33:03.183" v="2130" actId="165"/>
          <ac:spMkLst>
            <pc:docMk/>
            <pc:sldMk cId="2224675279" sldId="2137005735"/>
            <ac:spMk id="113" creationId="{FD278C10-DA72-4369-8515-6A8181E092C7}"/>
          </ac:spMkLst>
        </pc:spChg>
        <pc:spChg chg="mod topLvl">
          <ac:chgData name="Ghate, Atul" userId="e633be56-9ace-423d-8883-e42d357bf4e0" providerId="ADAL" clId="{3A5FBCAB-D22B-4A62-B9AC-D0FD9523E050}" dt="2021-02-05T01:33:03.183" v="2130" actId="165"/>
          <ac:spMkLst>
            <pc:docMk/>
            <pc:sldMk cId="2224675279" sldId="2137005735"/>
            <ac:spMk id="114" creationId="{3E205482-01EE-48A4-9566-61E82A91D8AC}"/>
          </ac:spMkLst>
        </pc:spChg>
        <pc:spChg chg="add del mod">
          <ac:chgData name="Ghate, Atul" userId="e633be56-9ace-423d-8883-e42d357bf4e0" providerId="ADAL" clId="{3A5FBCAB-D22B-4A62-B9AC-D0FD9523E050}" dt="2021-02-05T01:31:18.142" v="2112" actId="478"/>
          <ac:spMkLst>
            <pc:docMk/>
            <pc:sldMk cId="2224675279" sldId="2137005735"/>
            <ac:spMk id="115" creationId="{970B0E0A-60FE-481E-8269-D6EF23988F7C}"/>
          </ac:spMkLst>
        </pc:spChg>
        <pc:spChg chg="mod topLvl">
          <ac:chgData name="Ghate, Atul" userId="e633be56-9ace-423d-8883-e42d357bf4e0" providerId="ADAL" clId="{3A5FBCAB-D22B-4A62-B9AC-D0FD9523E050}" dt="2021-02-05T01:33:09.087" v="2131" actId="14100"/>
          <ac:spMkLst>
            <pc:docMk/>
            <pc:sldMk cId="2224675279" sldId="2137005735"/>
            <ac:spMk id="116" creationId="{1FAB9C62-9019-4240-AE8B-9C50CF2E18F2}"/>
          </ac:spMkLst>
        </pc:spChg>
        <pc:spChg chg="mod topLvl">
          <ac:chgData name="Ghate, Atul" userId="e633be56-9ace-423d-8883-e42d357bf4e0" providerId="ADAL" clId="{3A5FBCAB-D22B-4A62-B9AC-D0FD9523E050}" dt="2021-02-05T01:33:03.183" v="2130" actId="165"/>
          <ac:spMkLst>
            <pc:docMk/>
            <pc:sldMk cId="2224675279" sldId="2137005735"/>
            <ac:spMk id="117" creationId="{ED561C1C-0A88-49A5-B23E-C01AC82E38BD}"/>
          </ac:spMkLst>
        </pc:spChg>
        <pc:spChg chg="mod topLvl">
          <ac:chgData name="Ghate, Atul" userId="e633be56-9ace-423d-8883-e42d357bf4e0" providerId="ADAL" clId="{3A5FBCAB-D22B-4A62-B9AC-D0FD9523E050}" dt="2021-02-05T01:33:03.183" v="2130" actId="165"/>
          <ac:spMkLst>
            <pc:docMk/>
            <pc:sldMk cId="2224675279" sldId="2137005735"/>
            <ac:spMk id="118" creationId="{40BD9F60-1B62-4A5E-93A1-6AB96D7E22D0}"/>
          </ac:spMkLst>
        </pc:spChg>
        <pc:spChg chg="mod topLvl">
          <ac:chgData name="Ghate, Atul" userId="e633be56-9ace-423d-8883-e42d357bf4e0" providerId="ADAL" clId="{3A5FBCAB-D22B-4A62-B9AC-D0FD9523E050}" dt="2021-02-05T01:33:03.183" v="2130" actId="165"/>
          <ac:spMkLst>
            <pc:docMk/>
            <pc:sldMk cId="2224675279" sldId="2137005735"/>
            <ac:spMk id="119" creationId="{069EA3AD-9BE9-4484-958D-D715E60629E3}"/>
          </ac:spMkLst>
        </pc:spChg>
        <pc:spChg chg="mod topLvl">
          <ac:chgData name="Ghate, Atul" userId="e633be56-9ace-423d-8883-e42d357bf4e0" providerId="ADAL" clId="{3A5FBCAB-D22B-4A62-B9AC-D0FD9523E050}" dt="2021-02-05T01:33:03.183" v="2130" actId="165"/>
          <ac:spMkLst>
            <pc:docMk/>
            <pc:sldMk cId="2224675279" sldId="2137005735"/>
            <ac:spMk id="120" creationId="{97460EF1-338A-46BF-9DAD-6ACE2C7944D6}"/>
          </ac:spMkLst>
        </pc:spChg>
        <pc:spChg chg="mod topLvl">
          <ac:chgData name="Ghate, Atul" userId="e633be56-9ace-423d-8883-e42d357bf4e0" providerId="ADAL" clId="{3A5FBCAB-D22B-4A62-B9AC-D0FD9523E050}" dt="2021-02-05T01:33:03.183" v="2130" actId="165"/>
          <ac:spMkLst>
            <pc:docMk/>
            <pc:sldMk cId="2224675279" sldId="2137005735"/>
            <ac:spMk id="121" creationId="{642D6BF7-B20A-4BFA-A10C-78BD3417AD83}"/>
          </ac:spMkLst>
        </pc:spChg>
        <pc:spChg chg="mod topLvl">
          <ac:chgData name="Ghate, Atul" userId="e633be56-9ace-423d-8883-e42d357bf4e0" providerId="ADAL" clId="{3A5FBCAB-D22B-4A62-B9AC-D0FD9523E050}" dt="2021-02-05T01:33:03.183" v="2130" actId="165"/>
          <ac:spMkLst>
            <pc:docMk/>
            <pc:sldMk cId="2224675279" sldId="2137005735"/>
            <ac:spMk id="122" creationId="{60876857-9171-4515-BE69-E8F2A9BD119C}"/>
          </ac:spMkLst>
        </pc:spChg>
        <pc:spChg chg="mod topLvl">
          <ac:chgData name="Ghate, Atul" userId="e633be56-9ace-423d-8883-e42d357bf4e0" providerId="ADAL" clId="{3A5FBCAB-D22B-4A62-B9AC-D0FD9523E050}" dt="2021-02-05T01:33:03.183" v="2130" actId="165"/>
          <ac:spMkLst>
            <pc:docMk/>
            <pc:sldMk cId="2224675279" sldId="2137005735"/>
            <ac:spMk id="123" creationId="{A0E0C460-86ED-496E-B334-6544A357BFB8}"/>
          </ac:spMkLst>
        </pc:spChg>
        <pc:spChg chg="mod topLvl">
          <ac:chgData name="Ghate, Atul" userId="e633be56-9ace-423d-8883-e42d357bf4e0" providerId="ADAL" clId="{3A5FBCAB-D22B-4A62-B9AC-D0FD9523E050}" dt="2021-02-05T01:33:03.183" v="2130" actId="165"/>
          <ac:spMkLst>
            <pc:docMk/>
            <pc:sldMk cId="2224675279" sldId="2137005735"/>
            <ac:spMk id="127" creationId="{44A1A1E3-8956-49CB-8C68-C07E036E5926}"/>
          </ac:spMkLst>
        </pc:spChg>
        <pc:spChg chg="mod topLvl">
          <ac:chgData name="Ghate, Atul" userId="e633be56-9ace-423d-8883-e42d357bf4e0" providerId="ADAL" clId="{3A5FBCAB-D22B-4A62-B9AC-D0FD9523E050}" dt="2021-02-05T01:33:03.183" v="2130" actId="165"/>
          <ac:spMkLst>
            <pc:docMk/>
            <pc:sldMk cId="2224675279" sldId="2137005735"/>
            <ac:spMk id="130" creationId="{0DB159F8-00F7-47BC-B369-8A21DB2B8C67}"/>
          </ac:spMkLst>
        </pc:spChg>
        <pc:spChg chg="mod topLvl">
          <ac:chgData name="Ghate, Atul" userId="e633be56-9ace-423d-8883-e42d357bf4e0" providerId="ADAL" clId="{3A5FBCAB-D22B-4A62-B9AC-D0FD9523E050}" dt="2021-02-05T01:33:03.183" v="2130" actId="165"/>
          <ac:spMkLst>
            <pc:docMk/>
            <pc:sldMk cId="2224675279" sldId="2137005735"/>
            <ac:spMk id="134" creationId="{5FDB5735-2972-4089-A54B-CB5B0055730D}"/>
          </ac:spMkLst>
        </pc:spChg>
        <pc:spChg chg="mod topLvl">
          <ac:chgData name="Ghate, Atul" userId="e633be56-9ace-423d-8883-e42d357bf4e0" providerId="ADAL" clId="{3A5FBCAB-D22B-4A62-B9AC-D0FD9523E050}" dt="2021-02-05T01:33:03.183" v="2130" actId="165"/>
          <ac:spMkLst>
            <pc:docMk/>
            <pc:sldMk cId="2224675279" sldId="2137005735"/>
            <ac:spMk id="135" creationId="{10F8B07F-9E16-4306-9EF3-41EBAB25CBA6}"/>
          </ac:spMkLst>
        </pc:spChg>
        <pc:spChg chg="mod topLvl">
          <ac:chgData name="Ghate, Atul" userId="e633be56-9ace-423d-8883-e42d357bf4e0" providerId="ADAL" clId="{3A5FBCAB-D22B-4A62-B9AC-D0FD9523E050}" dt="2021-02-05T01:33:03.183" v="2130" actId="165"/>
          <ac:spMkLst>
            <pc:docMk/>
            <pc:sldMk cId="2224675279" sldId="2137005735"/>
            <ac:spMk id="136" creationId="{D45C17F2-FE2D-4720-AE39-7AD55E4785A3}"/>
          </ac:spMkLst>
        </pc:spChg>
        <pc:spChg chg="mod topLvl">
          <ac:chgData name="Ghate, Atul" userId="e633be56-9ace-423d-8883-e42d357bf4e0" providerId="ADAL" clId="{3A5FBCAB-D22B-4A62-B9AC-D0FD9523E050}" dt="2021-02-05T01:33:03.183" v="2130" actId="165"/>
          <ac:spMkLst>
            <pc:docMk/>
            <pc:sldMk cId="2224675279" sldId="2137005735"/>
            <ac:spMk id="137" creationId="{19A6AA38-D17A-4668-B8C8-E2058EE9D796}"/>
          </ac:spMkLst>
        </pc:spChg>
        <pc:spChg chg="mod topLvl">
          <ac:chgData name="Ghate, Atul" userId="e633be56-9ace-423d-8883-e42d357bf4e0" providerId="ADAL" clId="{3A5FBCAB-D22B-4A62-B9AC-D0FD9523E050}" dt="2021-02-05T01:33:03.183" v="2130" actId="165"/>
          <ac:spMkLst>
            <pc:docMk/>
            <pc:sldMk cId="2224675279" sldId="2137005735"/>
            <ac:spMk id="138" creationId="{4530D235-1F2E-4B4A-911D-7BBE73746196}"/>
          </ac:spMkLst>
        </pc:spChg>
        <pc:spChg chg="mod topLvl">
          <ac:chgData name="Ghate, Atul" userId="e633be56-9ace-423d-8883-e42d357bf4e0" providerId="ADAL" clId="{3A5FBCAB-D22B-4A62-B9AC-D0FD9523E050}" dt="2021-02-05T01:33:03.183" v="2130" actId="165"/>
          <ac:spMkLst>
            <pc:docMk/>
            <pc:sldMk cId="2224675279" sldId="2137005735"/>
            <ac:spMk id="139" creationId="{5B54417A-5B9E-42F4-8D2E-B94376EB9E18}"/>
          </ac:spMkLst>
        </pc:spChg>
        <pc:spChg chg="mod topLvl">
          <ac:chgData name="Ghate, Atul" userId="e633be56-9ace-423d-8883-e42d357bf4e0" providerId="ADAL" clId="{3A5FBCAB-D22B-4A62-B9AC-D0FD9523E050}" dt="2021-02-05T01:33:03.183" v="2130" actId="165"/>
          <ac:spMkLst>
            <pc:docMk/>
            <pc:sldMk cId="2224675279" sldId="2137005735"/>
            <ac:spMk id="140" creationId="{86EF7FD9-605C-4263-93E2-9EFC96CB2418}"/>
          </ac:spMkLst>
        </pc:spChg>
        <pc:spChg chg="mod topLvl">
          <ac:chgData name="Ghate, Atul" userId="e633be56-9ace-423d-8883-e42d357bf4e0" providerId="ADAL" clId="{3A5FBCAB-D22B-4A62-B9AC-D0FD9523E050}" dt="2021-02-05T01:33:03.183" v="2130" actId="165"/>
          <ac:spMkLst>
            <pc:docMk/>
            <pc:sldMk cId="2224675279" sldId="2137005735"/>
            <ac:spMk id="141" creationId="{3B458122-F55F-43EB-BE24-694D42B5E98B}"/>
          </ac:spMkLst>
        </pc:spChg>
        <pc:spChg chg="mod topLvl">
          <ac:chgData name="Ghate, Atul" userId="e633be56-9ace-423d-8883-e42d357bf4e0" providerId="ADAL" clId="{3A5FBCAB-D22B-4A62-B9AC-D0FD9523E050}" dt="2021-02-05T01:33:03.183" v="2130" actId="165"/>
          <ac:spMkLst>
            <pc:docMk/>
            <pc:sldMk cId="2224675279" sldId="2137005735"/>
            <ac:spMk id="145" creationId="{ABB6DD73-1420-49BB-A317-FE56770B6C42}"/>
          </ac:spMkLst>
        </pc:spChg>
        <pc:spChg chg="mod topLvl">
          <ac:chgData name="Ghate, Atul" userId="e633be56-9ace-423d-8883-e42d357bf4e0" providerId="ADAL" clId="{3A5FBCAB-D22B-4A62-B9AC-D0FD9523E050}" dt="2021-02-05T01:33:03.183" v="2130" actId="165"/>
          <ac:spMkLst>
            <pc:docMk/>
            <pc:sldMk cId="2224675279" sldId="2137005735"/>
            <ac:spMk id="146" creationId="{19915E54-6547-4B9E-BEB2-256D268258A6}"/>
          </ac:spMkLst>
        </pc:spChg>
        <pc:spChg chg="mod topLvl">
          <ac:chgData name="Ghate, Atul" userId="e633be56-9ace-423d-8883-e42d357bf4e0" providerId="ADAL" clId="{3A5FBCAB-D22B-4A62-B9AC-D0FD9523E050}" dt="2021-02-05T01:33:03.183" v="2130" actId="165"/>
          <ac:spMkLst>
            <pc:docMk/>
            <pc:sldMk cId="2224675279" sldId="2137005735"/>
            <ac:spMk id="147" creationId="{FDAC9D18-F445-4BD7-BC78-D7B8FDD50B2F}"/>
          </ac:spMkLst>
        </pc:spChg>
        <pc:spChg chg="mod topLvl">
          <ac:chgData name="Ghate, Atul" userId="e633be56-9ace-423d-8883-e42d357bf4e0" providerId="ADAL" clId="{3A5FBCAB-D22B-4A62-B9AC-D0FD9523E050}" dt="2021-02-05T01:33:03.183" v="2130" actId="165"/>
          <ac:spMkLst>
            <pc:docMk/>
            <pc:sldMk cId="2224675279" sldId="2137005735"/>
            <ac:spMk id="148" creationId="{C4427B8A-9C19-403D-BF2F-C4CE187D68F3}"/>
          </ac:spMkLst>
        </pc:spChg>
        <pc:spChg chg="mod topLvl">
          <ac:chgData name="Ghate, Atul" userId="e633be56-9ace-423d-8883-e42d357bf4e0" providerId="ADAL" clId="{3A5FBCAB-D22B-4A62-B9AC-D0FD9523E050}" dt="2021-02-05T01:33:03.183" v="2130" actId="165"/>
          <ac:spMkLst>
            <pc:docMk/>
            <pc:sldMk cId="2224675279" sldId="2137005735"/>
            <ac:spMk id="149" creationId="{FF374DC1-B4F5-4665-A97D-4319DDC34AC1}"/>
          </ac:spMkLst>
        </pc:spChg>
        <pc:spChg chg="mod topLvl">
          <ac:chgData name="Ghate, Atul" userId="e633be56-9ace-423d-8883-e42d357bf4e0" providerId="ADAL" clId="{3A5FBCAB-D22B-4A62-B9AC-D0FD9523E050}" dt="2021-02-05T01:33:03.183" v="2130" actId="165"/>
          <ac:spMkLst>
            <pc:docMk/>
            <pc:sldMk cId="2224675279" sldId="2137005735"/>
            <ac:spMk id="150" creationId="{10AFBB04-588C-487D-8A82-BA93B0299C0A}"/>
          </ac:spMkLst>
        </pc:spChg>
        <pc:spChg chg="mod topLvl">
          <ac:chgData name="Ghate, Atul" userId="e633be56-9ace-423d-8883-e42d357bf4e0" providerId="ADAL" clId="{3A5FBCAB-D22B-4A62-B9AC-D0FD9523E050}" dt="2021-02-05T01:33:03.183" v="2130" actId="165"/>
          <ac:spMkLst>
            <pc:docMk/>
            <pc:sldMk cId="2224675279" sldId="2137005735"/>
            <ac:spMk id="151" creationId="{CA5BAD6F-2BE7-4F71-A997-BF254779042D}"/>
          </ac:spMkLst>
        </pc:spChg>
        <pc:spChg chg="mod topLvl">
          <ac:chgData name="Ghate, Atul" userId="e633be56-9ace-423d-8883-e42d357bf4e0" providerId="ADAL" clId="{3A5FBCAB-D22B-4A62-B9AC-D0FD9523E050}" dt="2021-02-05T01:33:03.183" v="2130" actId="165"/>
          <ac:spMkLst>
            <pc:docMk/>
            <pc:sldMk cId="2224675279" sldId="2137005735"/>
            <ac:spMk id="152" creationId="{D8190978-BA85-49DB-A619-A869D93D643A}"/>
          </ac:spMkLst>
        </pc:spChg>
        <pc:spChg chg="mod topLvl">
          <ac:chgData name="Ghate, Atul" userId="e633be56-9ace-423d-8883-e42d357bf4e0" providerId="ADAL" clId="{3A5FBCAB-D22B-4A62-B9AC-D0FD9523E050}" dt="2021-02-05T01:33:03.183" v="2130" actId="165"/>
          <ac:spMkLst>
            <pc:docMk/>
            <pc:sldMk cId="2224675279" sldId="2137005735"/>
            <ac:spMk id="153" creationId="{D469CCF0-C44A-4F2C-95B8-4026A17A9C61}"/>
          </ac:spMkLst>
        </pc:spChg>
        <pc:spChg chg="mod topLvl">
          <ac:chgData name="Ghate, Atul" userId="e633be56-9ace-423d-8883-e42d357bf4e0" providerId="ADAL" clId="{3A5FBCAB-D22B-4A62-B9AC-D0FD9523E050}" dt="2021-02-05T01:33:03.183" v="2130" actId="165"/>
          <ac:spMkLst>
            <pc:docMk/>
            <pc:sldMk cId="2224675279" sldId="2137005735"/>
            <ac:spMk id="154" creationId="{178B54FE-D461-4BB9-A9F9-DB44BED82169}"/>
          </ac:spMkLst>
        </pc:spChg>
        <pc:spChg chg="mod topLvl">
          <ac:chgData name="Ghate, Atul" userId="e633be56-9ace-423d-8883-e42d357bf4e0" providerId="ADAL" clId="{3A5FBCAB-D22B-4A62-B9AC-D0FD9523E050}" dt="2021-02-05T01:33:03.183" v="2130" actId="165"/>
          <ac:spMkLst>
            <pc:docMk/>
            <pc:sldMk cId="2224675279" sldId="2137005735"/>
            <ac:spMk id="155" creationId="{C84CC339-924D-47EB-BD32-CE051F96D12D}"/>
          </ac:spMkLst>
        </pc:spChg>
        <pc:spChg chg="mod topLvl">
          <ac:chgData name="Ghate, Atul" userId="e633be56-9ace-423d-8883-e42d357bf4e0" providerId="ADAL" clId="{3A5FBCAB-D22B-4A62-B9AC-D0FD9523E050}" dt="2021-02-05T01:33:03.183" v="2130" actId="165"/>
          <ac:spMkLst>
            <pc:docMk/>
            <pc:sldMk cId="2224675279" sldId="2137005735"/>
            <ac:spMk id="156" creationId="{56CD546E-59D2-457C-9468-ABAE1D6A10BD}"/>
          </ac:spMkLst>
        </pc:spChg>
        <pc:spChg chg="mod topLvl">
          <ac:chgData name="Ghate, Atul" userId="e633be56-9ace-423d-8883-e42d357bf4e0" providerId="ADAL" clId="{3A5FBCAB-D22B-4A62-B9AC-D0FD9523E050}" dt="2021-02-05T01:33:03.183" v="2130" actId="165"/>
          <ac:spMkLst>
            <pc:docMk/>
            <pc:sldMk cId="2224675279" sldId="2137005735"/>
            <ac:spMk id="157" creationId="{118CAA12-844E-479F-B018-18B58E56C3D0}"/>
          </ac:spMkLst>
        </pc:spChg>
        <pc:spChg chg="mod topLvl">
          <ac:chgData name="Ghate, Atul" userId="e633be56-9ace-423d-8883-e42d357bf4e0" providerId="ADAL" clId="{3A5FBCAB-D22B-4A62-B9AC-D0FD9523E050}" dt="2021-02-05T01:33:03.183" v="2130" actId="165"/>
          <ac:spMkLst>
            <pc:docMk/>
            <pc:sldMk cId="2224675279" sldId="2137005735"/>
            <ac:spMk id="158" creationId="{85FFD1C5-F355-4CBA-BFF7-35BF10EBBA4C}"/>
          </ac:spMkLst>
        </pc:spChg>
        <pc:spChg chg="mod topLvl">
          <ac:chgData name="Ghate, Atul" userId="e633be56-9ace-423d-8883-e42d357bf4e0" providerId="ADAL" clId="{3A5FBCAB-D22B-4A62-B9AC-D0FD9523E050}" dt="2021-02-05T01:33:03.183" v="2130" actId="165"/>
          <ac:spMkLst>
            <pc:docMk/>
            <pc:sldMk cId="2224675279" sldId="2137005735"/>
            <ac:spMk id="170" creationId="{02D4C889-CFBE-4E34-832B-D221EA0B722C}"/>
          </ac:spMkLst>
        </pc:spChg>
        <pc:spChg chg="mod topLvl">
          <ac:chgData name="Ghate, Atul" userId="e633be56-9ace-423d-8883-e42d357bf4e0" providerId="ADAL" clId="{3A5FBCAB-D22B-4A62-B9AC-D0FD9523E050}" dt="2021-02-05T01:33:03.183" v="2130" actId="165"/>
          <ac:spMkLst>
            <pc:docMk/>
            <pc:sldMk cId="2224675279" sldId="2137005735"/>
            <ac:spMk id="173" creationId="{DF74A171-1B2D-4BA9-9117-09DAE8801DBD}"/>
          </ac:spMkLst>
        </pc:spChg>
        <pc:spChg chg="mod topLvl">
          <ac:chgData name="Ghate, Atul" userId="e633be56-9ace-423d-8883-e42d357bf4e0" providerId="ADAL" clId="{3A5FBCAB-D22B-4A62-B9AC-D0FD9523E050}" dt="2021-02-05T01:33:03.183" v="2130" actId="165"/>
          <ac:spMkLst>
            <pc:docMk/>
            <pc:sldMk cId="2224675279" sldId="2137005735"/>
            <ac:spMk id="174" creationId="{DEE6DB69-5A09-443A-A9DD-6424BFFF0E4E}"/>
          </ac:spMkLst>
        </pc:spChg>
        <pc:spChg chg="mod topLvl">
          <ac:chgData name="Ghate, Atul" userId="e633be56-9ace-423d-8883-e42d357bf4e0" providerId="ADAL" clId="{3A5FBCAB-D22B-4A62-B9AC-D0FD9523E050}" dt="2021-02-05T01:33:03.183" v="2130" actId="165"/>
          <ac:spMkLst>
            <pc:docMk/>
            <pc:sldMk cId="2224675279" sldId="2137005735"/>
            <ac:spMk id="175" creationId="{D944AFC6-26ED-419F-ABF1-EB9C81D97FDB}"/>
          </ac:spMkLst>
        </pc:spChg>
        <pc:spChg chg="mod topLvl">
          <ac:chgData name="Ghate, Atul" userId="e633be56-9ace-423d-8883-e42d357bf4e0" providerId="ADAL" clId="{3A5FBCAB-D22B-4A62-B9AC-D0FD9523E050}" dt="2021-02-05T01:33:03.183" v="2130" actId="165"/>
          <ac:spMkLst>
            <pc:docMk/>
            <pc:sldMk cId="2224675279" sldId="2137005735"/>
            <ac:spMk id="180" creationId="{A49574EB-5AA8-445C-9A4C-2474CB761D7B}"/>
          </ac:spMkLst>
        </pc:spChg>
        <pc:spChg chg="mod topLvl">
          <ac:chgData name="Ghate, Atul" userId="e633be56-9ace-423d-8883-e42d357bf4e0" providerId="ADAL" clId="{3A5FBCAB-D22B-4A62-B9AC-D0FD9523E050}" dt="2021-02-05T01:33:03.183" v="2130" actId="165"/>
          <ac:spMkLst>
            <pc:docMk/>
            <pc:sldMk cId="2224675279" sldId="2137005735"/>
            <ac:spMk id="181" creationId="{C88FC876-94A3-4FE7-982A-BFF43F9A5DC0}"/>
          </ac:spMkLst>
        </pc:spChg>
        <pc:spChg chg="mod topLvl">
          <ac:chgData name="Ghate, Atul" userId="e633be56-9ace-423d-8883-e42d357bf4e0" providerId="ADAL" clId="{3A5FBCAB-D22B-4A62-B9AC-D0FD9523E050}" dt="2021-02-05T01:33:03.183" v="2130" actId="165"/>
          <ac:spMkLst>
            <pc:docMk/>
            <pc:sldMk cId="2224675279" sldId="2137005735"/>
            <ac:spMk id="182" creationId="{3F2CCFFE-66FE-48C3-9F37-4DF850245C7B}"/>
          </ac:spMkLst>
        </pc:spChg>
        <pc:spChg chg="mod topLvl">
          <ac:chgData name="Ghate, Atul" userId="e633be56-9ace-423d-8883-e42d357bf4e0" providerId="ADAL" clId="{3A5FBCAB-D22B-4A62-B9AC-D0FD9523E050}" dt="2021-02-05T01:33:03.183" v="2130" actId="165"/>
          <ac:spMkLst>
            <pc:docMk/>
            <pc:sldMk cId="2224675279" sldId="2137005735"/>
            <ac:spMk id="183" creationId="{5DB500F0-00C8-49C4-B11A-EC2756C1A287}"/>
          </ac:spMkLst>
        </pc:spChg>
        <pc:spChg chg="mod topLvl">
          <ac:chgData name="Ghate, Atul" userId="e633be56-9ace-423d-8883-e42d357bf4e0" providerId="ADAL" clId="{3A5FBCAB-D22B-4A62-B9AC-D0FD9523E050}" dt="2021-02-05T01:33:03.183" v="2130" actId="165"/>
          <ac:spMkLst>
            <pc:docMk/>
            <pc:sldMk cId="2224675279" sldId="2137005735"/>
            <ac:spMk id="184" creationId="{B05A131F-C272-4566-947C-6BE6DFF28720}"/>
          </ac:spMkLst>
        </pc:spChg>
        <pc:spChg chg="mod topLvl">
          <ac:chgData name="Ghate, Atul" userId="e633be56-9ace-423d-8883-e42d357bf4e0" providerId="ADAL" clId="{3A5FBCAB-D22B-4A62-B9AC-D0FD9523E050}" dt="2021-02-05T01:33:03.183" v="2130" actId="165"/>
          <ac:spMkLst>
            <pc:docMk/>
            <pc:sldMk cId="2224675279" sldId="2137005735"/>
            <ac:spMk id="185" creationId="{FADD342B-3E65-4D1F-B24A-7B0D8FA089BA}"/>
          </ac:spMkLst>
        </pc:spChg>
        <pc:spChg chg="mod topLvl">
          <ac:chgData name="Ghate, Atul" userId="e633be56-9ace-423d-8883-e42d357bf4e0" providerId="ADAL" clId="{3A5FBCAB-D22B-4A62-B9AC-D0FD9523E050}" dt="2021-02-05T01:33:03.183" v="2130" actId="165"/>
          <ac:spMkLst>
            <pc:docMk/>
            <pc:sldMk cId="2224675279" sldId="2137005735"/>
            <ac:spMk id="186" creationId="{77AB2F81-C05B-4ABE-A78F-80EE6EF8E54B}"/>
          </ac:spMkLst>
        </pc:spChg>
        <pc:spChg chg="mod topLvl">
          <ac:chgData name="Ghate, Atul" userId="e633be56-9ace-423d-8883-e42d357bf4e0" providerId="ADAL" clId="{3A5FBCAB-D22B-4A62-B9AC-D0FD9523E050}" dt="2021-02-05T01:33:03.183" v="2130" actId="165"/>
          <ac:spMkLst>
            <pc:docMk/>
            <pc:sldMk cId="2224675279" sldId="2137005735"/>
            <ac:spMk id="187" creationId="{C4099D45-F6AD-43F0-9682-1706BC0C511F}"/>
          </ac:spMkLst>
        </pc:spChg>
        <pc:spChg chg="mod topLvl">
          <ac:chgData name="Ghate, Atul" userId="e633be56-9ace-423d-8883-e42d357bf4e0" providerId="ADAL" clId="{3A5FBCAB-D22B-4A62-B9AC-D0FD9523E050}" dt="2021-02-05T01:33:03.183" v="2130" actId="165"/>
          <ac:spMkLst>
            <pc:docMk/>
            <pc:sldMk cId="2224675279" sldId="2137005735"/>
            <ac:spMk id="188" creationId="{5E8D1121-6FAF-499D-86C4-4CB2505C7484}"/>
          </ac:spMkLst>
        </pc:spChg>
        <pc:spChg chg="mod topLvl">
          <ac:chgData name="Ghate, Atul" userId="e633be56-9ace-423d-8883-e42d357bf4e0" providerId="ADAL" clId="{3A5FBCAB-D22B-4A62-B9AC-D0FD9523E050}" dt="2021-02-05T01:33:03.183" v="2130" actId="165"/>
          <ac:spMkLst>
            <pc:docMk/>
            <pc:sldMk cId="2224675279" sldId="2137005735"/>
            <ac:spMk id="189" creationId="{9BD6B3CD-E009-4681-B2F6-E9DA069667C3}"/>
          </ac:spMkLst>
        </pc:spChg>
        <pc:spChg chg="mod">
          <ac:chgData name="Ghate, Atul" userId="e633be56-9ace-423d-8883-e42d357bf4e0" providerId="ADAL" clId="{3A5FBCAB-D22B-4A62-B9AC-D0FD9523E050}" dt="2021-02-05T01:32:07.750" v="2127" actId="14100"/>
          <ac:spMkLst>
            <pc:docMk/>
            <pc:sldMk cId="2224675279" sldId="2137005735"/>
            <ac:spMk id="215" creationId="{CE4955DD-7A21-458D-9444-A7FA67B6E05B}"/>
          </ac:spMkLst>
        </pc:spChg>
        <pc:spChg chg="mod">
          <ac:chgData name="Ghate, Atul" userId="e633be56-9ace-423d-8883-e42d357bf4e0" providerId="ADAL" clId="{3A5FBCAB-D22B-4A62-B9AC-D0FD9523E050}" dt="2021-02-05T01:32:07.750" v="2127" actId="14100"/>
          <ac:spMkLst>
            <pc:docMk/>
            <pc:sldMk cId="2224675279" sldId="2137005735"/>
            <ac:spMk id="227" creationId="{02095E87-B442-432A-A44C-E939C78F17F6}"/>
          </ac:spMkLst>
        </pc:spChg>
        <pc:spChg chg="del">
          <ac:chgData name="Ghate, Atul" userId="e633be56-9ace-423d-8883-e42d357bf4e0" providerId="ADAL" clId="{3A5FBCAB-D22B-4A62-B9AC-D0FD9523E050}" dt="2021-02-05T01:28:50.425" v="2012" actId="478"/>
          <ac:spMkLst>
            <pc:docMk/>
            <pc:sldMk cId="2224675279" sldId="2137005735"/>
            <ac:spMk id="233" creationId="{1EB58BE9-FECD-D943-A1AB-32E72638A020}"/>
          </ac:spMkLst>
        </pc:spChg>
        <pc:grpChg chg="del mod">
          <ac:chgData name="Ghate, Atul" userId="e633be56-9ace-423d-8883-e42d357bf4e0" providerId="ADAL" clId="{3A5FBCAB-D22B-4A62-B9AC-D0FD9523E050}" dt="2021-02-05T01:33:03.183" v="2130" actId="165"/>
          <ac:grpSpMkLst>
            <pc:docMk/>
            <pc:sldMk cId="2224675279" sldId="2137005735"/>
            <ac:grpSpMk id="103" creationId="{AEE43419-646F-4B72-97CE-270CBA7E6308}"/>
          </ac:grpSpMkLst>
        </pc:grpChg>
        <pc:grpChg chg="mod topLvl">
          <ac:chgData name="Ghate, Atul" userId="e633be56-9ace-423d-8883-e42d357bf4e0" providerId="ADAL" clId="{3A5FBCAB-D22B-4A62-B9AC-D0FD9523E050}" dt="2021-02-05T01:33:03.183" v="2130" actId="165"/>
          <ac:grpSpMkLst>
            <pc:docMk/>
            <pc:sldMk cId="2224675279" sldId="2137005735"/>
            <ac:grpSpMk id="124" creationId="{F4DC8DA3-F32D-484D-BA56-7D47DCE99871}"/>
          </ac:grpSpMkLst>
        </pc:grpChg>
        <pc:grpChg chg="mod topLvl">
          <ac:chgData name="Ghate, Atul" userId="e633be56-9ace-423d-8883-e42d357bf4e0" providerId="ADAL" clId="{3A5FBCAB-D22B-4A62-B9AC-D0FD9523E050}" dt="2021-02-05T01:33:03.183" v="2130" actId="165"/>
          <ac:grpSpMkLst>
            <pc:docMk/>
            <pc:sldMk cId="2224675279" sldId="2137005735"/>
            <ac:grpSpMk id="125" creationId="{01ED9502-0653-4F4E-9ECE-33F397C60E64}"/>
          </ac:grpSpMkLst>
        </pc:grpChg>
        <pc:grpChg chg="mod topLvl">
          <ac:chgData name="Ghate, Atul" userId="e633be56-9ace-423d-8883-e42d357bf4e0" providerId="ADAL" clId="{3A5FBCAB-D22B-4A62-B9AC-D0FD9523E050}" dt="2021-02-05T01:33:03.183" v="2130" actId="165"/>
          <ac:grpSpMkLst>
            <pc:docMk/>
            <pc:sldMk cId="2224675279" sldId="2137005735"/>
            <ac:grpSpMk id="126" creationId="{324486C9-BD86-4303-B3E3-4A19554125A6}"/>
          </ac:grpSpMkLst>
        </pc:grpChg>
        <pc:grpChg chg="mod topLvl">
          <ac:chgData name="Ghate, Atul" userId="e633be56-9ace-423d-8883-e42d357bf4e0" providerId="ADAL" clId="{3A5FBCAB-D22B-4A62-B9AC-D0FD9523E050}" dt="2021-02-05T01:33:03.183" v="2130" actId="165"/>
          <ac:grpSpMkLst>
            <pc:docMk/>
            <pc:sldMk cId="2224675279" sldId="2137005735"/>
            <ac:grpSpMk id="128" creationId="{2425BBB2-CF0F-4003-9172-0E1A0F1B4124}"/>
          </ac:grpSpMkLst>
        </pc:grpChg>
        <pc:grpChg chg="mod topLvl">
          <ac:chgData name="Ghate, Atul" userId="e633be56-9ace-423d-8883-e42d357bf4e0" providerId="ADAL" clId="{3A5FBCAB-D22B-4A62-B9AC-D0FD9523E050}" dt="2021-02-05T01:33:03.183" v="2130" actId="165"/>
          <ac:grpSpMkLst>
            <pc:docMk/>
            <pc:sldMk cId="2224675279" sldId="2137005735"/>
            <ac:grpSpMk id="129" creationId="{BADB908F-74B7-48E3-B880-2687074D05FF}"/>
          </ac:grpSpMkLst>
        </pc:grpChg>
        <pc:grpChg chg="mod topLvl">
          <ac:chgData name="Ghate, Atul" userId="e633be56-9ace-423d-8883-e42d357bf4e0" providerId="ADAL" clId="{3A5FBCAB-D22B-4A62-B9AC-D0FD9523E050}" dt="2021-02-05T01:33:03.183" v="2130" actId="165"/>
          <ac:grpSpMkLst>
            <pc:docMk/>
            <pc:sldMk cId="2224675279" sldId="2137005735"/>
            <ac:grpSpMk id="131" creationId="{9FF19103-4C08-45A4-B28D-349D043ECF85}"/>
          </ac:grpSpMkLst>
        </pc:grpChg>
        <pc:grpChg chg="mod topLvl">
          <ac:chgData name="Ghate, Atul" userId="e633be56-9ace-423d-8883-e42d357bf4e0" providerId="ADAL" clId="{3A5FBCAB-D22B-4A62-B9AC-D0FD9523E050}" dt="2021-02-05T01:33:03.183" v="2130" actId="165"/>
          <ac:grpSpMkLst>
            <pc:docMk/>
            <pc:sldMk cId="2224675279" sldId="2137005735"/>
            <ac:grpSpMk id="132" creationId="{A34E1596-EF4A-4875-A54F-CAD2251736AB}"/>
          </ac:grpSpMkLst>
        </pc:grpChg>
        <pc:grpChg chg="mod topLvl">
          <ac:chgData name="Ghate, Atul" userId="e633be56-9ace-423d-8883-e42d357bf4e0" providerId="ADAL" clId="{3A5FBCAB-D22B-4A62-B9AC-D0FD9523E050}" dt="2021-02-05T01:33:03.183" v="2130" actId="165"/>
          <ac:grpSpMkLst>
            <pc:docMk/>
            <pc:sldMk cId="2224675279" sldId="2137005735"/>
            <ac:grpSpMk id="133" creationId="{377A2956-B4FF-4936-B1B8-2DBAE81B0E62}"/>
          </ac:grpSpMkLst>
        </pc:grpChg>
        <pc:grpChg chg="mod topLvl">
          <ac:chgData name="Ghate, Atul" userId="e633be56-9ace-423d-8883-e42d357bf4e0" providerId="ADAL" clId="{3A5FBCAB-D22B-4A62-B9AC-D0FD9523E050}" dt="2021-02-05T01:33:03.183" v="2130" actId="165"/>
          <ac:grpSpMkLst>
            <pc:docMk/>
            <pc:sldMk cId="2224675279" sldId="2137005735"/>
            <ac:grpSpMk id="159" creationId="{0313AA18-A09F-4472-838A-AEB10BD27CBC}"/>
          </ac:grpSpMkLst>
        </pc:grpChg>
        <pc:grpChg chg="mod topLvl">
          <ac:chgData name="Ghate, Atul" userId="e633be56-9ace-423d-8883-e42d357bf4e0" providerId="ADAL" clId="{3A5FBCAB-D22B-4A62-B9AC-D0FD9523E050}" dt="2021-02-05T01:33:03.183" v="2130" actId="165"/>
          <ac:grpSpMkLst>
            <pc:docMk/>
            <pc:sldMk cId="2224675279" sldId="2137005735"/>
            <ac:grpSpMk id="160" creationId="{A49FA0A7-6A9C-40D2-AE5E-78502C667D55}"/>
          </ac:grpSpMkLst>
        </pc:grpChg>
        <pc:grpChg chg="mod topLvl">
          <ac:chgData name="Ghate, Atul" userId="e633be56-9ace-423d-8883-e42d357bf4e0" providerId="ADAL" clId="{3A5FBCAB-D22B-4A62-B9AC-D0FD9523E050}" dt="2021-02-05T01:33:03.183" v="2130" actId="165"/>
          <ac:grpSpMkLst>
            <pc:docMk/>
            <pc:sldMk cId="2224675279" sldId="2137005735"/>
            <ac:grpSpMk id="161" creationId="{553F0515-B811-4641-8C1E-3232CA76DBB5}"/>
          </ac:grpSpMkLst>
        </pc:grpChg>
        <pc:grpChg chg="mod topLvl">
          <ac:chgData name="Ghate, Atul" userId="e633be56-9ace-423d-8883-e42d357bf4e0" providerId="ADAL" clId="{3A5FBCAB-D22B-4A62-B9AC-D0FD9523E050}" dt="2021-02-05T01:33:03.183" v="2130" actId="165"/>
          <ac:grpSpMkLst>
            <pc:docMk/>
            <pc:sldMk cId="2224675279" sldId="2137005735"/>
            <ac:grpSpMk id="162" creationId="{D8F4A35C-0FF1-45F6-BF19-EC369AE4794B}"/>
          </ac:grpSpMkLst>
        </pc:grpChg>
        <pc:grpChg chg="mod topLvl">
          <ac:chgData name="Ghate, Atul" userId="e633be56-9ace-423d-8883-e42d357bf4e0" providerId="ADAL" clId="{3A5FBCAB-D22B-4A62-B9AC-D0FD9523E050}" dt="2021-02-05T01:33:03.183" v="2130" actId="165"/>
          <ac:grpSpMkLst>
            <pc:docMk/>
            <pc:sldMk cId="2224675279" sldId="2137005735"/>
            <ac:grpSpMk id="163" creationId="{A48EAD99-E73A-44F6-BA71-A0A71AAD223A}"/>
          </ac:grpSpMkLst>
        </pc:grpChg>
        <pc:grpChg chg="mod topLvl">
          <ac:chgData name="Ghate, Atul" userId="e633be56-9ace-423d-8883-e42d357bf4e0" providerId="ADAL" clId="{3A5FBCAB-D22B-4A62-B9AC-D0FD9523E050}" dt="2021-02-05T01:33:03.183" v="2130" actId="165"/>
          <ac:grpSpMkLst>
            <pc:docMk/>
            <pc:sldMk cId="2224675279" sldId="2137005735"/>
            <ac:grpSpMk id="169" creationId="{929036B6-CB87-4BE2-A741-2AA3F9BA84F2}"/>
          </ac:grpSpMkLst>
        </pc:grpChg>
        <pc:grpChg chg="mod topLvl">
          <ac:chgData name="Ghate, Atul" userId="e633be56-9ace-423d-8883-e42d357bf4e0" providerId="ADAL" clId="{3A5FBCAB-D22B-4A62-B9AC-D0FD9523E050}" dt="2021-02-05T01:33:03.183" v="2130" actId="165"/>
          <ac:grpSpMkLst>
            <pc:docMk/>
            <pc:sldMk cId="2224675279" sldId="2137005735"/>
            <ac:grpSpMk id="176" creationId="{0483EF65-477E-468E-B242-30539193EB6A}"/>
          </ac:grpSpMkLst>
        </pc:grpChg>
        <pc:grpChg chg="mod topLvl">
          <ac:chgData name="Ghate, Atul" userId="e633be56-9ace-423d-8883-e42d357bf4e0" providerId="ADAL" clId="{3A5FBCAB-D22B-4A62-B9AC-D0FD9523E050}" dt="2021-02-05T01:33:03.183" v="2130" actId="165"/>
          <ac:grpSpMkLst>
            <pc:docMk/>
            <pc:sldMk cId="2224675279" sldId="2137005735"/>
            <ac:grpSpMk id="177" creationId="{B9B2B17D-8157-4954-BF25-33F9278F1F72}"/>
          </ac:grpSpMkLst>
        </pc:grpChg>
        <pc:grpChg chg="mod topLvl">
          <ac:chgData name="Ghate, Atul" userId="e633be56-9ace-423d-8883-e42d357bf4e0" providerId="ADAL" clId="{3A5FBCAB-D22B-4A62-B9AC-D0FD9523E050}" dt="2021-02-05T01:33:03.183" v="2130" actId="165"/>
          <ac:grpSpMkLst>
            <pc:docMk/>
            <pc:sldMk cId="2224675279" sldId="2137005735"/>
            <ac:grpSpMk id="178" creationId="{06DA56A2-4670-40AD-868B-981DCCA4F2EE}"/>
          </ac:grpSpMkLst>
        </pc:grpChg>
        <pc:picChg chg="mod topLvl">
          <ac:chgData name="Ghate, Atul" userId="e633be56-9ace-423d-8883-e42d357bf4e0" providerId="ADAL" clId="{3A5FBCAB-D22B-4A62-B9AC-D0FD9523E050}" dt="2021-02-05T01:33:03.183" v="2130" actId="165"/>
          <ac:picMkLst>
            <pc:docMk/>
            <pc:sldMk cId="2224675279" sldId="2137005735"/>
            <ac:picMk id="179" creationId="{8923904A-4C39-4E03-B03C-C51F08E63358}"/>
          </ac:picMkLst>
        </pc:picChg>
        <pc:cxnChg chg="mod topLvl">
          <ac:chgData name="Ghate, Atul" userId="e633be56-9ace-423d-8883-e42d357bf4e0" providerId="ADAL" clId="{3A5FBCAB-D22B-4A62-B9AC-D0FD9523E050}" dt="2021-02-05T01:33:03.183" v="2130" actId="165"/>
          <ac:cxnSpMkLst>
            <pc:docMk/>
            <pc:sldMk cId="2224675279" sldId="2137005735"/>
            <ac:cxnSpMk id="142" creationId="{EF467C3D-2CCA-4A6E-A376-6186B19CB1B5}"/>
          </ac:cxnSpMkLst>
        </pc:cxnChg>
        <pc:cxnChg chg="mod topLvl">
          <ac:chgData name="Ghate, Atul" userId="e633be56-9ace-423d-8883-e42d357bf4e0" providerId="ADAL" clId="{3A5FBCAB-D22B-4A62-B9AC-D0FD9523E050}" dt="2021-02-05T01:33:03.183" v="2130" actId="165"/>
          <ac:cxnSpMkLst>
            <pc:docMk/>
            <pc:sldMk cId="2224675279" sldId="2137005735"/>
            <ac:cxnSpMk id="143" creationId="{CDA37266-44CF-40DB-A470-26CF3ABCD974}"/>
          </ac:cxnSpMkLst>
        </pc:cxnChg>
        <pc:cxnChg chg="mod topLvl">
          <ac:chgData name="Ghate, Atul" userId="e633be56-9ace-423d-8883-e42d357bf4e0" providerId="ADAL" clId="{3A5FBCAB-D22B-4A62-B9AC-D0FD9523E050}" dt="2021-02-05T01:33:03.183" v="2130" actId="165"/>
          <ac:cxnSpMkLst>
            <pc:docMk/>
            <pc:sldMk cId="2224675279" sldId="2137005735"/>
            <ac:cxnSpMk id="144" creationId="{FCD7F225-030C-453B-9B63-9C28851B6D9A}"/>
          </ac:cxnSpMkLst>
        </pc:cxnChg>
        <pc:cxnChg chg="mod topLvl">
          <ac:chgData name="Ghate, Atul" userId="e633be56-9ace-423d-8883-e42d357bf4e0" providerId="ADAL" clId="{3A5FBCAB-D22B-4A62-B9AC-D0FD9523E050}" dt="2021-02-05T01:33:03.183" v="2130" actId="165"/>
          <ac:cxnSpMkLst>
            <pc:docMk/>
            <pc:sldMk cId="2224675279" sldId="2137005735"/>
            <ac:cxnSpMk id="164" creationId="{9AC73CC7-6D8D-4DF5-92D3-C08E754114DE}"/>
          </ac:cxnSpMkLst>
        </pc:cxnChg>
        <pc:cxnChg chg="mod topLvl">
          <ac:chgData name="Ghate, Atul" userId="e633be56-9ace-423d-8883-e42d357bf4e0" providerId="ADAL" clId="{3A5FBCAB-D22B-4A62-B9AC-D0FD9523E050}" dt="2021-02-05T01:33:03.183" v="2130" actId="165"/>
          <ac:cxnSpMkLst>
            <pc:docMk/>
            <pc:sldMk cId="2224675279" sldId="2137005735"/>
            <ac:cxnSpMk id="165" creationId="{F797C293-4F39-44D8-B2C1-A1294D6510A3}"/>
          </ac:cxnSpMkLst>
        </pc:cxnChg>
        <pc:cxnChg chg="mod topLvl">
          <ac:chgData name="Ghate, Atul" userId="e633be56-9ace-423d-8883-e42d357bf4e0" providerId="ADAL" clId="{3A5FBCAB-D22B-4A62-B9AC-D0FD9523E050}" dt="2021-02-05T01:33:03.183" v="2130" actId="165"/>
          <ac:cxnSpMkLst>
            <pc:docMk/>
            <pc:sldMk cId="2224675279" sldId="2137005735"/>
            <ac:cxnSpMk id="166" creationId="{CCF02FAD-4D3B-4765-962A-291079462A1C}"/>
          </ac:cxnSpMkLst>
        </pc:cxnChg>
        <pc:cxnChg chg="mod topLvl">
          <ac:chgData name="Ghate, Atul" userId="e633be56-9ace-423d-8883-e42d357bf4e0" providerId="ADAL" clId="{3A5FBCAB-D22B-4A62-B9AC-D0FD9523E050}" dt="2021-02-05T01:33:03.183" v="2130" actId="165"/>
          <ac:cxnSpMkLst>
            <pc:docMk/>
            <pc:sldMk cId="2224675279" sldId="2137005735"/>
            <ac:cxnSpMk id="167" creationId="{1DC28870-A433-402E-BAB4-3C7F61DBC27C}"/>
          </ac:cxnSpMkLst>
        </pc:cxnChg>
        <pc:cxnChg chg="mod topLvl">
          <ac:chgData name="Ghate, Atul" userId="e633be56-9ace-423d-8883-e42d357bf4e0" providerId="ADAL" clId="{3A5FBCAB-D22B-4A62-B9AC-D0FD9523E050}" dt="2021-02-05T01:33:03.183" v="2130" actId="165"/>
          <ac:cxnSpMkLst>
            <pc:docMk/>
            <pc:sldMk cId="2224675279" sldId="2137005735"/>
            <ac:cxnSpMk id="168" creationId="{D50361D9-C971-4940-A229-65FC04AD2C7A}"/>
          </ac:cxnSpMkLst>
        </pc:cxnChg>
        <pc:cxnChg chg="mod topLvl">
          <ac:chgData name="Ghate, Atul" userId="e633be56-9ace-423d-8883-e42d357bf4e0" providerId="ADAL" clId="{3A5FBCAB-D22B-4A62-B9AC-D0FD9523E050}" dt="2021-02-05T01:33:03.183" v="2130" actId="165"/>
          <ac:cxnSpMkLst>
            <pc:docMk/>
            <pc:sldMk cId="2224675279" sldId="2137005735"/>
            <ac:cxnSpMk id="171" creationId="{21E04942-CA36-464B-B571-54D82904DA56}"/>
          </ac:cxnSpMkLst>
        </pc:cxnChg>
        <pc:cxnChg chg="mod topLvl">
          <ac:chgData name="Ghate, Atul" userId="e633be56-9ace-423d-8883-e42d357bf4e0" providerId="ADAL" clId="{3A5FBCAB-D22B-4A62-B9AC-D0FD9523E050}" dt="2021-02-05T01:33:03.183" v="2130" actId="165"/>
          <ac:cxnSpMkLst>
            <pc:docMk/>
            <pc:sldMk cId="2224675279" sldId="2137005735"/>
            <ac:cxnSpMk id="172" creationId="{240F44E5-001C-43CB-A682-D1F2BD5A6861}"/>
          </ac:cxnSpMkLst>
        </pc:cxnChg>
      </pc:sldChg>
      <pc:sldChg chg="add del">
        <pc:chgData name="Ghate, Atul" userId="e633be56-9ace-423d-8883-e42d357bf4e0" providerId="ADAL" clId="{3A5FBCAB-D22B-4A62-B9AC-D0FD9523E050}" dt="2021-02-04T18:51:44.636" v="305" actId="2696"/>
        <pc:sldMkLst>
          <pc:docMk/>
          <pc:sldMk cId="1139289949" sldId="2137005736"/>
        </pc:sldMkLst>
      </pc:sldChg>
      <pc:sldChg chg="addSp delSp modSp add">
        <pc:chgData name="Ghate, Atul" userId="e633be56-9ace-423d-8883-e42d357bf4e0" providerId="ADAL" clId="{3A5FBCAB-D22B-4A62-B9AC-D0FD9523E050}" dt="2021-02-07T22:12:19.593" v="3693"/>
        <pc:sldMkLst>
          <pc:docMk/>
          <pc:sldMk cId="3154307126" sldId="2137005736"/>
        </pc:sldMkLst>
        <pc:spChg chg="del mod">
          <ac:chgData name="Ghate, Atul" userId="e633be56-9ace-423d-8883-e42d357bf4e0" providerId="ADAL" clId="{3A5FBCAB-D22B-4A62-B9AC-D0FD9523E050}" dt="2021-02-05T01:18:08.695" v="1613" actId="478"/>
          <ac:spMkLst>
            <pc:docMk/>
            <pc:sldMk cId="3154307126" sldId="2137005736"/>
            <ac:spMk id="2" creationId="{B651DAA0-6AAB-4A87-9A32-F370B7CDB515}"/>
          </ac:spMkLst>
        </pc:spChg>
        <pc:spChg chg="del">
          <ac:chgData name="Ghate, Atul" userId="e633be56-9ace-423d-8883-e42d357bf4e0" providerId="ADAL" clId="{3A5FBCAB-D22B-4A62-B9AC-D0FD9523E050}" dt="2021-02-04T18:56:28.362" v="362" actId="478"/>
          <ac:spMkLst>
            <pc:docMk/>
            <pc:sldMk cId="3154307126" sldId="2137005736"/>
            <ac:spMk id="3" creationId="{20DFE91F-6C4A-4B62-9120-88F618D522AF}"/>
          </ac:spMkLst>
        </pc:spChg>
        <pc:spChg chg="add mod">
          <ac:chgData name="Ghate, Atul" userId="e633be56-9ace-423d-8883-e42d357bf4e0" providerId="ADAL" clId="{3A5FBCAB-D22B-4A62-B9AC-D0FD9523E050}" dt="2021-02-05T01:24:25.216" v="1973" actId="1076"/>
          <ac:spMkLst>
            <pc:docMk/>
            <pc:sldMk cId="3154307126" sldId="2137005736"/>
            <ac:spMk id="4" creationId="{AF6F18C0-8AE2-4138-8900-EE543C1113B0}"/>
          </ac:spMkLst>
        </pc:spChg>
        <pc:spChg chg="add mod">
          <ac:chgData name="Ghate, Atul" userId="e633be56-9ace-423d-8883-e42d357bf4e0" providerId="ADAL" clId="{3A5FBCAB-D22B-4A62-B9AC-D0FD9523E050}" dt="2021-02-05T01:21:09.241" v="1830" actId="1036"/>
          <ac:spMkLst>
            <pc:docMk/>
            <pc:sldMk cId="3154307126" sldId="2137005736"/>
            <ac:spMk id="5" creationId="{11B00867-F2CC-456A-AD22-84D82189A265}"/>
          </ac:spMkLst>
        </pc:spChg>
        <pc:spChg chg="add mod">
          <ac:chgData name="Ghate, Atul" userId="e633be56-9ace-423d-8883-e42d357bf4e0" providerId="ADAL" clId="{3A5FBCAB-D22B-4A62-B9AC-D0FD9523E050}" dt="2021-02-05T01:24:31.753" v="1975" actId="1076"/>
          <ac:spMkLst>
            <pc:docMk/>
            <pc:sldMk cId="3154307126" sldId="2137005736"/>
            <ac:spMk id="6" creationId="{EBF1908C-7571-459E-B98D-AFEAEEE7A2BB}"/>
          </ac:spMkLst>
        </pc:spChg>
        <pc:spChg chg="add mod">
          <ac:chgData name="Ghate, Atul" userId="e633be56-9ace-423d-8883-e42d357bf4e0" providerId="ADAL" clId="{3A5FBCAB-D22B-4A62-B9AC-D0FD9523E050}" dt="2021-02-05T01:24:28.394" v="1974" actId="1076"/>
          <ac:spMkLst>
            <pc:docMk/>
            <pc:sldMk cId="3154307126" sldId="2137005736"/>
            <ac:spMk id="7" creationId="{86092BE0-12BF-421F-9D21-F952B907F90F}"/>
          </ac:spMkLst>
        </pc:spChg>
        <pc:spChg chg="mod topLvl">
          <ac:chgData name="Ghate, Atul" userId="e633be56-9ace-423d-8883-e42d357bf4e0" providerId="ADAL" clId="{3A5FBCAB-D22B-4A62-B9AC-D0FD9523E050}" dt="2021-02-05T01:21:09.241" v="1830" actId="1036"/>
          <ac:spMkLst>
            <pc:docMk/>
            <pc:sldMk cId="3154307126" sldId="2137005736"/>
            <ac:spMk id="9" creationId="{E7E05052-9049-4DAD-B281-67BE6B23291D}"/>
          </ac:spMkLst>
        </pc:spChg>
        <pc:spChg chg="mod topLvl">
          <ac:chgData name="Ghate, Atul" userId="e633be56-9ace-423d-8883-e42d357bf4e0" providerId="ADAL" clId="{3A5FBCAB-D22B-4A62-B9AC-D0FD9523E050}" dt="2021-02-05T01:21:09.241" v="1830" actId="1036"/>
          <ac:spMkLst>
            <pc:docMk/>
            <pc:sldMk cId="3154307126" sldId="2137005736"/>
            <ac:spMk id="10" creationId="{E507E682-A296-4826-BDC3-C28B15BC4F46}"/>
          </ac:spMkLst>
        </pc:spChg>
        <pc:spChg chg="mod topLvl">
          <ac:chgData name="Ghate, Atul" userId="e633be56-9ace-423d-8883-e42d357bf4e0" providerId="ADAL" clId="{3A5FBCAB-D22B-4A62-B9AC-D0FD9523E050}" dt="2021-02-05T01:21:09.241" v="1830" actId="1036"/>
          <ac:spMkLst>
            <pc:docMk/>
            <pc:sldMk cId="3154307126" sldId="2137005736"/>
            <ac:spMk id="11" creationId="{AC518B5E-7B75-4D0A-8E37-E683FFA23473}"/>
          </ac:spMkLst>
        </pc:spChg>
        <pc:spChg chg="mod topLvl">
          <ac:chgData name="Ghate, Atul" userId="e633be56-9ace-423d-8883-e42d357bf4e0" providerId="ADAL" clId="{3A5FBCAB-D22B-4A62-B9AC-D0FD9523E050}" dt="2021-02-05T01:21:09.241" v="1830" actId="1036"/>
          <ac:spMkLst>
            <pc:docMk/>
            <pc:sldMk cId="3154307126" sldId="2137005736"/>
            <ac:spMk id="12" creationId="{56D1E6CC-37C8-414C-8BB4-3A84BFF9773B}"/>
          </ac:spMkLst>
        </pc:spChg>
        <pc:spChg chg="mod topLvl">
          <ac:chgData name="Ghate, Atul" userId="e633be56-9ace-423d-8883-e42d357bf4e0" providerId="ADAL" clId="{3A5FBCAB-D22B-4A62-B9AC-D0FD9523E050}" dt="2021-02-05T01:21:09.241" v="1830" actId="1036"/>
          <ac:spMkLst>
            <pc:docMk/>
            <pc:sldMk cId="3154307126" sldId="2137005736"/>
            <ac:spMk id="13" creationId="{0DA358B3-7D20-48BB-85E7-A29A3EEBC12B}"/>
          </ac:spMkLst>
        </pc:spChg>
        <pc:spChg chg="mod topLvl">
          <ac:chgData name="Ghate, Atul" userId="e633be56-9ace-423d-8883-e42d357bf4e0" providerId="ADAL" clId="{3A5FBCAB-D22B-4A62-B9AC-D0FD9523E050}" dt="2021-02-05T01:21:09.241" v="1830" actId="1036"/>
          <ac:spMkLst>
            <pc:docMk/>
            <pc:sldMk cId="3154307126" sldId="2137005736"/>
            <ac:spMk id="14" creationId="{70BA51FF-9448-4772-A32E-DEA094A727F4}"/>
          </ac:spMkLst>
        </pc:spChg>
        <pc:spChg chg="mod topLvl">
          <ac:chgData name="Ghate, Atul" userId="e633be56-9ace-423d-8883-e42d357bf4e0" providerId="ADAL" clId="{3A5FBCAB-D22B-4A62-B9AC-D0FD9523E050}" dt="2021-02-05T01:21:09.241" v="1830" actId="1036"/>
          <ac:spMkLst>
            <pc:docMk/>
            <pc:sldMk cId="3154307126" sldId="2137005736"/>
            <ac:spMk id="15" creationId="{274C573C-B659-495C-8564-266868C8A381}"/>
          </ac:spMkLst>
        </pc:spChg>
        <pc:spChg chg="mod topLvl">
          <ac:chgData name="Ghate, Atul" userId="e633be56-9ace-423d-8883-e42d357bf4e0" providerId="ADAL" clId="{3A5FBCAB-D22B-4A62-B9AC-D0FD9523E050}" dt="2021-02-05T01:21:09.241" v="1830" actId="1036"/>
          <ac:spMkLst>
            <pc:docMk/>
            <pc:sldMk cId="3154307126" sldId="2137005736"/>
            <ac:spMk id="16" creationId="{2E22B3AB-8A3C-4914-8878-0BA39D17B4C9}"/>
          </ac:spMkLst>
        </pc:spChg>
        <pc:spChg chg="mod topLvl">
          <ac:chgData name="Ghate, Atul" userId="e633be56-9ace-423d-8883-e42d357bf4e0" providerId="ADAL" clId="{3A5FBCAB-D22B-4A62-B9AC-D0FD9523E050}" dt="2021-02-05T01:21:09.241" v="1830" actId="1036"/>
          <ac:spMkLst>
            <pc:docMk/>
            <pc:sldMk cId="3154307126" sldId="2137005736"/>
            <ac:spMk id="17" creationId="{C28EE45F-930B-48F3-875F-D9BC2076F65E}"/>
          </ac:spMkLst>
        </pc:spChg>
        <pc:spChg chg="add mod">
          <ac:chgData name="Ghate, Atul" userId="e633be56-9ace-423d-8883-e42d357bf4e0" providerId="ADAL" clId="{3A5FBCAB-D22B-4A62-B9AC-D0FD9523E050}" dt="2021-02-05T01:23:57.786" v="1971" actId="13822"/>
          <ac:spMkLst>
            <pc:docMk/>
            <pc:sldMk cId="3154307126" sldId="2137005736"/>
            <ac:spMk id="18" creationId="{C35B596E-6DA9-4B91-A158-C4AD89ED418D}"/>
          </ac:spMkLst>
        </pc:spChg>
        <pc:spChg chg="add del mod">
          <ac:chgData name="Ghate, Atul" userId="e633be56-9ace-423d-8883-e42d357bf4e0" providerId="ADAL" clId="{3A5FBCAB-D22B-4A62-B9AC-D0FD9523E050}" dt="2021-02-05T01:21:09.241" v="1830" actId="1036"/>
          <ac:spMkLst>
            <pc:docMk/>
            <pc:sldMk cId="3154307126" sldId="2137005736"/>
            <ac:spMk id="20" creationId="{415D1D8F-2286-4709-9F05-8C8876A7BF4B}"/>
          </ac:spMkLst>
        </pc:spChg>
        <pc:spChg chg="add mod">
          <ac:chgData name="Ghate, Atul" userId="e633be56-9ace-423d-8883-e42d357bf4e0" providerId="ADAL" clId="{3A5FBCAB-D22B-4A62-B9AC-D0FD9523E050}" dt="2021-02-05T01:21:09.241" v="1830" actId="1036"/>
          <ac:spMkLst>
            <pc:docMk/>
            <pc:sldMk cId="3154307126" sldId="2137005736"/>
            <ac:spMk id="26" creationId="{77828D47-4009-409F-826F-CD405290953A}"/>
          </ac:spMkLst>
        </pc:spChg>
        <pc:spChg chg="add del mod">
          <ac:chgData name="Ghate, Atul" userId="e633be56-9ace-423d-8883-e42d357bf4e0" providerId="ADAL" clId="{3A5FBCAB-D22B-4A62-B9AC-D0FD9523E050}" dt="2021-02-05T00:30:43.834" v="745" actId="478"/>
          <ac:spMkLst>
            <pc:docMk/>
            <pc:sldMk cId="3154307126" sldId="2137005736"/>
            <ac:spMk id="27" creationId="{A5586754-22F3-4B37-88A1-E81ECB9AC22C}"/>
          </ac:spMkLst>
        </pc:spChg>
        <pc:spChg chg="add mod">
          <ac:chgData name="Ghate, Atul" userId="e633be56-9ace-423d-8883-e42d357bf4e0" providerId="ADAL" clId="{3A5FBCAB-D22B-4A62-B9AC-D0FD9523E050}" dt="2021-02-05T01:21:09.241" v="1830" actId="1036"/>
          <ac:spMkLst>
            <pc:docMk/>
            <pc:sldMk cId="3154307126" sldId="2137005736"/>
            <ac:spMk id="28" creationId="{278B4EF9-C8FD-4D1A-8486-35E525C31305}"/>
          </ac:spMkLst>
        </pc:spChg>
        <pc:spChg chg="add del mod">
          <ac:chgData name="Ghate, Atul" userId="e633be56-9ace-423d-8883-e42d357bf4e0" providerId="ADAL" clId="{3A5FBCAB-D22B-4A62-B9AC-D0FD9523E050}" dt="2021-02-05T00:17:55.117" v="708" actId="478"/>
          <ac:spMkLst>
            <pc:docMk/>
            <pc:sldMk cId="3154307126" sldId="2137005736"/>
            <ac:spMk id="29" creationId="{5DA0BBD6-A3FE-46CF-90D4-4715C5F11102}"/>
          </ac:spMkLst>
        </pc:spChg>
        <pc:spChg chg="add del">
          <ac:chgData name="Ghate, Atul" userId="e633be56-9ace-423d-8883-e42d357bf4e0" providerId="ADAL" clId="{3A5FBCAB-D22B-4A62-B9AC-D0FD9523E050}" dt="2021-02-05T00:34:39.781" v="757"/>
          <ac:spMkLst>
            <pc:docMk/>
            <pc:sldMk cId="3154307126" sldId="2137005736"/>
            <ac:spMk id="38" creationId="{9BFC7DBD-1DF7-4A3B-AB0F-4B732ADDA5CA}"/>
          </ac:spMkLst>
        </pc:spChg>
        <pc:spChg chg="add del">
          <ac:chgData name="Ghate, Atul" userId="e633be56-9ace-423d-8883-e42d357bf4e0" providerId="ADAL" clId="{3A5FBCAB-D22B-4A62-B9AC-D0FD9523E050}" dt="2021-02-05T00:34:39.781" v="757"/>
          <ac:spMkLst>
            <pc:docMk/>
            <pc:sldMk cId="3154307126" sldId="2137005736"/>
            <ac:spMk id="39" creationId="{AD9E3ED6-4A96-4BFC-834C-31026B858A42}"/>
          </ac:spMkLst>
        </pc:spChg>
        <pc:spChg chg="add del">
          <ac:chgData name="Ghate, Atul" userId="e633be56-9ace-423d-8883-e42d357bf4e0" providerId="ADAL" clId="{3A5FBCAB-D22B-4A62-B9AC-D0FD9523E050}" dt="2021-02-05T00:34:39.781" v="757"/>
          <ac:spMkLst>
            <pc:docMk/>
            <pc:sldMk cId="3154307126" sldId="2137005736"/>
            <ac:spMk id="41" creationId="{C343B5E6-5287-4446-B8A2-02E98F14C085}"/>
          </ac:spMkLst>
        </pc:spChg>
        <pc:spChg chg="add del">
          <ac:chgData name="Ghate, Atul" userId="e633be56-9ace-423d-8883-e42d357bf4e0" providerId="ADAL" clId="{3A5FBCAB-D22B-4A62-B9AC-D0FD9523E050}" dt="2021-02-05T00:34:56.985" v="759"/>
          <ac:spMkLst>
            <pc:docMk/>
            <pc:sldMk cId="3154307126" sldId="2137005736"/>
            <ac:spMk id="45" creationId="{182E8807-6E0D-4CD0-AF67-2956DB5B727A}"/>
          </ac:spMkLst>
        </pc:spChg>
        <pc:spChg chg="add del mod">
          <ac:chgData name="Ghate, Atul" userId="e633be56-9ace-423d-8883-e42d357bf4e0" providerId="ADAL" clId="{3A5FBCAB-D22B-4A62-B9AC-D0FD9523E050}" dt="2021-02-05T00:49:48.170" v="1087" actId="478"/>
          <ac:spMkLst>
            <pc:docMk/>
            <pc:sldMk cId="3154307126" sldId="2137005736"/>
            <ac:spMk id="47" creationId="{D904FD80-0A3E-46D1-8EA7-569CA1B24F79}"/>
          </ac:spMkLst>
        </pc:spChg>
        <pc:spChg chg="add del mod">
          <ac:chgData name="Ghate, Atul" userId="e633be56-9ace-423d-8883-e42d357bf4e0" providerId="ADAL" clId="{3A5FBCAB-D22B-4A62-B9AC-D0FD9523E050}" dt="2021-02-05T00:37:08.876" v="788" actId="478"/>
          <ac:spMkLst>
            <pc:docMk/>
            <pc:sldMk cId="3154307126" sldId="2137005736"/>
            <ac:spMk id="48" creationId="{89537750-2DC0-4D20-8F89-0C40E4C677D7}"/>
          </ac:spMkLst>
        </pc:spChg>
        <pc:spChg chg="add mod">
          <ac:chgData name="Ghate, Atul" userId="e633be56-9ace-423d-8883-e42d357bf4e0" providerId="ADAL" clId="{3A5FBCAB-D22B-4A62-B9AC-D0FD9523E050}" dt="2021-02-05T01:21:09.241" v="1830" actId="1036"/>
          <ac:spMkLst>
            <pc:docMk/>
            <pc:sldMk cId="3154307126" sldId="2137005736"/>
            <ac:spMk id="50" creationId="{38A187BD-5306-4068-BE13-119589AD3F34}"/>
          </ac:spMkLst>
        </pc:spChg>
        <pc:spChg chg="add mod">
          <ac:chgData name="Ghate, Atul" userId="e633be56-9ace-423d-8883-e42d357bf4e0" providerId="ADAL" clId="{3A5FBCAB-D22B-4A62-B9AC-D0FD9523E050}" dt="2021-02-05T01:21:09.241" v="1830" actId="1036"/>
          <ac:spMkLst>
            <pc:docMk/>
            <pc:sldMk cId="3154307126" sldId="2137005736"/>
            <ac:spMk id="52" creationId="{47865F65-A13F-4FAD-9728-230CEA46B0CA}"/>
          </ac:spMkLst>
        </pc:spChg>
        <pc:spChg chg="add del mod">
          <ac:chgData name="Ghate, Atul" userId="e633be56-9ace-423d-8883-e42d357bf4e0" providerId="ADAL" clId="{3A5FBCAB-D22B-4A62-B9AC-D0FD9523E050}" dt="2021-02-05T00:37:07.531" v="787" actId="478"/>
          <ac:spMkLst>
            <pc:docMk/>
            <pc:sldMk cId="3154307126" sldId="2137005736"/>
            <ac:spMk id="54" creationId="{25BCDC0F-C5E5-4CA5-BE6E-FF5E4A0B8449}"/>
          </ac:spMkLst>
        </pc:spChg>
        <pc:spChg chg="add mod">
          <ac:chgData name="Ghate, Atul" userId="e633be56-9ace-423d-8883-e42d357bf4e0" providerId="ADAL" clId="{3A5FBCAB-D22B-4A62-B9AC-D0FD9523E050}" dt="2021-02-05T01:21:09.241" v="1830" actId="1036"/>
          <ac:spMkLst>
            <pc:docMk/>
            <pc:sldMk cId="3154307126" sldId="2137005736"/>
            <ac:spMk id="66" creationId="{35BF2ED3-3AE6-4263-B496-BBD450F41ED3}"/>
          </ac:spMkLst>
        </pc:spChg>
        <pc:spChg chg="add del">
          <ac:chgData name="Ghate, Atul" userId="e633be56-9ace-423d-8883-e42d357bf4e0" providerId="ADAL" clId="{3A5FBCAB-D22B-4A62-B9AC-D0FD9523E050}" dt="2021-02-05T00:43:45.974" v="1078"/>
          <ac:spMkLst>
            <pc:docMk/>
            <pc:sldMk cId="3154307126" sldId="2137005736"/>
            <ac:spMk id="68" creationId="{36CCBEC0-C62B-4C36-BD1D-97C7558CD19F}"/>
          </ac:spMkLst>
        </pc:spChg>
        <pc:spChg chg="add del mod">
          <ac:chgData name="Ghate, Atul" userId="e633be56-9ace-423d-8883-e42d357bf4e0" providerId="ADAL" clId="{3A5FBCAB-D22B-4A62-B9AC-D0FD9523E050}" dt="2021-02-05T00:51:25.180" v="1102" actId="478"/>
          <ac:spMkLst>
            <pc:docMk/>
            <pc:sldMk cId="3154307126" sldId="2137005736"/>
            <ac:spMk id="70" creationId="{16CD6439-8B60-422D-969F-D650C335AFCC}"/>
          </ac:spMkLst>
        </pc:spChg>
        <pc:spChg chg="add del mod">
          <ac:chgData name="Ghate, Atul" userId="e633be56-9ace-423d-8883-e42d357bf4e0" providerId="ADAL" clId="{3A5FBCAB-D22B-4A62-B9AC-D0FD9523E050}" dt="2021-02-05T00:58:43.464" v="1224" actId="478"/>
          <ac:spMkLst>
            <pc:docMk/>
            <pc:sldMk cId="3154307126" sldId="2137005736"/>
            <ac:spMk id="71" creationId="{000A7D90-B997-4A50-9F8A-D94764728251}"/>
          </ac:spMkLst>
        </pc:spChg>
        <pc:spChg chg="add del mod">
          <ac:chgData name="Ghate, Atul" userId="e633be56-9ace-423d-8883-e42d357bf4e0" providerId="ADAL" clId="{3A5FBCAB-D22B-4A62-B9AC-D0FD9523E050}" dt="2021-02-05T01:03:22.343" v="1411" actId="478"/>
          <ac:spMkLst>
            <pc:docMk/>
            <pc:sldMk cId="3154307126" sldId="2137005736"/>
            <ac:spMk id="72" creationId="{7986D556-9EDC-46B2-8C92-D1B7F43B3019}"/>
          </ac:spMkLst>
        </pc:spChg>
        <pc:spChg chg="add del mod">
          <ac:chgData name="Ghate, Atul" userId="e633be56-9ace-423d-8883-e42d357bf4e0" providerId="ADAL" clId="{3A5FBCAB-D22B-4A62-B9AC-D0FD9523E050}" dt="2021-02-05T01:07:17.749" v="1449" actId="478"/>
          <ac:spMkLst>
            <pc:docMk/>
            <pc:sldMk cId="3154307126" sldId="2137005736"/>
            <ac:spMk id="73" creationId="{2AA6AFEA-4389-4680-A144-9A868CF34F37}"/>
          </ac:spMkLst>
        </pc:spChg>
        <pc:spChg chg="add del mod">
          <ac:chgData name="Ghate, Atul" userId="e633be56-9ace-423d-8883-e42d357bf4e0" providerId="ADAL" clId="{3A5FBCAB-D22B-4A62-B9AC-D0FD9523E050}" dt="2021-02-05T00:58:02.847" v="1171" actId="478"/>
          <ac:spMkLst>
            <pc:docMk/>
            <pc:sldMk cId="3154307126" sldId="2137005736"/>
            <ac:spMk id="77" creationId="{702CA441-7F84-41D1-BE12-4A0B764CE867}"/>
          </ac:spMkLst>
        </pc:spChg>
        <pc:spChg chg="add mod">
          <ac:chgData name="Ghate, Atul" userId="e633be56-9ace-423d-8883-e42d357bf4e0" providerId="ADAL" clId="{3A5FBCAB-D22B-4A62-B9AC-D0FD9523E050}" dt="2021-02-05T01:21:09.241" v="1830" actId="1036"/>
          <ac:spMkLst>
            <pc:docMk/>
            <pc:sldMk cId="3154307126" sldId="2137005736"/>
            <ac:spMk id="78" creationId="{9E012AD0-9DDE-4F7F-B2F5-1AD6E90394ED}"/>
          </ac:spMkLst>
        </pc:spChg>
        <pc:spChg chg="add mod">
          <ac:chgData name="Ghate, Atul" userId="e633be56-9ace-423d-8883-e42d357bf4e0" providerId="ADAL" clId="{3A5FBCAB-D22B-4A62-B9AC-D0FD9523E050}" dt="2021-02-05T01:21:09.241" v="1830" actId="1036"/>
          <ac:spMkLst>
            <pc:docMk/>
            <pc:sldMk cId="3154307126" sldId="2137005736"/>
            <ac:spMk id="79" creationId="{2E6A6889-6A2E-44B4-9BE3-A4CDA14584C3}"/>
          </ac:spMkLst>
        </pc:spChg>
        <pc:spChg chg="add del mod">
          <ac:chgData name="Ghate, Atul" userId="e633be56-9ace-423d-8883-e42d357bf4e0" providerId="ADAL" clId="{3A5FBCAB-D22B-4A62-B9AC-D0FD9523E050}" dt="2021-02-05T01:01:43.251" v="1320" actId="478"/>
          <ac:spMkLst>
            <pc:docMk/>
            <pc:sldMk cId="3154307126" sldId="2137005736"/>
            <ac:spMk id="80" creationId="{C561CF5A-EDAA-4C4D-834B-9E67A5CDFF72}"/>
          </ac:spMkLst>
        </pc:spChg>
        <pc:spChg chg="add mod">
          <ac:chgData name="Ghate, Atul" userId="e633be56-9ace-423d-8883-e42d357bf4e0" providerId="ADAL" clId="{3A5FBCAB-D22B-4A62-B9AC-D0FD9523E050}" dt="2021-02-05T01:21:09.241" v="1830" actId="1036"/>
          <ac:spMkLst>
            <pc:docMk/>
            <pc:sldMk cId="3154307126" sldId="2137005736"/>
            <ac:spMk id="81" creationId="{5AF615B0-FA2A-4045-8B79-D87374543332}"/>
          </ac:spMkLst>
        </pc:spChg>
        <pc:spChg chg="add mod">
          <ac:chgData name="Ghate, Atul" userId="e633be56-9ace-423d-8883-e42d357bf4e0" providerId="ADAL" clId="{3A5FBCAB-D22B-4A62-B9AC-D0FD9523E050}" dt="2021-02-05T01:21:09.241" v="1830" actId="1036"/>
          <ac:spMkLst>
            <pc:docMk/>
            <pc:sldMk cId="3154307126" sldId="2137005736"/>
            <ac:spMk id="82" creationId="{CCD16E71-058B-4B33-82E5-208F815BBB20}"/>
          </ac:spMkLst>
        </pc:spChg>
        <pc:spChg chg="add mod">
          <ac:chgData name="Ghate, Atul" userId="e633be56-9ace-423d-8883-e42d357bf4e0" providerId="ADAL" clId="{3A5FBCAB-D22B-4A62-B9AC-D0FD9523E050}" dt="2021-02-05T01:21:09.241" v="1830" actId="1036"/>
          <ac:spMkLst>
            <pc:docMk/>
            <pc:sldMk cId="3154307126" sldId="2137005736"/>
            <ac:spMk id="83" creationId="{9E145E41-6705-41DD-879C-98657B935421}"/>
          </ac:spMkLst>
        </pc:spChg>
        <pc:spChg chg="add del">
          <ac:chgData name="Ghate, Atul" userId="e633be56-9ace-423d-8883-e42d357bf4e0" providerId="ADAL" clId="{3A5FBCAB-D22B-4A62-B9AC-D0FD9523E050}" dt="2021-02-05T01:07:22.637" v="1451"/>
          <ac:spMkLst>
            <pc:docMk/>
            <pc:sldMk cId="3154307126" sldId="2137005736"/>
            <ac:spMk id="85" creationId="{FFA83493-C4E9-43FD-BAE2-82ED21282930}"/>
          </ac:spMkLst>
        </pc:spChg>
        <pc:spChg chg="add mod">
          <ac:chgData name="Ghate, Atul" userId="e633be56-9ace-423d-8883-e42d357bf4e0" providerId="ADAL" clId="{3A5FBCAB-D22B-4A62-B9AC-D0FD9523E050}" dt="2021-02-05T01:21:09.241" v="1830" actId="1036"/>
          <ac:spMkLst>
            <pc:docMk/>
            <pc:sldMk cId="3154307126" sldId="2137005736"/>
            <ac:spMk id="86" creationId="{505F41D3-CD86-49F3-A0EE-A4562ECD1129}"/>
          </ac:spMkLst>
        </pc:spChg>
        <pc:spChg chg="add mod">
          <ac:chgData name="Ghate, Atul" userId="e633be56-9ace-423d-8883-e42d357bf4e0" providerId="ADAL" clId="{3A5FBCAB-D22B-4A62-B9AC-D0FD9523E050}" dt="2021-02-05T01:21:09.241" v="1830" actId="1036"/>
          <ac:spMkLst>
            <pc:docMk/>
            <pc:sldMk cId="3154307126" sldId="2137005736"/>
            <ac:spMk id="87" creationId="{3A838BF2-02E3-4EA5-AB6C-4534189BD773}"/>
          </ac:spMkLst>
        </pc:spChg>
        <pc:spChg chg="add mod">
          <ac:chgData name="Ghate, Atul" userId="e633be56-9ace-423d-8883-e42d357bf4e0" providerId="ADAL" clId="{3A5FBCAB-D22B-4A62-B9AC-D0FD9523E050}" dt="2021-02-05T01:24:15.549" v="1972" actId="1076"/>
          <ac:spMkLst>
            <pc:docMk/>
            <pc:sldMk cId="3154307126" sldId="2137005736"/>
            <ac:spMk id="97" creationId="{4C907165-3AF1-496C-A9FD-7B858E48F8CE}"/>
          </ac:spMkLst>
        </pc:spChg>
        <pc:spChg chg="add del">
          <ac:chgData name="Ghate, Atul" userId="e633be56-9ace-423d-8883-e42d357bf4e0" providerId="ADAL" clId="{3A5FBCAB-D22B-4A62-B9AC-D0FD9523E050}" dt="2021-02-05T01:18:16.129" v="1615"/>
          <ac:spMkLst>
            <pc:docMk/>
            <pc:sldMk cId="3154307126" sldId="2137005736"/>
            <ac:spMk id="100" creationId="{352F3CAE-7A6F-4A5E-BE72-58EEC80F3CF7}"/>
          </ac:spMkLst>
        </pc:spChg>
        <pc:spChg chg="add mod">
          <ac:chgData name="Ghate, Atul" userId="e633be56-9ace-423d-8883-e42d357bf4e0" providerId="ADAL" clId="{3A5FBCAB-D22B-4A62-B9AC-D0FD9523E050}" dt="2021-02-05T01:22:50.795" v="1958" actId="20577"/>
          <ac:spMkLst>
            <pc:docMk/>
            <pc:sldMk cId="3154307126" sldId="2137005736"/>
            <ac:spMk id="101" creationId="{EFDB4057-00A2-4037-A4C2-9E9115D6E761}"/>
          </ac:spMkLst>
        </pc:spChg>
        <pc:spChg chg="add mod">
          <ac:chgData name="Ghate, Atul" userId="e633be56-9ace-423d-8883-e42d357bf4e0" providerId="ADAL" clId="{3A5FBCAB-D22B-4A62-B9AC-D0FD9523E050}" dt="2021-02-05T03:06:02.553" v="2137" actId="20577"/>
          <ac:spMkLst>
            <pc:docMk/>
            <pc:sldMk cId="3154307126" sldId="2137005736"/>
            <ac:spMk id="102" creationId="{760B1320-168D-4DDA-82FE-EC47084CD8A6}"/>
          </ac:spMkLst>
        </pc:spChg>
        <pc:spChg chg="add del">
          <ac:chgData name="Ghate, Atul" userId="e633be56-9ace-423d-8883-e42d357bf4e0" providerId="ADAL" clId="{3A5FBCAB-D22B-4A62-B9AC-D0FD9523E050}" dt="2021-02-05T00:40:02.502" v="961"/>
          <ac:spMkLst>
            <pc:docMk/>
            <pc:sldMk cId="3154307126" sldId="2137005736"/>
            <ac:spMk id="31754" creationId="{C832CC6B-EF23-4816-84E7-C26C28AB47A9}"/>
          </ac:spMkLst>
        </pc:spChg>
        <pc:spChg chg="add del mod">
          <ac:chgData name="Ghate, Atul" userId="e633be56-9ace-423d-8883-e42d357bf4e0" providerId="ADAL" clId="{3A5FBCAB-D22B-4A62-B9AC-D0FD9523E050}" dt="2021-02-05T00:58:08.514" v="1174" actId="478"/>
          <ac:spMkLst>
            <pc:docMk/>
            <pc:sldMk cId="3154307126" sldId="2137005736"/>
            <ac:spMk id="31756" creationId="{70C4A7DC-6D02-433E-B646-A6994C873B44}"/>
          </ac:spMkLst>
        </pc:spChg>
        <pc:spChg chg="add del mod">
          <ac:chgData name="Ghate, Atul" userId="e633be56-9ace-423d-8883-e42d357bf4e0" providerId="ADAL" clId="{3A5FBCAB-D22B-4A62-B9AC-D0FD9523E050}" dt="2021-02-05T01:18:17.859" v="1616"/>
          <ac:spMkLst>
            <pc:docMk/>
            <pc:sldMk cId="3154307126" sldId="2137005736"/>
            <ac:spMk id="31760" creationId="{AFECFC87-5F04-4820-BCEB-E5F3B955D637}"/>
          </ac:spMkLst>
        </pc:spChg>
        <pc:grpChg chg="add del mod">
          <ac:chgData name="Ghate, Atul" userId="e633be56-9ace-423d-8883-e42d357bf4e0" providerId="ADAL" clId="{3A5FBCAB-D22B-4A62-B9AC-D0FD9523E050}" dt="2021-02-05T00:12:23.772" v="519" actId="165"/>
          <ac:grpSpMkLst>
            <pc:docMk/>
            <pc:sldMk cId="3154307126" sldId="2137005736"/>
            <ac:grpSpMk id="8" creationId="{BC3D6EA6-6434-4296-8D09-4BA09000B035}"/>
          </ac:grpSpMkLst>
        </pc:grpChg>
        <pc:grpChg chg="add mod">
          <ac:chgData name="Ghate, Atul" userId="e633be56-9ace-423d-8883-e42d357bf4e0" providerId="ADAL" clId="{3A5FBCAB-D22B-4A62-B9AC-D0FD9523E050}" dt="2021-02-05T01:21:09.241" v="1830" actId="1036"/>
          <ac:grpSpMkLst>
            <pc:docMk/>
            <pc:sldMk cId="3154307126" sldId="2137005736"/>
            <ac:grpSpMk id="21" creationId="{F4405F76-9A6B-4E03-A4ED-A31AF00F16F0}"/>
          </ac:grpSpMkLst>
        </pc:grpChg>
        <pc:grpChg chg="add mod">
          <ac:chgData name="Ghate, Atul" userId="e633be56-9ace-423d-8883-e42d357bf4e0" providerId="ADAL" clId="{3A5FBCAB-D22B-4A62-B9AC-D0FD9523E050}" dt="2021-02-05T01:21:09.241" v="1830" actId="1036"/>
          <ac:grpSpMkLst>
            <pc:docMk/>
            <pc:sldMk cId="3154307126" sldId="2137005736"/>
            <ac:grpSpMk id="31758" creationId="{A8C9317B-ECB4-4125-81B0-5472DB401C64}"/>
          </ac:grpSpMkLst>
        </pc:grpChg>
        <pc:picChg chg="add del mod">
          <ac:chgData name="Ghate, Atul" userId="e633be56-9ace-423d-8883-e42d357bf4e0" providerId="ADAL" clId="{3A5FBCAB-D22B-4A62-B9AC-D0FD9523E050}" dt="2021-02-04T18:56:49.250" v="365" actId="478"/>
          <ac:picMkLst>
            <pc:docMk/>
            <pc:sldMk cId="3154307126" sldId="2137005736"/>
            <ac:picMk id="19" creationId="{CA0E4BC1-DD27-4DAC-B9ED-1FA203E4AD1D}"/>
          </ac:picMkLst>
        </pc:picChg>
        <pc:picChg chg="add del mod">
          <ac:chgData name="Ghate, Atul" userId="e633be56-9ace-423d-8883-e42d357bf4e0" providerId="ADAL" clId="{3A5FBCAB-D22B-4A62-B9AC-D0FD9523E050}" dt="2021-02-05T00:27:37.987" v="738" actId="478"/>
          <ac:picMkLst>
            <pc:docMk/>
            <pc:sldMk cId="3154307126" sldId="2137005736"/>
            <ac:picMk id="31" creationId="{0F5EF1C9-EDBA-407E-AA2B-3ADB1C05457B}"/>
          </ac:picMkLst>
        </pc:picChg>
        <pc:picChg chg="add del">
          <ac:chgData name="Ghate, Atul" userId="e633be56-9ace-423d-8883-e42d357bf4e0" providerId="ADAL" clId="{3A5FBCAB-D22B-4A62-B9AC-D0FD9523E050}" dt="2021-02-05T00:34:39.781" v="757"/>
          <ac:picMkLst>
            <pc:docMk/>
            <pc:sldMk cId="3154307126" sldId="2137005736"/>
            <ac:picMk id="40" creationId="{8F78E02D-756A-4239-A83E-D60435982362}"/>
          </ac:picMkLst>
        </pc:picChg>
        <pc:picChg chg="add del">
          <ac:chgData name="Ghate, Atul" userId="e633be56-9ace-423d-8883-e42d357bf4e0" providerId="ADAL" clId="{3A5FBCAB-D22B-4A62-B9AC-D0FD9523E050}" dt="2021-02-05T00:34:39.781" v="757"/>
          <ac:picMkLst>
            <pc:docMk/>
            <pc:sldMk cId="3154307126" sldId="2137005736"/>
            <ac:picMk id="42" creationId="{3C9FDC61-7F78-4A0F-B1D5-AE7C2FF392D5}"/>
          </ac:picMkLst>
        </pc:picChg>
        <pc:picChg chg="add del">
          <ac:chgData name="Ghate, Atul" userId="e633be56-9ace-423d-8883-e42d357bf4e0" providerId="ADAL" clId="{3A5FBCAB-D22B-4A62-B9AC-D0FD9523E050}" dt="2021-02-05T00:34:39.781" v="757"/>
          <ac:picMkLst>
            <pc:docMk/>
            <pc:sldMk cId="3154307126" sldId="2137005736"/>
            <ac:picMk id="43" creationId="{F65F696E-B8EF-4B52-8614-90FD0B96BB12}"/>
          </ac:picMkLst>
        </pc:picChg>
        <pc:picChg chg="add del">
          <ac:chgData name="Ghate, Atul" userId="e633be56-9ace-423d-8883-e42d357bf4e0" providerId="ADAL" clId="{3A5FBCAB-D22B-4A62-B9AC-D0FD9523E050}" dt="2021-02-05T00:34:39.781" v="757"/>
          <ac:picMkLst>
            <pc:docMk/>
            <pc:sldMk cId="3154307126" sldId="2137005736"/>
            <ac:picMk id="44" creationId="{E0ECDE1D-18F7-4DA0-8FDC-C01895C3D8B6}"/>
          </ac:picMkLst>
        </pc:picChg>
        <pc:picChg chg="add del mod">
          <ac:chgData name="Ghate, Atul" userId="e633be56-9ace-423d-8883-e42d357bf4e0" providerId="ADAL" clId="{3A5FBCAB-D22B-4A62-B9AC-D0FD9523E050}" dt="2021-02-05T00:36:35.660" v="777" actId="478"/>
          <ac:picMkLst>
            <pc:docMk/>
            <pc:sldMk cId="3154307126" sldId="2137005736"/>
            <ac:picMk id="49" creationId="{A544D1E1-DE91-4300-B6B6-72B3BAF5B361}"/>
          </ac:picMkLst>
        </pc:picChg>
        <pc:picChg chg="add del mod">
          <ac:chgData name="Ghate, Atul" userId="e633be56-9ace-423d-8883-e42d357bf4e0" providerId="ADAL" clId="{3A5FBCAB-D22B-4A62-B9AC-D0FD9523E050}" dt="2021-02-05T00:36:34.908" v="776" actId="478"/>
          <ac:picMkLst>
            <pc:docMk/>
            <pc:sldMk cId="3154307126" sldId="2137005736"/>
            <ac:picMk id="51" creationId="{6F24AAC2-B472-4DFF-9624-50C4983FE6BE}"/>
          </ac:picMkLst>
        </pc:picChg>
        <pc:picChg chg="add del mod">
          <ac:chgData name="Ghate, Atul" userId="e633be56-9ace-423d-8883-e42d357bf4e0" providerId="ADAL" clId="{3A5FBCAB-D22B-4A62-B9AC-D0FD9523E050}" dt="2021-02-05T00:36:33.317" v="774" actId="478"/>
          <ac:picMkLst>
            <pc:docMk/>
            <pc:sldMk cId="3154307126" sldId="2137005736"/>
            <ac:picMk id="53" creationId="{B3A92A91-C835-4D22-8678-D4BCC0FC2301}"/>
          </ac:picMkLst>
        </pc:picChg>
        <pc:picChg chg="add del mod">
          <ac:chgData name="Ghate, Atul" userId="e633be56-9ace-423d-8883-e42d357bf4e0" providerId="ADAL" clId="{3A5FBCAB-D22B-4A62-B9AC-D0FD9523E050}" dt="2021-02-05T00:36:34.142" v="775" actId="478"/>
          <ac:picMkLst>
            <pc:docMk/>
            <pc:sldMk cId="3154307126" sldId="2137005736"/>
            <ac:picMk id="55" creationId="{6536BA31-D84B-4FFF-99A0-76677A51696C}"/>
          </ac:picMkLst>
        </pc:picChg>
        <pc:picChg chg="add mod">
          <ac:chgData name="Ghate, Atul" userId="e633be56-9ace-423d-8883-e42d357bf4e0" providerId="ADAL" clId="{3A5FBCAB-D22B-4A62-B9AC-D0FD9523E050}" dt="2021-02-05T01:21:09.241" v="1830" actId="1036"/>
          <ac:picMkLst>
            <pc:docMk/>
            <pc:sldMk cId="3154307126" sldId="2137005736"/>
            <ac:picMk id="84" creationId="{062F26D5-1FCA-42A0-B41F-78FCC91ABE4D}"/>
          </ac:picMkLst>
        </pc:picChg>
        <pc:picChg chg="add mod">
          <ac:chgData name="Ghate, Atul" userId="e633be56-9ace-423d-8883-e42d357bf4e0" providerId="ADAL" clId="{3A5FBCAB-D22B-4A62-B9AC-D0FD9523E050}" dt="2021-02-05T01:15:09.383" v="1530" actId="164"/>
          <ac:picMkLst>
            <pc:docMk/>
            <pc:sldMk cId="3154307126" sldId="2137005736"/>
            <ac:picMk id="89" creationId="{506E108F-CEA3-4945-BB38-996659B7323B}"/>
          </ac:picMkLst>
        </pc:picChg>
        <pc:picChg chg="add mod">
          <ac:chgData name="Ghate, Atul" userId="e633be56-9ace-423d-8883-e42d357bf4e0" providerId="ADAL" clId="{3A5FBCAB-D22B-4A62-B9AC-D0FD9523E050}" dt="2021-02-05T01:15:09.383" v="1530" actId="164"/>
          <ac:picMkLst>
            <pc:docMk/>
            <pc:sldMk cId="3154307126" sldId="2137005736"/>
            <ac:picMk id="90" creationId="{CE363A92-8A4D-4F3C-BD0F-753037C1C82D}"/>
          </ac:picMkLst>
        </pc:picChg>
        <pc:picChg chg="add mod">
          <ac:chgData name="Ghate, Atul" userId="e633be56-9ace-423d-8883-e42d357bf4e0" providerId="ADAL" clId="{3A5FBCAB-D22B-4A62-B9AC-D0FD9523E050}" dt="2021-02-05T01:15:09.383" v="1530" actId="164"/>
          <ac:picMkLst>
            <pc:docMk/>
            <pc:sldMk cId="3154307126" sldId="2137005736"/>
            <ac:picMk id="91" creationId="{FF9A502F-07DA-44AB-8D4B-832DE58164C6}"/>
          </ac:picMkLst>
        </pc:picChg>
        <pc:picChg chg="add mod">
          <ac:chgData name="Ghate, Atul" userId="e633be56-9ace-423d-8883-e42d357bf4e0" providerId="ADAL" clId="{3A5FBCAB-D22B-4A62-B9AC-D0FD9523E050}" dt="2021-02-05T01:15:09.383" v="1530" actId="164"/>
          <ac:picMkLst>
            <pc:docMk/>
            <pc:sldMk cId="3154307126" sldId="2137005736"/>
            <ac:picMk id="92" creationId="{E5366D52-4FFA-4D80-87F6-C1282C41B82F}"/>
          </ac:picMkLst>
        </pc:picChg>
        <pc:picChg chg="add mod ord">
          <ac:chgData name="Ghate, Atul" userId="e633be56-9ace-423d-8883-e42d357bf4e0" providerId="ADAL" clId="{3A5FBCAB-D22B-4A62-B9AC-D0FD9523E050}" dt="2021-02-05T01:21:09.241" v="1830" actId="1036"/>
          <ac:picMkLst>
            <pc:docMk/>
            <pc:sldMk cId="3154307126" sldId="2137005736"/>
            <ac:picMk id="31745" creationId="{A7584C1F-77DB-4FB5-BA6A-B4EC295DDEF3}"/>
          </ac:picMkLst>
        </pc:picChg>
        <pc:picChg chg="add del mod">
          <ac:chgData name="Ghate, Atul" userId="e633be56-9ace-423d-8883-e42d357bf4e0" providerId="ADAL" clId="{3A5FBCAB-D22B-4A62-B9AC-D0FD9523E050}" dt="2021-02-04T19:01:27.843" v="405" actId="478"/>
          <ac:picMkLst>
            <pc:docMk/>
            <pc:sldMk cId="3154307126" sldId="2137005736"/>
            <ac:picMk id="31746" creationId="{11926937-A6E2-4A43-A41A-2AEDB8F2A7D6}"/>
          </ac:picMkLst>
        </pc:picChg>
        <pc:picChg chg="add del mod">
          <ac:chgData name="Ghate, Atul" userId="e633be56-9ace-423d-8883-e42d357bf4e0" providerId="ADAL" clId="{3A5FBCAB-D22B-4A62-B9AC-D0FD9523E050}" dt="2021-02-05T00:20:35.274" v="711" actId="478"/>
          <ac:picMkLst>
            <pc:docMk/>
            <pc:sldMk cId="3154307126" sldId="2137005736"/>
            <ac:picMk id="31748" creationId="{4C6200D0-300F-4F28-B8BF-76CE4B73649B}"/>
          </ac:picMkLst>
        </pc:picChg>
        <pc:picChg chg="add del mod">
          <ac:chgData name="Ghate, Atul" userId="e633be56-9ace-423d-8883-e42d357bf4e0" providerId="ADAL" clId="{3A5FBCAB-D22B-4A62-B9AC-D0FD9523E050}" dt="2021-02-05T00:21:14.076" v="720" actId="478"/>
          <ac:picMkLst>
            <pc:docMk/>
            <pc:sldMk cId="3154307126" sldId="2137005736"/>
            <ac:picMk id="31750" creationId="{7018EBE9-A33E-4780-8953-4326A7038C9D}"/>
          </ac:picMkLst>
        </pc:picChg>
        <pc:picChg chg="add del mod">
          <ac:chgData name="Ghate, Atul" userId="e633be56-9ace-423d-8883-e42d357bf4e0" providerId="ADAL" clId="{3A5FBCAB-D22B-4A62-B9AC-D0FD9523E050}" dt="2021-02-05T00:31:23.267" v="752" actId="478"/>
          <ac:picMkLst>
            <pc:docMk/>
            <pc:sldMk cId="3154307126" sldId="2137005736"/>
            <ac:picMk id="31752" creationId="{CF9837B6-253A-4462-9A61-555E9013D42B}"/>
          </ac:picMkLst>
        </pc:picChg>
        <pc:cxnChg chg="add del">
          <ac:chgData name="Ghate, Atul" userId="e633be56-9ace-423d-8883-e42d357bf4e0" providerId="ADAL" clId="{3A5FBCAB-D22B-4A62-B9AC-D0FD9523E050}" dt="2021-02-05T00:36:09.225" v="769" actId="478"/>
          <ac:cxnSpMkLst>
            <pc:docMk/>
            <pc:sldMk cId="3154307126" sldId="2137005736"/>
            <ac:cxnSpMk id="46" creationId="{4D2C0B31-A641-4ECF-863A-F4EC00903E69}"/>
          </ac:cxnSpMkLst>
        </pc:cxnChg>
        <pc:cxnChg chg="add del mod">
          <ac:chgData name="Ghate, Atul" userId="e633be56-9ace-423d-8883-e42d357bf4e0" providerId="ADAL" clId="{3A5FBCAB-D22B-4A62-B9AC-D0FD9523E050}" dt="2021-02-05T00:36:56.074" v="782" actId="478"/>
          <ac:cxnSpMkLst>
            <pc:docMk/>
            <pc:sldMk cId="3154307126" sldId="2137005736"/>
            <ac:cxnSpMk id="56" creationId="{B1EE57F7-E65C-4040-903B-04AD55A83CC3}"/>
          </ac:cxnSpMkLst>
        </pc:cxnChg>
        <pc:cxnChg chg="add mod">
          <ac:chgData name="Ghate, Atul" userId="e633be56-9ace-423d-8883-e42d357bf4e0" providerId="ADAL" clId="{3A5FBCAB-D22B-4A62-B9AC-D0FD9523E050}" dt="2021-02-05T01:21:09.241" v="1830" actId="1036"/>
          <ac:cxnSpMkLst>
            <pc:docMk/>
            <pc:sldMk cId="3154307126" sldId="2137005736"/>
            <ac:cxnSpMk id="57" creationId="{6838E3A7-5271-4584-82EF-841027F0D90B}"/>
          </ac:cxnSpMkLst>
        </pc:cxnChg>
        <pc:cxnChg chg="add del mod">
          <ac:chgData name="Ghate, Atul" userId="e633be56-9ace-423d-8883-e42d357bf4e0" providerId="ADAL" clId="{3A5FBCAB-D22B-4A62-B9AC-D0FD9523E050}" dt="2021-02-05T00:38:24.341" v="862" actId="478"/>
          <ac:cxnSpMkLst>
            <pc:docMk/>
            <pc:sldMk cId="3154307126" sldId="2137005736"/>
            <ac:cxnSpMk id="60" creationId="{21B13E08-C4D5-4937-BAF7-21D676773A6E}"/>
          </ac:cxnSpMkLst>
        </pc:cxnChg>
        <pc:cxnChg chg="add mod">
          <ac:chgData name="Ghate, Atul" userId="e633be56-9ace-423d-8883-e42d357bf4e0" providerId="ADAL" clId="{3A5FBCAB-D22B-4A62-B9AC-D0FD9523E050}" dt="2021-02-05T01:21:09.241" v="1830" actId="1036"/>
          <ac:cxnSpMkLst>
            <pc:docMk/>
            <pc:sldMk cId="3154307126" sldId="2137005736"/>
            <ac:cxnSpMk id="63" creationId="{F21703EA-B8FD-4579-A0DE-AE5C6A03C990}"/>
          </ac:cxnSpMkLst>
        </pc:cxnChg>
        <pc:cxnChg chg="add mod">
          <ac:chgData name="Ghate, Atul" userId="e633be56-9ace-423d-8883-e42d357bf4e0" providerId="ADAL" clId="{3A5FBCAB-D22B-4A62-B9AC-D0FD9523E050}" dt="2021-02-05T01:21:09.241" v="1830" actId="1036"/>
          <ac:cxnSpMkLst>
            <pc:docMk/>
            <pc:sldMk cId="3154307126" sldId="2137005736"/>
            <ac:cxnSpMk id="64" creationId="{44348907-7DDB-468D-87CD-AC6BF66B61D1}"/>
          </ac:cxnSpMkLst>
        </pc:cxnChg>
        <pc:cxnChg chg="add del mod">
          <ac:chgData name="Ghate, Atul" userId="e633be56-9ace-423d-8883-e42d357bf4e0" providerId="ADAL" clId="{3A5FBCAB-D22B-4A62-B9AC-D0FD9523E050}" dt="2021-02-05T00:56:53.830" v="1156" actId="478"/>
          <ac:cxnSpMkLst>
            <pc:docMk/>
            <pc:sldMk cId="3154307126" sldId="2137005736"/>
            <ac:cxnSpMk id="74" creationId="{2D6F6678-31B1-487A-A8C6-662DE824BC4B}"/>
          </ac:cxnSpMkLst>
        </pc:cxnChg>
        <pc:cxnChg chg="add mod">
          <ac:chgData name="Ghate, Atul" userId="e633be56-9ace-423d-8883-e42d357bf4e0" providerId="ADAL" clId="{3A5FBCAB-D22B-4A62-B9AC-D0FD9523E050}" dt="2021-02-05T01:21:09.241" v="1830" actId="1036"/>
          <ac:cxnSpMkLst>
            <pc:docMk/>
            <pc:sldMk cId="3154307126" sldId="2137005736"/>
            <ac:cxnSpMk id="76" creationId="{69341622-832B-454D-870C-2D4B22C5E5BA}"/>
          </ac:cxnSpMkLst>
        </pc:cxnChg>
        <pc:cxnChg chg="add mod">
          <ac:chgData name="Ghate, Atul" userId="e633be56-9ace-423d-8883-e42d357bf4e0" providerId="ADAL" clId="{3A5FBCAB-D22B-4A62-B9AC-D0FD9523E050}" dt="2021-02-05T01:21:09.241" v="1830" actId="1036"/>
          <ac:cxnSpMkLst>
            <pc:docMk/>
            <pc:sldMk cId="3154307126" sldId="2137005736"/>
            <ac:cxnSpMk id="88" creationId="{B5CD6226-1D85-4384-8EB7-A3ED312E38F5}"/>
          </ac:cxnSpMkLst>
        </pc:cxnChg>
        <pc:cxnChg chg="add mod">
          <ac:chgData name="Ghate, Atul" userId="e633be56-9ace-423d-8883-e42d357bf4e0" providerId="ADAL" clId="{3A5FBCAB-D22B-4A62-B9AC-D0FD9523E050}" dt="2021-02-05T01:15:09.383" v="1530" actId="164"/>
          <ac:cxnSpMkLst>
            <pc:docMk/>
            <pc:sldMk cId="3154307126" sldId="2137005736"/>
            <ac:cxnSpMk id="93" creationId="{4B2A757E-42E6-4D60-A228-14C7C0FBC102}"/>
          </ac:cxnSpMkLst>
        </pc:cxnChg>
        <pc:cxnChg chg="add mod">
          <ac:chgData name="Ghate, Atul" userId="e633be56-9ace-423d-8883-e42d357bf4e0" providerId="ADAL" clId="{3A5FBCAB-D22B-4A62-B9AC-D0FD9523E050}" dt="2021-02-05T01:15:09.383" v="1530" actId="164"/>
          <ac:cxnSpMkLst>
            <pc:docMk/>
            <pc:sldMk cId="3154307126" sldId="2137005736"/>
            <ac:cxnSpMk id="94" creationId="{8F594F94-2589-42E1-9FBC-6EED6E99294B}"/>
          </ac:cxnSpMkLst>
        </pc:cxnChg>
        <pc:cxnChg chg="add mod">
          <ac:chgData name="Ghate, Atul" userId="e633be56-9ace-423d-8883-e42d357bf4e0" providerId="ADAL" clId="{3A5FBCAB-D22B-4A62-B9AC-D0FD9523E050}" dt="2021-02-05T01:15:09.383" v="1530" actId="164"/>
          <ac:cxnSpMkLst>
            <pc:docMk/>
            <pc:sldMk cId="3154307126" sldId="2137005736"/>
            <ac:cxnSpMk id="95" creationId="{8B505A17-99BE-4AAA-B12D-346577191FA8}"/>
          </ac:cxnSpMkLst>
        </pc:cxnChg>
      </pc:sldChg>
      <pc:sldMasterChg chg="delSldLayout">
        <pc:chgData name="Ghate, Atul" userId="e633be56-9ace-423d-8883-e42d357bf4e0" providerId="ADAL" clId="{3A5FBCAB-D22B-4A62-B9AC-D0FD9523E050}" dt="2021-02-04T18:52:30.205" v="307" actId="2696"/>
        <pc:sldMasterMkLst>
          <pc:docMk/>
          <pc:sldMasterMk cId="2327657252" sldId="2147483702"/>
        </pc:sldMasterMkLst>
        <pc:sldLayoutChg chg="del">
          <pc:chgData name="Ghate, Atul" userId="e633be56-9ace-423d-8883-e42d357bf4e0" providerId="ADAL" clId="{3A5FBCAB-D22B-4A62-B9AC-D0FD9523E050}" dt="2021-02-04T18:52:30.205" v="307" actId="2696"/>
          <pc:sldLayoutMkLst>
            <pc:docMk/>
            <pc:sldMasterMk cId="2327657252" sldId="2147483702"/>
            <pc:sldLayoutMk cId="3049547935" sldId="2147483716"/>
          </pc:sldLayoutMkLst>
        </pc:sldLayoutChg>
      </pc:sldMasterChg>
      <pc:sldMasterChg chg="del delSldLayout">
        <pc:chgData name="Ghate, Atul" userId="e633be56-9ace-423d-8883-e42d357bf4e0" providerId="ADAL" clId="{3A5FBCAB-D22B-4A62-B9AC-D0FD9523E050}" dt="2021-02-04T19:09:14.814" v="486" actId="2696"/>
        <pc:sldMasterMkLst>
          <pc:docMk/>
          <pc:sldMasterMk cId="3533995890" sldId="2147483721"/>
        </pc:sldMasterMkLst>
        <pc:sldLayoutChg chg="del">
          <pc:chgData name="Ghate, Atul" userId="e633be56-9ace-423d-8883-e42d357bf4e0" providerId="ADAL" clId="{3A5FBCAB-D22B-4A62-B9AC-D0FD9523E050}" dt="2021-02-04T19:09:14.798" v="471" actId="2696"/>
          <pc:sldLayoutMkLst>
            <pc:docMk/>
            <pc:sldMasterMk cId="3533995890" sldId="2147483721"/>
            <pc:sldLayoutMk cId="2389170170" sldId="2147483722"/>
          </pc:sldLayoutMkLst>
        </pc:sldLayoutChg>
        <pc:sldLayoutChg chg="del">
          <pc:chgData name="Ghate, Atul" userId="e633be56-9ace-423d-8883-e42d357bf4e0" providerId="ADAL" clId="{3A5FBCAB-D22B-4A62-B9AC-D0FD9523E050}" dt="2021-02-04T19:09:14.799" v="472" actId="2696"/>
          <pc:sldLayoutMkLst>
            <pc:docMk/>
            <pc:sldMasterMk cId="3533995890" sldId="2147483721"/>
            <pc:sldLayoutMk cId="3601063118" sldId="2147483723"/>
          </pc:sldLayoutMkLst>
        </pc:sldLayoutChg>
        <pc:sldLayoutChg chg="del">
          <pc:chgData name="Ghate, Atul" userId="e633be56-9ace-423d-8883-e42d357bf4e0" providerId="ADAL" clId="{3A5FBCAB-D22B-4A62-B9AC-D0FD9523E050}" dt="2021-02-04T19:09:14.800" v="473" actId="2696"/>
          <pc:sldLayoutMkLst>
            <pc:docMk/>
            <pc:sldMasterMk cId="3533995890" sldId="2147483721"/>
            <pc:sldLayoutMk cId="3725336665" sldId="2147483724"/>
          </pc:sldLayoutMkLst>
        </pc:sldLayoutChg>
        <pc:sldLayoutChg chg="del">
          <pc:chgData name="Ghate, Atul" userId="e633be56-9ace-423d-8883-e42d357bf4e0" providerId="ADAL" clId="{3A5FBCAB-D22B-4A62-B9AC-D0FD9523E050}" dt="2021-02-04T19:09:14.801" v="474" actId="2696"/>
          <pc:sldLayoutMkLst>
            <pc:docMk/>
            <pc:sldMasterMk cId="3533995890" sldId="2147483721"/>
            <pc:sldLayoutMk cId="1735214526" sldId="2147483725"/>
          </pc:sldLayoutMkLst>
        </pc:sldLayoutChg>
        <pc:sldLayoutChg chg="del">
          <pc:chgData name="Ghate, Atul" userId="e633be56-9ace-423d-8883-e42d357bf4e0" providerId="ADAL" clId="{3A5FBCAB-D22B-4A62-B9AC-D0FD9523E050}" dt="2021-02-04T19:09:14.803" v="475" actId="2696"/>
          <pc:sldLayoutMkLst>
            <pc:docMk/>
            <pc:sldMasterMk cId="3533995890" sldId="2147483721"/>
            <pc:sldLayoutMk cId="2134214033" sldId="2147483726"/>
          </pc:sldLayoutMkLst>
        </pc:sldLayoutChg>
        <pc:sldLayoutChg chg="del">
          <pc:chgData name="Ghate, Atul" userId="e633be56-9ace-423d-8883-e42d357bf4e0" providerId="ADAL" clId="{3A5FBCAB-D22B-4A62-B9AC-D0FD9523E050}" dt="2021-02-04T19:09:14.804" v="476" actId="2696"/>
          <pc:sldLayoutMkLst>
            <pc:docMk/>
            <pc:sldMasterMk cId="3533995890" sldId="2147483721"/>
            <pc:sldLayoutMk cId="90982576" sldId="2147483727"/>
          </pc:sldLayoutMkLst>
        </pc:sldLayoutChg>
        <pc:sldLayoutChg chg="del">
          <pc:chgData name="Ghate, Atul" userId="e633be56-9ace-423d-8883-e42d357bf4e0" providerId="ADAL" clId="{3A5FBCAB-D22B-4A62-B9AC-D0FD9523E050}" dt="2021-02-04T19:09:14.805" v="477" actId="2696"/>
          <pc:sldLayoutMkLst>
            <pc:docMk/>
            <pc:sldMasterMk cId="3533995890" sldId="2147483721"/>
            <pc:sldLayoutMk cId="83032275" sldId="2147483728"/>
          </pc:sldLayoutMkLst>
        </pc:sldLayoutChg>
        <pc:sldLayoutChg chg="del">
          <pc:chgData name="Ghate, Atul" userId="e633be56-9ace-423d-8883-e42d357bf4e0" providerId="ADAL" clId="{3A5FBCAB-D22B-4A62-B9AC-D0FD9523E050}" dt="2021-02-04T19:09:14.806" v="478" actId="2696"/>
          <pc:sldLayoutMkLst>
            <pc:docMk/>
            <pc:sldMasterMk cId="3533995890" sldId="2147483721"/>
            <pc:sldLayoutMk cId="1637538723" sldId="2147483729"/>
          </pc:sldLayoutMkLst>
        </pc:sldLayoutChg>
        <pc:sldLayoutChg chg="del">
          <pc:chgData name="Ghate, Atul" userId="e633be56-9ace-423d-8883-e42d357bf4e0" providerId="ADAL" clId="{3A5FBCAB-D22B-4A62-B9AC-D0FD9523E050}" dt="2021-02-04T19:09:14.807" v="479" actId="2696"/>
          <pc:sldLayoutMkLst>
            <pc:docMk/>
            <pc:sldMasterMk cId="3533995890" sldId="2147483721"/>
            <pc:sldLayoutMk cId="2220297647" sldId="2147483730"/>
          </pc:sldLayoutMkLst>
        </pc:sldLayoutChg>
        <pc:sldLayoutChg chg="del">
          <pc:chgData name="Ghate, Atul" userId="e633be56-9ace-423d-8883-e42d357bf4e0" providerId="ADAL" clId="{3A5FBCAB-D22B-4A62-B9AC-D0FD9523E050}" dt="2021-02-04T19:09:14.807" v="480" actId="2696"/>
          <pc:sldLayoutMkLst>
            <pc:docMk/>
            <pc:sldMasterMk cId="3533995890" sldId="2147483721"/>
            <pc:sldLayoutMk cId="1126460426" sldId="2147483731"/>
          </pc:sldLayoutMkLst>
        </pc:sldLayoutChg>
        <pc:sldLayoutChg chg="del">
          <pc:chgData name="Ghate, Atul" userId="e633be56-9ace-423d-8883-e42d357bf4e0" providerId="ADAL" clId="{3A5FBCAB-D22B-4A62-B9AC-D0FD9523E050}" dt="2021-02-04T19:09:14.808" v="481" actId="2696"/>
          <pc:sldLayoutMkLst>
            <pc:docMk/>
            <pc:sldMasterMk cId="3533995890" sldId="2147483721"/>
            <pc:sldLayoutMk cId="2977864481" sldId="2147483732"/>
          </pc:sldLayoutMkLst>
        </pc:sldLayoutChg>
        <pc:sldLayoutChg chg="del">
          <pc:chgData name="Ghate, Atul" userId="e633be56-9ace-423d-8883-e42d357bf4e0" providerId="ADAL" clId="{3A5FBCAB-D22B-4A62-B9AC-D0FD9523E050}" dt="2021-02-04T19:09:14.809" v="482" actId="2696"/>
          <pc:sldLayoutMkLst>
            <pc:docMk/>
            <pc:sldMasterMk cId="3533995890" sldId="2147483721"/>
            <pc:sldLayoutMk cId="2579034641" sldId="2147483733"/>
          </pc:sldLayoutMkLst>
        </pc:sldLayoutChg>
        <pc:sldLayoutChg chg="del">
          <pc:chgData name="Ghate, Atul" userId="e633be56-9ace-423d-8883-e42d357bf4e0" providerId="ADAL" clId="{3A5FBCAB-D22B-4A62-B9AC-D0FD9523E050}" dt="2021-02-04T19:09:14.810" v="483" actId="2696"/>
          <pc:sldLayoutMkLst>
            <pc:docMk/>
            <pc:sldMasterMk cId="3533995890" sldId="2147483721"/>
            <pc:sldLayoutMk cId="1108439575" sldId="2147483734"/>
          </pc:sldLayoutMkLst>
        </pc:sldLayoutChg>
        <pc:sldLayoutChg chg="del">
          <pc:chgData name="Ghate, Atul" userId="e633be56-9ace-423d-8883-e42d357bf4e0" providerId="ADAL" clId="{3A5FBCAB-D22B-4A62-B9AC-D0FD9523E050}" dt="2021-02-04T19:09:14.811" v="484" actId="2696"/>
          <pc:sldLayoutMkLst>
            <pc:docMk/>
            <pc:sldMasterMk cId="3533995890" sldId="2147483721"/>
            <pc:sldLayoutMk cId="1231802182" sldId="2147483735"/>
          </pc:sldLayoutMkLst>
        </pc:sldLayoutChg>
        <pc:sldLayoutChg chg="del">
          <pc:chgData name="Ghate, Atul" userId="e633be56-9ace-423d-8883-e42d357bf4e0" providerId="ADAL" clId="{3A5FBCAB-D22B-4A62-B9AC-D0FD9523E050}" dt="2021-02-04T19:09:14.812" v="485" actId="2696"/>
          <pc:sldLayoutMkLst>
            <pc:docMk/>
            <pc:sldMasterMk cId="3533995890" sldId="2147483721"/>
            <pc:sldLayoutMk cId="3888496884" sldId="2147483736"/>
          </pc:sldLayoutMkLst>
        </pc:sldLayoutChg>
      </pc:sldMasterChg>
      <pc:sldMasterChg chg="del delSldLayout">
        <pc:chgData name="Ghate, Atul" userId="e633be56-9ace-423d-8883-e42d357bf4e0" providerId="ADAL" clId="{3A5FBCAB-D22B-4A62-B9AC-D0FD9523E050}" dt="2021-02-04T19:09:08.796" v="469" actId="2696"/>
        <pc:sldMasterMkLst>
          <pc:docMk/>
          <pc:sldMasterMk cId="1585207659" sldId="2147483749"/>
        </pc:sldMasterMkLst>
        <pc:sldLayoutChg chg="del">
          <pc:chgData name="Ghate, Atul" userId="e633be56-9ace-423d-8883-e42d357bf4e0" providerId="ADAL" clId="{3A5FBCAB-D22B-4A62-B9AC-D0FD9523E050}" dt="2021-02-04T19:09:08.461" v="447" actId="2696"/>
          <pc:sldLayoutMkLst>
            <pc:docMk/>
            <pc:sldMasterMk cId="1585207659" sldId="2147483749"/>
            <pc:sldLayoutMk cId="1712077565" sldId="2147483750"/>
          </pc:sldLayoutMkLst>
        </pc:sldLayoutChg>
        <pc:sldLayoutChg chg="del">
          <pc:chgData name="Ghate, Atul" userId="e633be56-9ace-423d-8883-e42d357bf4e0" providerId="ADAL" clId="{3A5FBCAB-D22B-4A62-B9AC-D0FD9523E050}" dt="2021-02-04T19:09:08.465" v="448" actId="2696"/>
          <pc:sldLayoutMkLst>
            <pc:docMk/>
            <pc:sldMasterMk cId="1585207659" sldId="2147483749"/>
            <pc:sldLayoutMk cId="3532648881" sldId="2147483751"/>
          </pc:sldLayoutMkLst>
        </pc:sldLayoutChg>
        <pc:sldLayoutChg chg="del">
          <pc:chgData name="Ghate, Atul" userId="e633be56-9ace-423d-8883-e42d357bf4e0" providerId="ADAL" clId="{3A5FBCAB-D22B-4A62-B9AC-D0FD9523E050}" dt="2021-02-04T19:09:08.467" v="449" actId="2696"/>
          <pc:sldLayoutMkLst>
            <pc:docMk/>
            <pc:sldMasterMk cId="1585207659" sldId="2147483749"/>
            <pc:sldLayoutMk cId="3711684921" sldId="2147483752"/>
          </pc:sldLayoutMkLst>
        </pc:sldLayoutChg>
        <pc:sldLayoutChg chg="del">
          <pc:chgData name="Ghate, Atul" userId="e633be56-9ace-423d-8883-e42d357bf4e0" providerId="ADAL" clId="{3A5FBCAB-D22B-4A62-B9AC-D0FD9523E050}" dt="2021-02-04T19:09:08.468" v="450" actId="2696"/>
          <pc:sldLayoutMkLst>
            <pc:docMk/>
            <pc:sldMasterMk cId="1585207659" sldId="2147483749"/>
            <pc:sldLayoutMk cId="1868474656" sldId="2147483753"/>
          </pc:sldLayoutMkLst>
        </pc:sldLayoutChg>
        <pc:sldLayoutChg chg="del">
          <pc:chgData name="Ghate, Atul" userId="e633be56-9ace-423d-8883-e42d357bf4e0" providerId="ADAL" clId="{3A5FBCAB-D22B-4A62-B9AC-D0FD9523E050}" dt="2021-02-04T19:09:08.469" v="451" actId="2696"/>
          <pc:sldLayoutMkLst>
            <pc:docMk/>
            <pc:sldMasterMk cId="1585207659" sldId="2147483749"/>
            <pc:sldLayoutMk cId="1305558403" sldId="2147483754"/>
          </pc:sldLayoutMkLst>
        </pc:sldLayoutChg>
        <pc:sldLayoutChg chg="del">
          <pc:chgData name="Ghate, Atul" userId="e633be56-9ace-423d-8883-e42d357bf4e0" providerId="ADAL" clId="{3A5FBCAB-D22B-4A62-B9AC-D0FD9523E050}" dt="2021-02-04T19:09:08.469" v="452" actId="2696"/>
          <pc:sldLayoutMkLst>
            <pc:docMk/>
            <pc:sldMasterMk cId="1585207659" sldId="2147483749"/>
            <pc:sldLayoutMk cId="3371617536" sldId="2147483755"/>
          </pc:sldLayoutMkLst>
        </pc:sldLayoutChg>
        <pc:sldLayoutChg chg="del">
          <pc:chgData name="Ghate, Atul" userId="e633be56-9ace-423d-8883-e42d357bf4e0" providerId="ADAL" clId="{3A5FBCAB-D22B-4A62-B9AC-D0FD9523E050}" dt="2021-02-04T19:09:08.471" v="453" actId="2696"/>
          <pc:sldLayoutMkLst>
            <pc:docMk/>
            <pc:sldMasterMk cId="1585207659" sldId="2147483749"/>
            <pc:sldLayoutMk cId="2863607338" sldId="2147483756"/>
          </pc:sldLayoutMkLst>
        </pc:sldLayoutChg>
        <pc:sldLayoutChg chg="del">
          <pc:chgData name="Ghate, Atul" userId="e633be56-9ace-423d-8883-e42d357bf4e0" providerId="ADAL" clId="{3A5FBCAB-D22B-4A62-B9AC-D0FD9523E050}" dt="2021-02-04T19:09:08.473" v="454" actId="2696"/>
          <pc:sldLayoutMkLst>
            <pc:docMk/>
            <pc:sldMasterMk cId="1585207659" sldId="2147483749"/>
            <pc:sldLayoutMk cId="697336104" sldId="2147483757"/>
          </pc:sldLayoutMkLst>
        </pc:sldLayoutChg>
        <pc:sldLayoutChg chg="del">
          <pc:chgData name="Ghate, Atul" userId="e633be56-9ace-423d-8883-e42d357bf4e0" providerId="ADAL" clId="{3A5FBCAB-D22B-4A62-B9AC-D0FD9523E050}" dt="2021-02-04T19:09:08.478" v="455" actId="2696"/>
          <pc:sldLayoutMkLst>
            <pc:docMk/>
            <pc:sldMasterMk cId="1585207659" sldId="2147483749"/>
            <pc:sldLayoutMk cId="526859838" sldId="2147483758"/>
          </pc:sldLayoutMkLst>
        </pc:sldLayoutChg>
        <pc:sldLayoutChg chg="del">
          <pc:chgData name="Ghate, Atul" userId="e633be56-9ace-423d-8883-e42d357bf4e0" providerId="ADAL" clId="{3A5FBCAB-D22B-4A62-B9AC-D0FD9523E050}" dt="2021-02-04T19:09:08.521" v="456" actId="2696"/>
          <pc:sldLayoutMkLst>
            <pc:docMk/>
            <pc:sldMasterMk cId="1585207659" sldId="2147483749"/>
            <pc:sldLayoutMk cId="4100285805" sldId="2147483759"/>
          </pc:sldLayoutMkLst>
        </pc:sldLayoutChg>
        <pc:sldLayoutChg chg="del">
          <pc:chgData name="Ghate, Atul" userId="e633be56-9ace-423d-8883-e42d357bf4e0" providerId="ADAL" clId="{3A5FBCAB-D22B-4A62-B9AC-D0FD9523E050}" dt="2021-02-04T19:09:08.562" v="457" actId="2696"/>
          <pc:sldLayoutMkLst>
            <pc:docMk/>
            <pc:sldMasterMk cId="1585207659" sldId="2147483749"/>
            <pc:sldLayoutMk cId="2504760670" sldId="2147483760"/>
          </pc:sldLayoutMkLst>
        </pc:sldLayoutChg>
        <pc:sldLayoutChg chg="del">
          <pc:chgData name="Ghate, Atul" userId="e633be56-9ace-423d-8883-e42d357bf4e0" providerId="ADAL" clId="{3A5FBCAB-D22B-4A62-B9AC-D0FD9523E050}" dt="2021-02-04T19:09:08.610" v="458" actId="2696"/>
          <pc:sldLayoutMkLst>
            <pc:docMk/>
            <pc:sldMasterMk cId="1585207659" sldId="2147483749"/>
            <pc:sldLayoutMk cId="717224565" sldId="2147483761"/>
          </pc:sldLayoutMkLst>
        </pc:sldLayoutChg>
        <pc:sldLayoutChg chg="del">
          <pc:chgData name="Ghate, Atul" userId="e633be56-9ace-423d-8883-e42d357bf4e0" providerId="ADAL" clId="{3A5FBCAB-D22B-4A62-B9AC-D0FD9523E050}" dt="2021-02-04T19:09:08.665" v="459" actId="2696"/>
          <pc:sldLayoutMkLst>
            <pc:docMk/>
            <pc:sldMasterMk cId="1585207659" sldId="2147483749"/>
            <pc:sldLayoutMk cId="450154698" sldId="2147483762"/>
          </pc:sldLayoutMkLst>
        </pc:sldLayoutChg>
        <pc:sldLayoutChg chg="del">
          <pc:chgData name="Ghate, Atul" userId="e633be56-9ace-423d-8883-e42d357bf4e0" providerId="ADAL" clId="{3A5FBCAB-D22B-4A62-B9AC-D0FD9523E050}" dt="2021-02-04T19:09:08.708" v="460" actId="2696"/>
          <pc:sldLayoutMkLst>
            <pc:docMk/>
            <pc:sldMasterMk cId="1585207659" sldId="2147483749"/>
            <pc:sldLayoutMk cId="3792583924" sldId="2147483763"/>
          </pc:sldLayoutMkLst>
        </pc:sldLayoutChg>
        <pc:sldLayoutChg chg="del">
          <pc:chgData name="Ghate, Atul" userId="e633be56-9ace-423d-8883-e42d357bf4e0" providerId="ADAL" clId="{3A5FBCAB-D22B-4A62-B9AC-D0FD9523E050}" dt="2021-02-04T19:09:08.729" v="461" actId="2696"/>
          <pc:sldLayoutMkLst>
            <pc:docMk/>
            <pc:sldMasterMk cId="1585207659" sldId="2147483749"/>
            <pc:sldLayoutMk cId="1589592766" sldId="2147483764"/>
          </pc:sldLayoutMkLst>
        </pc:sldLayoutChg>
        <pc:sldLayoutChg chg="del">
          <pc:chgData name="Ghate, Atul" userId="e633be56-9ace-423d-8883-e42d357bf4e0" providerId="ADAL" clId="{3A5FBCAB-D22B-4A62-B9AC-D0FD9523E050}" dt="2021-02-04T19:09:08.729" v="462" actId="2696"/>
          <pc:sldLayoutMkLst>
            <pc:docMk/>
            <pc:sldMasterMk cId="1585207659" sldId="2147483749"/>
            <pc:sldLayoutMk cId="2964617049" sldId="2147483765"/>
          </pc:sldLayoutMkLst>
        </pc:sldLayoutChg>
        <pc:sldLayoutChg chg="del">
          <pc:chgData name="Ghate, Atul" userId="e633be56-9ace-423d-8883-e42d357bf4e0" providerId="ADAL" clId="{3A5FBCAB-D22B-4A62-B9AC-D0FD9523E050}" dt="2021-02-04T19:09:08.731" v="463" actId="2696"/>
          <pc:sldLayoutMkLst>
            <pc:docMk/>
            <pc:sldMasterMk cId="1585207659" sldId="2147483749"/>
            <pc:sldLayoutMk cId="1206219479" sldId="2147483766"/>
          </pc:sldLayoutMkLst>
        </pc:sldLayoutChg>
        <pc:sldLayoutChg chg="del">
          <pc:chgData name="Ghate, Atul" userId="e633be56-9ace-423d-8883-e42d357bf4e0" providerId="ADAL" clId="{3A5FBCAB-D22B-4A62-B9AC-D0FD9523E050}" dt="2021-02-04T19:09:08.731" v="464" actId="2696"/>
          <pc:sldLayoutMkLst>
            <pc:docMk/>
            <pc:sldMasterMk cId="1585207659" sldId="2147483749"/>
            <pc:sldLayoutMk cId="4041688381" sldId="2147483767"/>
          </pc:sldLayoutMkLst>
        </pc:sldLayoutChg>
        <pc:sldLayoutChg chg="del">
          <pc:chgData name="Ghate, Atul" userId="e633be56-9ace-423d-8883-e42d357bf4e0" providerId="ADAL" clId="{3A5FBCAB-D22B-4A62-B9AC-D0FD9523E050}" dt="2021-02-04T19:09:08.733" v="465" actId="2696"/>
          <pc:sldLayoutMkLst>
            <pc:docMk/>
            <pc:sldMasterMk cId="1585207659" sldId="2147483749"/>
            <pc:sldLayoutMk cId="209727408" sldId="2147483768"/>
          </pc:sldLayoutMkLst>
        </pc:sldLayoutChg>
        <pc:sldLayoutChg chg="del">
          <pc:chgData name="Ghate, Atul" userId="e633be56-9ace-423d-8883-e42d357bf4e0" providerId="ADAL" clId="{3A5FBCAB-D22B-4A62-B9AC-D0FD9523E050}" dt="2021-02-04T19:09:08.735" v="466" actId="2696"/>
          <pc:sldLayoutMkLst>
            <pc:docMk/>
            <pc:sldMasterMk cId="1585207659" sldId="2147483749"/>
            <pc:sldLayoutMk cId="1809357595" sldId="2147483769"/>
          </pc:sldLayoutMkLst>
        </pc:sldLayoutChg>
        <pc:sldLayoutChg chg="del">
          <pc:chgData name="Ghate, Atul" userId="e633be56-9ace-423d-8883-e42d357bf4e0" providerId="ADAL" clId="{3A5FBCAB-D22B-4A62-B9AC-D0FD9523E050}" dt="2021-02-04T19:09:08.755" v="467" actId="2696"/>
          <pc:sldLayoutMkLst>
            <pc:docMk/>
            <pc:sldMasterMk cId="1585207659" sldId="2147483749"/>
            <pc:sldLayoutMk cId="3623720607" sldId="2147483770"/>
          </pc:sldLayoutMkLst>
        </pc:sldLayoutChg>
        <pc:sldLayoutChg chg="del">
          <pc:chgData name="Ghate, Atul" userId="e633be56-9ace-423d-8883-e42d357bf4e0" providerId="ADAL" clId="{3A5FBCAB-D22B-4A62-B9AC-D0FD9523E050}" dt="2021-02-04T19:09:08.776" v="468" actId="2696"/>
          <pc:sldLayoutMkLst>
            <pc:docMk/>
            <pc:sldMasterMk cId="1585207659" sldId="2147483749"/>
            <pc:sldLayoutMk cId="1442259131" sldId="2147483771"/>
          </pc:sldLayoutMkLst>
        </pc:sldLayoutChg>
      </pc:sldMasterChg>
    </pc:docChg>
  </pc:docChgLst>
  <pc:docChgLst>
    <pc:chgData name="Ghate, Atul" userId="e633be56-9ace-423d-8883-e42d357bf4e0" providerId="ADAL" clId="{D9AE540D-6014-4B0C-B694-E2D1F106ADD5}"/>
    <pc:docChg chg="undo redo custSel addSld delSld modSld sldOrd delMainMaster">
      <pc:chgData name="Ghate, Atul" userId="e633be56-9ace-423d-8883-e42d357bf4e0" providerId="ADAL" clId="{D9AE540D-6014-4B0C-B694-E2D1F106ADD5}" dt="2021-02-02T22:45:28.133" v="1501" actId="113"/>
      <pc:docMkLst>
        <pc:docMk/>
      </pc:docMkLst>
      <pc:sldChg chg="add">
        <pc:chgData name="Ghate, Atul" userId="e633be56-9ace-423d-8883-e42d357bf4e0" providerId="ADAL" clId="{D9AE540D-6014-4B0C-B694-E2D1F106ADD5}" dt="2021-02-02T22:43:31.455" v="1450"/>
        <pc:sldMkLst>
          <pc:docMk/>
          <pc:sldMk cId="1028514834" sldId="257"/>
        </pc:sldMkLst>
      </pc:sldChg>
      <pc:sldChg chg="addSp delSp modSp add del ord">
        <pc:chgData name="Ghate, Atul" userId="e633be56-9ace-423d-8883-e42d357bf4e0" providerId="ADAL" clId="{D9AE540D-6014-4B0C-B694-E2D1F106ADD5}" dt="2021-02-02T22:20:20.062" v="470" actId="1076"/>
        <pc:sldMkLst>
          <pc:docMk/>
          <pc:sldMk cId="900996307" sldId="315"/>
        </pc:sldMkLst>
        <pc:spChg chg="del">
          <ac:chgData name="Ghate, Atul" userId="e633be56-9ace-423d-8883-e42d357bf4e0" providerId="ADAL" clId="{D9AE540D-6014-4B0C-B694-E2D1F106ADD5}" dt="2021-02-02T22:04:06.905" v="38" actId="478"/>
          <ac:spMkLst>
            <pc:docMk/>
            <pc:sldMk cId="900996307" sldId="315"/>
            <ac:spMk id="2" creationId="{B30907E9-EE06-470B-AB38-5577AAACC557}"/>
          </ac:spMkLst>
        </pc:spChg>
        <pc:spChg chg="add mod">
          <ac:chgData name="Ghate, Atul" userId="e633be56-9ace-423d-8883-e42d357bf4e0" providerId="ADAL" clId="{D9AE540D-6014-4B0C-B694-E2D1F106ADD5}" dt="2021-02-02T22:16:50.673" v="409" actId="6549"/>
          <ac:spMkLst>
            <pc:docMk/>
            <pc:sldMk cId="900996307" sldId="315"/>
            <ac:spMk id="4" creationId="{17740563-7263-4AE7-B861-F51D29CCCFEB}"/>
          </ac:spMkLst>
        </pc:spChg>
        <pc:spChg chg="mod">
          <ac:chgData name="Ghate, Atul" userId="e633be56-9ace-423d-8883-e42d357bf4e0" providerId="ADAL" clId="{D9AE540D-6014-4B0C-B694-E2D1F106ADD5}" dt="2021-02-02T22:18:00.002" v="427" actId="5793"/>
          <ac:spMkLst>
            <pc:docMk/>
            <pc:sldMk cId="900996307" sldId="315"/>
            <ac:spMk id="95" creationId="{A07CC05A-C1E3-4988-83A9-A0862FBCDAF5}"/>
          </ac:spMkLst>
        </pc:spChg>
        <pc:spChg chg="mod">
          <ac:chgData name="Ghate, Atul" userId="e633be56-9ace-423d-8883-e42d357bf4e0" providerId="ADAL" clId="{D9AE540D-6014-4B0C-B694-E2D1F106ADD5}" dt="2021-02-02T22:17:27.145" v="417" actId="1076"/>
          <ac:spMkLst>
            <pc:docMk/>
            <pc:sldMk cId="900996307" sldId="315"/>
            <ac:spMk id="96" creationId="{59602D78-8A47-459C-80AB-71949B52A801}"/>
          </ac:spMkLst>
        </pc:spChg>
        <pc:spChg chg="mod">
          <ac:chgData name="Ghate, Atul" userId="e633be56-9ace-423d-8883-e42d357bf4e0" providerId="ADAL" clId="{D9AE540D-6014-4B0C-B694-E2D1F106ADD5}" dt="2021-02-02T22:17:23.147" v="416" actId="1076"/>
          <ac:spMkLst>
            <pc:docMk/>
            <pc:sldMk cId="900996307" sldId="315"/>
            <ac:spMk id="97" creationId="{942C726B-D811-4F6E-9815-3824642232D4}"/>
          </ac:spMkLst>
        </pc:spChg>
        <pc:spChg chg="mod">
          <ac:chgData name="Ghate, Atul" userId="e633be56-9ace-423d-8883-e42d357bf4e0" providerId="ADAL" clId="{D9AE540D-6014-4B0C-B694-E2D1F106ADD5}" dt="2021-02-02T22:16:03.524" v="384" actId="404"/>
          <ac:spMkLst>
            <pc:docMk/>
            <pc:sldMk cId="900996307" sldId="315"/>
            <ac:spMk id="98" creationId="{AB18A91F-FCA6-4464-BD5E-C4734496452C}"/>
          </ac:spMkLst>
        </pc:spChg>
        <pc:spChg chg="mod">
          <ac:chgData name="Ghate, Atul" userId="e633be56-9ace-423d-8883-e42d357bf4e0" providerId="ADAL" clId="{D9AE540D-6014-4B0C-B694-E2D1F106ADD5}" dt="2021-02-02T22:16:18.466" v="387" actId="404"/>
          <ac:spMkLst>
            <pc:docMk/>
            <pc:sldMk cId="900996307" sldId="315"/>
            <ac:spMk id="99" creationId="{0FA277BA-DB39-4DCD-A8A1-418C54A4050B}"/>
          </ac:spMkLst>
        </pc:spChg>
        <pc:spChg chg="mod">
          <ac:chgData name="Ghate, Atul" userId="e633be56-9ace-423d-8883-e42d357bf4e0" providerId="ADAL" clId="{D9AE540D-6014-4B0C-B694-E2D1F106ADD5}" dt="2021-02-02T22:16:55.540" v="410" actId="1076"/>
          <ac:spMkLst>
            <pc:docMk/>
            <pc:sldMk cId="900996307" sldId="315"/>
            <ac:spMk id="100" creationId="{5700466F-F7CF-4C23-9FE2-81AA372FD537}"/>
          </ac:spMkLst>
        </pc:spChg>
        <pc:spChg chg="mod">
          <ac:chgData name="Ghate, Atul" userId="e633be56-9ace-423d-8883-e42d357bf4e0" providerId="ADAL" clId="{D9AE540D-6014-4B0C-B694-E2D1F106ADD5}" dt="2021-02-02T22:07:18.644" v="139" actId="1076"/>
          <ac:spMkLst>
            <pc:docMk/>
            <pc:sldMk cId="900996307" sldId="315"/>
            <ac:spMk id="101" creationId="{9218630E-3A15-4FF4-9691-B17A919CAF28}"/>
          </ac:spMkLst>
        </pc:spChg>
        <pc:spChg chg="mod">
          <ac:chgData name="Ghate, Atul" userId="e633be56-9ace-423d-8883-e42d357bf4e0" providerId="ADAL" clId="{D9AE540D-6014-4B0C-B694-E2D1F106ADD5}" dt="2021-02-02T22:19:40.199" v="455" actId="1076"/>
          <ac:spMkLst>
            <pc:docMk/>
            <pc:sldMk cId="900996307" sldId="315"/>
            <ac:spMk id="104" creationId="{FCD8B041-D88E-45B5-8CCC-FB9F360F2A6D}"/>
          </ac:spMkLst>
        </pc:spChg>
        <pc:spChg chg="mod">
          <ac:chgData name="Ghate, Atul" userId="e633be56-9ace-423d-8883-e42d357bf4e0" providerId="ADAL" clId="{D9AE540D-6014-4B0C-B694-E2D1F106ADD5}" dt="2021-02-02T22:04:45.101" v="107" actId="20577"/>
          <ac:spMkLst>
            <pc:docMk/>
            <pc:sldMk cId="900996307" sldId="315"/>
            <ac:spMk id="113" creationId="{5078C6E0-F3E8-445C-B675-9CEA9D847256}"/>
          </ac:spMkLst>
        </pc:spChg>
        <pc:spChg chg="mod">
          <ac:chgData name="Ghate, Atul" userId="e633be56-9ace-423d-8883-e42d357bf4e0" providerId="ADAL" clId="{D9AE540D-6014-4B0C-B694-E2D1F106ADD5}" dt="2021-02-02T22:18:48.112" v="440" actId="1076"/>
          <ac:spMkLst>
            <pc:docMk/>
            <pc:sldMk cId="900996307" sldId="315"/>
            <ac:spMk id="114" creationId="{89210024-A2C5-4F4C-986D-D7CBF4DCCCF6}"/>
          </ac:spMkLst>
        </pc:spChg>
        <pc:spChg chg="del mod">
          <ac:chgData name="Ghate, Atul" userId="e633be56-9ace-423d-8883-e42d357bf4e0" providerId="ADAL" clId="{D9AE540D-6014-4B0C-B694-E2D1F106ADD5}" dt="2021-02-02T22:07:49.775" v="181" actId="478"/>
          <ac:spMkLst>
            <pc:docMk/>
            <pc:sldMk cId="900996307" sldId="315"/>
            <ac:spMk id="115" creationId="{6E202248-BDFC-4A63-9D10-70B956364CE7}"/>
          </ac:spMkLst>
        </pc:spChg>
        <pc:spChg chg="mod">
          <ac:chgData name="Ghate, Atul" userId="e633be56-9ace-423d-8883-e42d357bf4e0" providerId="ADAL" clId="{D9AE540D-6014-4B0C-B694-E2D1F106ADD5}" dt="2021-02-02T22:12:13.478" v="234" actId="20577"/>
          <ac:spMkLst>
            <pc:docMk/>
            <pc:sldMk cId="900996307" sldId="315"/>
            <ac:spMk id="116" creationId="{DEB24959-EF5F-4B54-A2DF-A153674E8059}"/>
          </ac:spMkLst>
        </pc:spChg>
        <pc:spChg chg="mod">
          <ac:chgData name="Ghate, Atul" userId="e633be56-9ace-423d-8883-e42d357bf4e0" providerId="ADAL" clId="{D9AE540D-6014-4B0C-B694-E2D1F106ADD5}" dt="2021-02-02T22:17:34.331" v="420"/>
          <ac:spMkLst>
            <pc:docMk/>
            <pc:sldMk cId="900996307" sldId="315"/>
            <ac:spMk id="117" creationId="{221332D3-4CB8-4218-B9F9-49048217A437}"/>
          </ac:spMkLst>
        </pc:spChg>
        <pc:spChg chg="mod">
          <ac:chgData name="Ghate, Atul" userId="e633be56-9ace-423d-8883-e42d357bf4e0" providerId="ADAL" clId="{D9AE540D-6014-4B0C-B694-E2D1F106ADD5}" dt="2021-02-02T22:15:00.660" v="367" actId="20577"/>
          <ac:spMkLst>
            <pc:docMk/>
            <pc:sldMk cId="900996307" sldId="315"/>
            <ac:spMk id="118" creationId="{AA4E242E-3C57-49B5-A46D-5845C5FE3521}"/>
          </ac:spMkLst>
        </pc:spChg>
        <pc:spChg chg="mod">
          <ac:chgData name="Ghate, Atul" userId="e633be56-9ace-423d-8883-e42d357bf4e0" providerId="ADAL" clId="{D9AE540D-6014-4B0C-B694-E2D1F106ADD5}" dt="2021-02-02T22:16:30.096" v="400" actId="20577"/>
          <ac:spMkLst>
            <pc:docMk/>
            <pc:sldMk cId="900996307" sldId="315"/>
            <ac:spMk id="119" creationId="{853952E4-59CC-4989-8AB5-8BF08F2B01D9}"/>
          </ac:spMkLst>
        </pc:spChg>
        <pc:spChg chg="mod topLvl">
          <ac:chgData name="Ghate, Atul" userId="e633be56-9ace-423d-8883-e42d357bf4e0" providerId="ADAL" clId="{D9AE540D-6014-4B0C-B694-E2D1F106ADD5}" dt="2021-02-02T22:19:39.769" v="454" actId="165"/>
          <ac:spMkLst>
            <pc:docMk/>
            <pc:sldMk cId="900996307" sldId="315"/>
            <ac:spMk id="121" creationId="{7917133C-4BB2-40D9-AED6-D13921C24DD6}"/>
          </ac:spMkLst>
        </pc:spChg>
        <pc:spChg chg="mod topLvl">
          <ac:chgData name="Ghate, Atul" userId="e633be56-9ace-423d-8883-e42d357bf4e0" providerId="ADAL" clId="{D9AE540D-6014-4B0C-B694-E2D1F106ADD5}" dt="2021-02-02T22:19:40.560" v="456" actId="1076"/>
          <ac:spMkLst>
            <pc:docMk/>
            <pc:sldMk cId="900996307" sldId="315"/>
            <ac:spMk id="122" creationId="{AEB3D678-E262-4F8B-897F-918E5E06E533}"/>
          </ac:spMkLst>
        </pc:spChg>
        <pc:spChg chg="mod topLvl">
          <ac:chgData name="Ghate, Atul" userId="e633be56-9ace-423d-8883-e42d357bf4e0" providerId="ADAL" clId="{D9AE540D-6014-4B0C-B694-E2D1F106ADD5}" dt="2021-02-02T22:19:39.769" v="454" actId="165"/>
          <ac:spMkLst>
            <pc:docMk/>
            <pc:sldMk cId="900996307" sldId="315"/>
            <ac:spMk id="123" creationId="{13CFA68D-B520-40FD-9B2D-FD06F75A94A8}"/>
          </ac:spMkLst>
        </pc:spChg>
        <pc:spChg chg="mod topLvl">
          <ac:chgData name="Ghate, Atul" userId="e633be56-9ace-423d-8883-e42d357bf4e0" providerId="ADAL" clId="{D9AE540D-6014-4B0C-B694-E2D1F106ADD5}" dt="2021-02-02T22:19:39.769" v="454" actId="165"/>
          <ac:spMkLst>
            <pc:docMk/>
            <pc:sldMk cId="900996307" sldId="315"/>
            <ac:spMk id="124" creationId="{79735D49-6C5D-4AC6-8351-B035F5583BBD}"/>
          </ac:spMkLst>
        </pc:spChg>
        <pc:spChg chg="mod topLvl">
          <ac:chgData name="Ghate, Atul" userId="e633be56-9ace-423d-8883-e42d357bf4e0" providerId="ADAL" clId="{D9AE540D-6014-4B0C-B694-E2D1F106ADD5}" dt="2021-02-02T22:19:39.769" v="454" actId="165"/>
          <ac:spMkLst>
            <pc:docMk/>
            <pc:sldMk cId="900996307" sldId="315"/>
            <ac:spMk id="125" creationId="{E56014A8-42C6-437F-AA34-6C7461D7431D}"/>
          </ac:spMkLst>
        </pc:spChg>
        <pc:spChg chg="mod topLvl">
          <ac:chgData name="Ghate, Atul" userId="e633be56-9ace-423d-8883-e42d357bf4e0" providerId="ADAL" clId="{D9AE540D-6014-4B0C-B694-E2D1F106ADD5}" dt="2021-02-02T22:19:39.769" v="454" actId="165"/>
          <ac:spMkLst>
            <pc:docMk/>
            <pc:sldMk cId="900996307" sldId="315"/>
            <ac:spMk id="126" creationId="{3A51D010-DDA5-4638-B405-45FA82FBBF76}"/>
          </ac:spMkLst>
        </pc:spChg>
        <pc:spChg chg="add del mod">
          <ac:chgData name="Ghate, Atul" userId="e633be56-9ace-423d-8883-e42d357bf4e0" providerId="ADAL" clId="{D9AE540D-6014-4B0C-B694-E2D1F106ADD5}" dt="2021-02-02T22:04:12.718" v="39" actId="478"/>
          <ac:spMkLst>
            <pc:docMk/>
            <pc:sldMk cId="900996307" sldId="315"/>
            <ac:spMk id="273" creationId="{C03BA58E-D867-44B3-89DA-C07F820B493F}"/>
          </ac:spMkLst>
        </pc:spChg>
        <pc:spChg chg="add mod">
          <ac:chgData name="Ghate, Atul" userId="e633be56-9ace-423d-8883-e42d357bf4e0" providerId="ADAL" clId="{D9AE540D-6014-4B0C-B694-E2D1F106ADD5}" dt="2021-02-02T22:08:01.730" v="209" actId="20577"/>
          <ac:spMkLst>
            <pc:docMk/>
            <pc:sldMk cId="900996307" sldId="315"/>
            <ac:spMk id="274" creationId="{88167138-1BD5-48E1-A092-4E20E4E3E33B}"/>
          </ac:spMkLst>
        </pc:spChg>
        <pc:spChg chg="add mod">
          <ac:chgData name="Ghate, Atul" userId="e633be56-9ace-423d-8883-e42d357bf4e0" providerId="ADAL" clId="{D9AE540D-6014-4B0C-B694-E2D1F106ADD5}" dt="2021-02-02T22:19:06.032" v="444" actId="571"/>
          <ac:spMkLst>
            <pc:docMk/>
            <pc:sldMk cId="900996307" sldId="315"/>
            <ac:spMk id="275" creationId="{5D2EADF1-DA3B-4D68-86B1-665CF19EC853}"/>
          </ac:spMkLst>
        </pc:spChg>
        <pc:spChg chg="add mod">
          <ac:chgData name="Ghate, Atul" userId="e633be56-9ace-423d-8883-e42d357bf4e0" providerId="ADAL" clId="{D9AE540D-6014-4B0C-B694-E2D1F106ADD5}" dt="2021-02-02T22:19:06.032" v="444" actId="571"/>
          <ac:spMkLst>
            <pc:docMk/>
            <pc:sldMk cId="900996307" sldId="315"/>
            <ac:spMk id="276" creationId="{589C68F6-8768-412A-AB08-589BA28B6036}"/>
          </ac:spMkLst>
        </pc:spChg>
        <pc:grpChg chg="add mod">
          <ac:chgData name="Ghate, Atul" userId="e633be56-9ace-423d-8883-e42d357bf4e0" providerId="ADAL" clId="{D9AE540D-6014-4B0C-B694-E2D1F106ADD5}" dt="2021-02-02T22:19:38.249" v="451" actId="164"/>
          <ac:grpSpMkLst>
            <pc:docMk/>
            <pc:sldMk cId="900996307" sldId="315"/>
            <ac:grpSpMk id="5" creationId="{415D7CBD-CC1A-4A85-9FA0-F33DC360FC21}"/>
          </ac:grpSpMkLst>
        </pc:grpChg>
        <pc:grpChg chg="add del mod ord">
          <ac:chgData name="Ghate, Atul" userId="e633be56-9ace-423d-8883-e42d357bf4e0" providerId="ADAL" clId="{D9AE540D-6014-4B0C-B694-E2D1F106ADD5}" dt="2021-02-02T22:20:13.283" v="468" actId="1076"/>
          <ac:grpSpMkLst>
            <pc:docMk/>
            <pc:sldMk cId="900996307" sldId="315"/>
            <ac:grpSpMk id="120" creationId="{B8D5349D-705E-40C8-8006-76478DBA82EE}"/>
          </ac:grpSpMkLst>
        </pc:grpChg>
        <pc:grpChg chg="mod">
          <ac:chgData name="Ghate, Atul" userId="e633be56-9ace-423d-8883-e42d357bf4e0" providerId="ADAL" clId="{D9AE540D-6014-4B0C-B694-E2D1F106ADD5}" dt="2021-02-02T22:20:04.599" v="465" actId="1076"/>
          <ac:grpSpMkLst>
            <pc:docMk/>
            <pc:sldMk cId="900996307" sldId="315"/>
            <ac:grpSpMk id="127" creationId="{D9EB4EAB-B5E5-471D-8E10-0E2A839C954A}"/>
          </ac:grpSpMkLst>
        </pc:grpChg>
        <pc:grpChg chg="mod">
          <ac:chgData name="Ghate, Atul" userId="e633be56-9ace-423d-8883-e42d357bf4e0" providerId="ADAL" clId="{D9AE540D-6014-4B0C-B694-E2D1F106ADD5}" dt="2021-02-02T22:20:20.062" v="470" actId="1076"/>
          <ac:grpSpMkLst>
            <pc:docMk/>
            <pc:sldMk cId="900996307" sldId="315"/>
            <ac:grpSpMk id="241" creationId="{84A0F06A-E49B-4ACB-B225-BFF7831791E9}"/>
          </ac:grpSpMkLst>
        </pc:grpChg>
        <pc:grpChg chg="mod">
          <ac:chgData name="Ghate, Atul" userId="e633be56-9ace-423d-8883-e42d357bf4e0" providerId="ADAL" clId="{D9AE540D-6014-4B0C-B694-E2D1F106ADD5}" dt="2021-02-02T22:20:08.903" v="467" actId="1076"/>
          <ac:grpSpMkLst>
            <pc:docMk/>
            <pc:sldMk cId="900996307" sldId="315"/>
            <ac:grpSpMk id="246" creationId="{E5CA15B0-1427-423E-AD90-02289E71EEFF}"/>
          </ac:grpSpMkLst>
        </pc:grpChg>
        <pc:grpChg chg="mod">
          <ac:chgData name="Ghate, Atul" userId="e633be56-9ace-423d-8883-e42d357bf4e0" providerId="ADAL" clId="{D9AE540D-6014-4B0C-B694-E2D1F106ADD5}" dt="2021-02-02T22:20:06.311" v="466" actId="1076"/>
          <ac:grpSpMkLst>
            <pc:docMk/>
            <pc:sldMk cId="900996307" sldId="315"/>
            <ac:grpSpMk id="257" creationId="{CE3F0C7D-3002-4578-83E7-A7C469B43028}"/>
          </ac:grpSpMkLst>
        </pc:grpChg>
        <pc:grpChg chg="mod">
          <ac:chgData name="Ghate, Atul" userId="e633be56-9ace-423d-8883-e42d357bf4e0" providerId="ADAL" clId="{D9AE540D-6014-4B0C-B694-E2D1F106ADD5}" dt="2021-02-02T22:20:15.661" v="469" actId="1076"/>
          <ac:grpSpMkLst>
            <pc:docMk/>
            <pc:sldMk cId="900996307" sldId="315"/>
            <ac:grpSpMk id="266" creationId="{EC531317-66D0-4084-B68C-78D3D858269E}"/>
          </ac:grpSpMkLst>
        </pc:grpChg>
      </pc:sldChg>
      <pc:sldChg chg="addSp delSp modSp add">
        <pc:chgData name="Ghate, Atul" userId="e633be56-9ace-423d-8883-e42d357bf4e0" providerId="ADAL" clId="{D9AE540D-6014-4B0C-B694-E2D1F106ADD5}" dt="2021-02-02T22:45:28.133" v="1501" actId="113"/>
        <pc:sldMkLst>
          <pc:docMk/>
          <pc:sldMk cId="2019079057" sldId="10386"/>
        </pc:sldMkLst>
        <pc:spChg chg="add del mod">
          <ac:chgData name="Ghate, Atul" userId="e633be56-9ace-423d-8883-e42d357bf4e0" providerId="ADAL" clId="{D9AE540D-6014-4B0C-B694-E2D1F106ADD5}" dt="2021-02-02T22:22:07.192" v="508" actId="20577"/>
          <ac:spMkLst>
            <pc:docMk/>
            <pc:sldMk cId="2019079057" sldId="10386"/>
            <ac:spMk id="2" creationId="{1D2753DB-2693-4A16-93E8-06CAF3512E41}"/>
          </ac:spMkLst>
        </pc:spChg>
        <pc:spChg chg="add del mod">
          <ac:chgData name="Ghate, Atul" userId="e633be56-9ace-423d-8883-e42d357bf4e0" providerId="ADAL" clId="{D9AE540D-6014-4B0C-B694-E2D1F106ADD5}" dt="2021-02-02T22:21:54.364" v="476" actId="478"/>
          <ac:spMkLst>
            <pc:docMk/>
            <pc:sldMk cId="2019079057" sldId="10386"/>
            <ac:spMk id="4" creationId="{7A922283-A32D-46B8-929B-E407045E4843}"/>
          </ac:spMkLst>
        </pc:spChg>
        <pc:spChg chg="add del">
          <ac:chgData name="Ghate, Atul" userId="e633be56-9ace-423d-8883-e42d357bf4e0" providerId="ADAL" clId="{D9AE540D-6014-4B0C-B694-E2D1F106ADD5}" dt="2021-02-02T22:21:53.204" v="475"/>
          <ac:spMkLst>
            <pc:docMk/>
            <pc:sldMk cId="2019079057" sldId="10386"/>
            <ac:spMk id="36" creationId="{F3860BA0-F24C-449D-8016-C9E8B183C173}"/>
          </ac:spMkLst>
        </pc:spChg>
        <pc:spChg chg="mod">
          <ac:chgData name="Ghate, Atul" userId="e633be56-9ace-423d-8883-e42d357bf4e0" providerId="ADAL" clId="{D9AE540D-6014-4B0C-B694-E2D1F106ADD5}" dt="2021-02-02T22:45:21.418" v="1500" actId="113"/>
          <ac:spMkLst>
            <pc:docMk/>
            <pc:sldMk cId="2019079057" sldId="10386"/>
            <ac:spMk id="114" creationId="{1C837E96-ABC7-4F5E-8004-6581F6631F17}"/>
          </ac:spMkLst>
        </pc:spChg>
        <pc:spChg chg="mod">
          <ac:chgData name="Ghate, Atul" userId="e633be56-9ace-423d-8883-e42d357bf4e0" providerId="ADAL" clId="{D9AE540D-6014-4B0C-B694-E2D1F106ADD5}" dt="2021-02-02T22:45:09.664" v="1498" actId="113"/>
          <ac:spMkLst>
            <pc:docMk/>
            <pc:sldMk cId="2019079057" sldId="10386"/>
            <ac:spMk id="115" creationId="{078582B0-3DF0-4396-859C-975604B24201}"/>
          </ac:spMkLst>
        </pc:spChg>
        <pc:spChg chg="mod">
          <ac:chgData name="Ghate, Atul" userId="e633be56-9ace-423d-8883-e42d357bf4e0" providerId="ADAL" clId="{D9AE540D-6014-4B0C-B694-E2D1F106ADD5}" dt="2021-02-02T22:31:58.867" v="1032" actId="1076"/>
          <ac:spMkLst>
            <pc:docMk/>
            <pc:sldMk cId="2019079057" sldId="10386"/>
            <ac:spMk id="116" creationId="{5A0B4513-1AB2-4832-AD41-A8762F73C8D0}"/>
          </ac:spMkLst>
        </pc:spChg>
        <pc:spChg chg="mod">
          <ac:chgData name="Ghate, Atul" userId="e633be56-9ace-423d-8883-e42d357bf4e0" providerId="ADAL" clId="{D9AE540D-6014-4B0C-B694-E2D1F106ADD5}" dt="2021-02-02T22:45:18.223" v="1499" actId="113"/>
          <ac:spMkLst>
            <pc:docMk/>
            <pc:sldMk cId="2019079057" sldId="10386"/>
            <ac:spMk id="117" creationId="{FF299215-4B5A-43FE-AB69-1584D8E39452}"/>
          </ac:spMkLst>
        </pc:spChg>
        <pc:spChg chg="mod">
          <ac:chgData name="Ghate, Atul" userId="e633be56-9ace-423d-8883-e42d357bf4e0" providerId="ADAL" clId="{D9AE540D-6014-4B0C-B694-E2D1F106ADD5}" dt="2021-02-02T22:45:28.133" v="1501" actId="113"/>
          <ac:spMkLst>
            <pc:docMk/>
            <pc:sldMk cId="2019079057" sldId="10386"/>
            <ac:spMk id="118" creationId="{13BC6EDF-E410-4303-A8E8-56AFF378C2F7}"/>
          </ac:spMkLst>
        </pc:spChg>
        <pc:spChg chg="mod">
          <ac:chgData name="Ghate, Atul" userId="e633be56-9ace-423d-8883-e42d357bf4e0" providerId="ADAL" clId="{D9AE540D-6014-4B0C-B694-E2D1F106ADD5}" dt="2021-02-02T22:22:38.565" v="516" actId="20577"/>
          <ac:spMkLst>
            <pc:docMk/>
            <pc:sldMk cId="2019079057" sldId="10386"/>
            <ac:spMk id="121" creationId="{248F3609-E826-4B06-899D-6D477CD9E397}"/>
          </ac:spMkLst>
        </pc:spChg>
        <pc:spChg chg="mod">
          <ac:chgData name="Ghate, Atul" userId="e633be56-9ace-423d-8883-e42d357bf4e0" providerId="ADAL" clId="{D9AE540D-6014-4B0C-B694-E2D1F106ADD5}" dt="2021-02-02T22:24:06.520" v="547" actId="20577"/>
          <ac:spMkLst>
            <pc:docMk/>
            <pc:sldMk cId="2019079057" sldId="10386"/>
            <ac:spMk id="122" creationId="{B69FFA9C-5B7F-4178-96F2-0867CE5BAF14}"/>
          </ac:spMkLst>
        </pc:spChg>
        <pc:spChg chg="mod">
          <ac:chgData name="Ghate, Atul" userId="e633be56-9ace-423d-8883-e42d357bf4e0" providerId="ADAL" clId="{D9AE540D-6014-4B0C-B694-E2D1F106ADD5}" dt="2021-02-02T22:28:34.388" v="830" actId="20577"/>
          <ac:spMkLst>
            <pc:docMk/>
            <pc:sldMk cId="2019079057" sldId="10386"/>
            <ac:spMk id="123" creationId="{7CA503F7-1845-41D1-A601-DD8D2A594EFB}"/>
          </ac:spMkLst>
        </pc:spChg>
        <pc:spChg chg="mod">
          <ac:chgData name="Ghate, Atul" userId="e633be56-9ace-423d-8883-e42d357bf4e0" providerId="ADAL" clId="{D9AE540D-6014-4B0C-B694-E2D1F106ADD5}" dt="2021-02-02T22:31:05.436" v="1024" actId="33524"/>
          <ac:spMkLst>
            <pc:docMk/>
            <pc:sldMk cId="2019079057" sldId="10386"/>
            <ac:spMk id="124" creationId="{4B0AFE7B-0CD6-4C9E-AB40-9B50A5D43643}"/>
          </ac:spMkLst>
        </pc:spChg>
        <pc:spChg chg="mod">
          <ac:chgData name="Ghate, Atul" userId="e633be56-9ace-423d-8883-e42d357bf4e0" providerId="ADAL" clId="{D9AE540D-6014-4B0C-B694-E2D1F106ADD5}" dt="2021-02-02T22:28:42.943" v="855" actId="20577"/>
          <ac:spMkLst>
            <pc:docMk/>
            <pc:sldMk cId="2019079057" sldId="10386"/>
            <ac:spMk id="125" creationId="{3F1CC714-4A72-4534-9CB9-987943F37716}"/>
          </ac:spMkLst>
        </pc:spChg>
      </pc:sldChg>
      <pc:sldChg chg="del">
        <pc:chgData name="Ghate, Atul" userId="e633be56-9ace-423d-8883-e42d357bf4e0" providerId="ADAL" clId="{D9AE540D-6014-4B0C-B694-E2D1F106ADD5}" dt="2021-02-02T22:32:37.502" v="1037" actId="2696"/>
        <pc:sldMkLst>
          <pc:docMk/>
          <pc:sldMk cId="2678393538" sldId="10884"/>
        </pc:sldMkLst>
      </pc:sldChg>
      <pc:sldChg chg="del">
        <pc:chgData name="Ghate, Atul" userId="e633be56-9ace-423d-8883-e42d357bf4e0" providerId="ADAL" clId="{D9AE540D-6014-4B0C-B694-E2D1F106ADD5}" dt="2021-02-02T21:55:51.009" v="0" actId="2696"/>
        <pc:sldMkLst>
          <pc:docMk/>
          <pc:sldMk cId="2907139605" sldId="2076136453"/>
        </pc:sldMkLst>
      </pc:sldChg>
      <pc:sldChg chg="modSp ord">
        <pc:chgData name="Ghate, Atul" userId="e633be56-9ace-423d-8883-e42d357bf4e0" providerId="ADAL" clId="{D9AE540D-6014-4B0C-B694-E2D1F106ADD5}" dt="2021-02-02T22:42:57.572" v="1449"/>
        <pc:sldMkLst>
          <pc:docMk/>
          <pc:sldMk cId="1693220254" sldId="2076136457"/>
        </pc:sldMkLst>
        <pc:spChg chg="mod">
          <ac:chgData name="Ghate, Atul" userId="e633be56-9ace-423d-8883-e42d357bf4e0" providerId="ADAL" clId="{D9AE540D-6014-4B0C-B694-E2D1F106ADD5}" dt="2021-02-02T21:56:37.826" v="22" actId="20577"/>
          <ac:spMkLst>
            <pc:docMk/>
            <pc:sldMk cId="1693220254" sldId="2076136457"/>
            <ac:spMk id="2" creationId="{0BA57650-4A0B-415D-9618-458BD785EF06}"/>
          </ac:spMkLst>
        </pc:spChg>
      </pc:sldChg>
      <pc:sldChg chg="modSp">
        <pc:chgData name="Ghate, Atul" userId="e633be56-9ace-423d-8883-e42d357bf4e0" providerId="ADAL" clId="{D9AE540D-6014-4B0C-B694-E2D1F106ADD5}" dt="2021-02-02T22:44:42.225" v="1497" actId="20577"/>
        <pc:sldMkLst>
          <pc:docMk/>
          <pc:sldMk cId="4126289590" sldId="2076136458"/>
        </pc:sldMkLst>
        <pc:spChg chg="mod">
          <ac:chgData name="Ghate, Atul" userId="e633be56-9ace-423d-8883-e42d357bf4e0" providerId="ADAL" clId="{D9AE540D-6014-4B0C-B694-E2D1F106ADD5}" dt="2021-02-02T22:43:53.625" v="1451" actId="6549"/>
          <ac:spMkLst>
            <pc:docMk/>
            <pc:sldMk cId="4126289590" sldId="2076136458"/>
            <ac:spMk id="8" creationId="{981D5D4A-66D5-436E-9685-0239B48C42C3}"/>
          </ac:spMkLst>
        </pc:spChg>
        <pc:spChg chg="mod">
          <ac:chgData name="Ghate, Atul" userId="e633be56-9ace-423d-8883-e42d357bf4e0" providerId="ADAL" clId="{D9AE540D-6014-4B0C-B694-E2D1F106ADD5}" dt="2021-02-02T22:44:42.225" v="1497" actId="20577"/>
          <ac:spMkLst>
            <pc:docMk/>
            <pc:sldMk cId="4126289590" sldId="2076136458"/>
            <ac:spMk id="11" creationId="{4417E88F-1CA9-45D8-9C0E-84E1AE62EBD9}"/>
          </ac:spMkLst>
        </pc:spChg>
      </pc:sldChg>
      <pc:sldChg chg="addSp delSp modSp add del ord">
        <pc:chgData name="Ghate, Atul" userId="e633be56-9ace-423d-8883-e42d357bf4e0" providerId="ADAL" clId="{D9AE540D-6014-4B0C-B694-E2D1F106ADD5}" dt="2021-02-02T22:42:43.869" v="1448" actId="313"/>
        <pc:sldMkLst>
          <pc:docMk/>
          <pc:sldMk cId="3042069393" sldId="2076136792"/>
        </pc:sldMkLst>
        <pc:spChg chg="mod">
          <ac:chgData name="Ghate, Atul" userId="e633be56-9ace-423d-8883-e42d357bf4e0" providerId="ADAL" clId="{D9AE540D-6014-4B0C-B694-E2D1F106ADD5}" dt="2021-02-02T22:38:12.390" v="1250" actId="1035"/>
          <ac:spMkLst>
            <pc:docMk/>
            <pc:sldMk cId="3042069393" sldId="2076136792"/>
            <ac:spMk id="2" creationId="{8F56DD16-4EDC-5D42-BEC1-B213014E5A87}"/>
          </ac:spMkLst>
        </pc:spChg>
        <pc:spChg chg="mod">
          <ac:chgData name="Ghate, Atul" userId="e633be56-9ace-423d-8883-e42d357bf4e0" providerId="ADAL" clId="{D9AE540D-6014-4B0C-B694-E2D1F106ADD5}" dt="2021-02-02T22:38:04.904" v="1244" actId="1035"/>
          <ac:spMkLst>
            <pc:docMk/>
            <pc:sldMk cId="3042069393" sldId="2076136792"/>
            <ac:spMk id="4" creationId="{A8217FD2-7097-9842-A62A-4A4DEC781F72}"/>
          </ac:spMkLst>
        </pc:spChg>
        <pc:spChg chg="mod">
          <ac:chgData name="Ghate, Atul" userId="e633be56-9ace-423d-8883-e42d357bf4e0" providerId="ADAL" clId="{D9AE540D-6014-4B0C-B694-E2D1F106ADD5}" dt="2021-02-02T22:36:36.881" v="1153" actId="1036"/>
          <ac:spMkLst>
            <pc:docMk/>
            <pc:sldMk cId="3042069393" sldId="2076136792"/>
            <ac:spMk id="6" creationId="{6D3D5D68-B384-B04C-829B-FC0C396A8848}"/>
          </ac:spMkLst>
        </pc:spChg>
        <pc:spChg chg="mod">
          <ac:chgData name="Ghate, Atul" userId="e633be56-9ace-423d-8883-e42d357bf4e0" providerId="ADAL" clId="{D9AE540D-6014-4B0C-B694-E2D1F106ADD5}" dt="2021-02-02T22:36:36.881" v="1153" actId="1036"/>
          <ac:spMkLst>
            <pc:docMk/>
            <pc:sldMk cId="3042069393" sldId="2076136792"/>
            <ac:spMk id="7" creationId="{C49E1223-0BEC-634E-94DD-D6120E9A62BC}"/>
          </ac:spMkLst>
        </pc:spChg>
        <pc:spChg chg="mod">
          <ac:chgData name="Ghate, Atul" userId="e633be56-9ace-423d-8883-e42d357bf4e0" providerId="ADAL" clId="{D9AE540D-6014-4B0C-B694-E2D1F106ADD5}" dt="2021-02-02T22:36:36.881" v="1153" actId="1036"/>
          <ac:spMkLst>
            <pc:docMk/>
            <pc:sldMk cId="3042069393" sldId="2076136792"/>
            <ac:spMk id="8" creationId="{0A7C9FAD-CA48-F148-A971-A2884AC054E9}"/>
          </ac:spMkLst>
        </pc:spChg>
        <pc:spChg chg="mod">
          <ac:chgData name="Ghate, Atul" userId="e633be56-9ace-423d-8883-e42d357bf4e0" providerId="ADAL" clId="{D9AE540D-6014-4B0C-B694-E2D1F106ADD5}" dt="2021-02-02T22:36:36.881" v="1153" actId="1036"/>
          <ac:spMkLst>
            <pc:docMk/>
            <pc:sldMk cId="3042069393" sldId="2076136792"/>
            <ac:spMk id="9" creationId="{6FB5A6BF-C77D-7644-ADBD-70E955182A3F}"/>
          </ac:spMkLst>
        </pc:spChg>
        <pc:spChg chg="mod">
          <ac:chgData name="Ghate, Atul" userId="e633be56-9ace-423d-8883-e42d357bf4e0" providerId="ADAL" clId="{D9AE540D-6014-4B0C-B694-E2D1F106ADD5}" dt="2021-02-02T22:39:50.860" v="1290" actId="20577"/>
          <ac:spMkLst>
            <pc:docMk/>
            <pc:sldMk cId="3042069393" sldId="2076136792"/>
            <ac:spMk id="21" creationId="{257EFD99-54CA-46A3-816F-3F86D42153C0}"/>
          </ac:spMkLst>
        </pc:spChg>
        <pc:spChg chg="mod">
          <ac:chgData name="Ghate, Atul" userId="e633be56-9ace-423d-8883-e42d357bf4e0" providerId="ADAL" clId="{D9AE540D-6014-4B0C-B694-E2D1F106ADD5}" dt="2021-02-02T22:41:36.950" v="1377" actId="1076"/>
          <ac:spMkLst>
            <pc:docMk/>
            <pc:sldMk cId="3042069393" sldId="2076136792"/>
            <ac:spMk id="23" creationId="{1DCC1569-F646-4FE0-864C-816581F91AC6}"/>
          </ac:spMkLst>
        </pc:spChg>
        <pc:spChg chg="mod">
          <ac:chgData name="Ghate, Atul" userId="e633be56-9ace-423d-8883-e42d357bf4e0" providerId="ADAL" clId="{D9AE540D-6014-4B0C-B694-E2D1F106ADD5}" dt="2021-02-02T22:39:28.836" v="1265" actId="1076"/>
          <ac:spMkLst>
            <pc:docMk/>
            <pc:sldMk cId="3042069393" sldId="2076136792"/>
            <ac:spMk id="24" creationId="{73F6F545-58F5-4355-A1D0-2D949358ED7D}"/>
          </ac:spMkLst>
        </pc:spChg>
        <pc:spChg chg="add del mod">
          <ac:chgData name="Ghate, Atul" userId="e633be56-9ace-423d-8883-e42d357bf4e0" providerId="ADAL" clId="{D9AE540D-6014-4B0C-B694-E2D1F106ADD5}" dt="2021-02-02T22:37:35.434" v="1193" actId="478"/>
          <ac:spMkLst>
            <pc:docMk/>
            <pc:sldMk cId="3042069393" sldId="2076136792"/>
            <ac:spMk id="31" creationId="{B8454E56-0BA0-4740-8568-6B847FFC0F70}"/>
          </ac:spMkLst>
        </pc:spChg>
        <pc:spChg chg="mod">
          <ac:chgData name="Ghate, Atul" userId="e633be56-9ace-423d-8883-e42d357bf4e0" providerId="ADAL" clId="{D9AE540D-6014-4B0C-B694-E2D1F106ADD5}" dt="2021-02-02T22:42:03.041" v="1429" actId="6549"/>
          <ac:spMkLst>
            <pc:docMk/>
            <pc:sldMk cId="3042069393" sldId="2076136792"/>
            <ac:spMk id="59" creationId="{878B0DE3-3940-413F-B824-D0C91F08563C}"/>
          </ac:spMkLst>
        </pc:spChg>
        <pc:spChg chg="del">
          <ac:chgData name="Ghate, Atul" userId="e633be56-9ace-423d-8883-e42d357bf4e0" providerId="ADAL" clId="{D9AE540D-6014-4B0C-B694-E2D1F106ADD5}" dt="2021-02-02T22:41:28.047" v="1376" actId="478"/>
          <ac:spMkLst>
            <pc:docMk/>
            <pc:sldMk cId="3042069393" sldId="2076136792"/>
            <ac:spMk id="71" creationId="{053E23BD-567D-40E3-821C-1A74F0816200}"/>
          </ac:spMkLst>
        </pc:spChg>
        <pc:spChg chg="mod">
          <ac:chgData name="Ghate, Atul" userId="e633be56-9ace-423d-8883-e42d357bf4e0" providerId="ADAL" clId="{D9AE540D-6014-4B0C-B694-E2D1F106ADD5}" dt="2021-02-02T22:42:43.869" v="1448" actId="313"/>
          <ac:spMkLst>
            <pc:docMk/>
            <pc:sldMk cId="3042069393" sldId="2076136792"/>
            <ac:spMk id="74" creationId="{DA14AF17-4206-4C1C-BDE5-13CEE16BEE7B}"/>
          </ac:spMkLst>
        </pc:spChg>
        <pc:grpChg chg="del">
          <ac:chgData name="Ghate, Atul" userId="e633be56-9ace-423d-8883-e42d357bf4e0" providerId="ADAL" clId="{D9AE540D-6014-4B0C-B694-E2D1F106ADD5}" dt="2021-02-02T22:41:24.956" v="1375" actId="478"/>
          <ac:grpSpMkLst>
            <pc:docMk/>
            <pc:sldMk cId="3042069393" sldId="2076136792"/>
            <ac:grpSpMk id="11" creationId="{14E0F2F1-662E-438A-8C40-B6D22EB96F1C}"/>
          </ac:grpSpMkLst>
        </pc:grpChg>
        <pc:grpChg chg="del">
          <ac:chgData name="Ghate, Atul" userId="e633be56-9ace-423d-8883-e42d357bf4e0" providerId="ADAL" clId="{D9AE540D-6014-4B0C-B694-E2D1F106ADD5}" dt="2021-02-02T22:41:28.047" v="1376" actId="478"/>
          <ac:grpSpMkLst>
            <pc:docMk/>
            <pc:sldMk cId="3042069393" sldId="2076136792"/>
            <ac:grpSpMk id="18" creationId="{9394D339-4525-4A89-ABDD-A0DAA7F6A97B}"/>
          </ac:grpSpMkLst>
        </pc:grpChg>
        <pc:grpChg chg="del">
          <ac:chgData name="Ghate, Atul" userId="e633be56-9ace-423d-8883-e42d357bf4e0" providerId="ADAL" clId="{D9AE540D-6014-4B0C-B694-E2D1F106ADD5}" dt="2021-02-02T22:42:14.570" v="1430" actId="478"/>
          <ac:grpSpMkLst>
            <pc:docMk/>
            <pc:sldMk cId="3042069393" sldId="2076136792"/>
            <ac:grpSpMk id="64" creationId="{3F4F3D31-D23A-4390-A87B-C6FB6A63FF3D}"/>
          </ac:grpSpMkLst>
        </pc:grpChg>
        <pc:picChg chg="mod">
          <ac:chgData name="Ghate, Atul" userId="e633be56-9ace-423d-8883-e42d357bf4e0" providerId="ADAL" clId="{D9AE540D-6014-4B0C-B694-E2D1F106ADD5}" dt="2021-02-02T22:38:12.390" v="1250" actId="1035"/>
          <ac:picMkLst>
            <pc:docMk/>
            <pc:sldMk cId="3042069393" sldId="2076136792"/>
            <ac:picMk id="19" creationId="{CBCDB546-C84B-43C2-8920-3883C0C69906}"/>
          </ac:picMkLst>
        </pc:picChg>
        <pc:picChg chg="mod">
          <ac:chgData name="Ghate, Atul" userId="e633be56-9ace-423d-8883-e42d357bf4e0" providerId="ADAL" clId="{D9AE540D-6014-4B0C-B694-E2D1F106ADD5}" dt="2021-02-02T22:36:36.881" v="1153" actId="1036"/>
          <ac:picMkLst>
            <pc:docMk/>
            <pc:sldMk cId="3042069393" sldId="2076136792"/>
            <ac:picMk id="63" creationId="{2290292C-C799-44D7-AAB9-9499D474C7F3}"/>
          </ac:picMkLst>
        </pc:picChg>
        <pc:picChg chg="mod">
          <ac:chgData name="Ghate, Atul" userId="e633be56-9ace-423d-8883-e42d357bf4e0" providerId="ADAL" clId="{D9AE540D-6014-4B0C-B694-E2D1F106ADD5}" dt="2021-02-02T22:36:36.881" v="1153" actId="1036"/>
          <ac:picMkLst>
            <pc:docMk/>
            <pc:sldMk cId="3042069393" sldId="2076136792"/>
            <ac:picMk id="69" creationId="{BAB74D93-39DF-46D9-94E6-052A68290FD4}"/>
          </ac:picMkLst>
        </pc:picChg>
        <pc:picChg chg="mod">
          <ac:chgData name="Ghate, Atul" userId="e633be56-9ace-423d-8883-e42d357bf4e0" providerId="ADAL" clId="{D9AE540D-6014-4B0C-B694-E2D1F106ADD5}" dt="2021-02-02T22:36:36.881" v="1153" actId="1036"/>
          <ac:picMkLst>
            <pc:docMk/>
            <pc:sldMk cId="3042069393" sldId="2076136792"/>
            <ac:picMk id="72" creationId="{D116D0D2-7347-454E-B2E7-41E8D40089DC}"/>
          </ac:picMkLst>
        </pc:picChg>
        <pc:picChg chg="del mod">
          <ac:chgData name="Ghate, Atul" userId="e633be56-9ace-423d-8883-e42d357bf4e0" providerId="ADAL" clId="{D9AE540D-6014-4B0C-B694-E2D1F106ADD5}" dt="2021-02-02T22:37:14.096" v="1168" actId="478"/>
          <ac:picMkLst>
            <pc:docMk/>
            <pc:sldMk cId="3042069393" sldId="2076136792"/>
            <ac:picMk id="73" creationId="{2C16D4ED-BE77-4ABF-829E-B63E429B52EB}"/>
          </ac:picMkLst>
        </pc:picChg>
        <pc:picChg chg="mod">
          <ac:chgData name="Ghate, Atul" userId="e633be56-9ace-423d-8883-e42d357bf4e0" providerId="ADAL" clId="{D9AE540D-6014-4B0C-B694-E2D1F106ADD5}" dt="2021-02-02T22:42:39.585" v="1447" actId="1076"/>
          <ac:picMkLst>
            <pc:docMk/>
            <pc:sldMk cId="3042069393" sldId="2076136792"/>
            <ac:picMk id="77" creationId="{A659B80F-B3FC-4F75-8154-738724809E4D}"/>
          </ac:picMkLst>
        </pc:picChg>
      </pc:sldChg>
      <pc:sldChg chg="del">
        <pc:chgData name="Ghate, Atul" userId="e633be56-9ace-423d-8883-e42d357bf4e0" providerId="ADAL" clId="{D9AE540D-6014-4B0C-B694-E2D1F106ADD5}" dt="2021-02-02T21:55:51.664" v="1" actId="2696"/>
        <pc:sldMkLst>
          <pc:docMk/>
          <pc:sldMk cId="1283514507" sldId="2076137786"/>
        </pc:sldMkLst>
      </pc:sldChg>
      <pc:sldMasterChg chg="del delSldLayout">
        <pc:chgData name="Ghate, Atul" userId="e633be56-9ace-423d-8883-e42d357bf4e0" providerId="ADAL" clId="{D9AE540D-6014-4B0C-B694-E2D1F106ADD5}" dt="2021-02-02T22:32:48.708" v="1056" actId="2696"/>
        <pc:sldMasterMkLst>
          <pc:docMk/>
          <pc:sldMasterMk cId="496350016" sldId="2147483673"/>
        </pc:sldMasterMkLst>
        <pc:sldLayoutChg chg="del">
          <pc:chgData name="Ghate, Atul" userId="e633be56-9ace-423d-8883-e42d357bf4e0" providerId="ADAL" clId="{D9AE540D-6014-4B0C-B694-E2D1F106ADD5}" dt="2021-02-02T22:32:48.694" v="1041" actId="2696"/>
          <pc:sldLayoutMkLst>
            <pc:docMk/>
            <pc:sldMasterMk cId="496350016" sldId="2147483673"/>
            <pc:sldLayoutMk cId="2747074844" sldId="2147483674"/>
          </pc:sldLayoutMkLst>
        </pc:sldLayoutChg>
        <pc:sldLayoutChg chg="del">
          <pc:chgData name="Ghate, Atul" userId="e633be56-9ace-423d-8883-e42d357bf4e0" providerId="ADAL" clId="{D9AE540D-6014-4B0C-B694-E2D1F106ADD5}" dt="2021-02-02T22:32:48.695" v="1042" actId="2696"/>
          <pc:sldLayoutMkLst>
            <pc:docMk/>
            <pc:sldMasterMk cId="496350016" sldId="2147483673"/>
            <pc:sldLayoutMk cId="2275541912" sldId="2147483675"/>
          </pc:sldLayoutMkLst>
        </pc:sldLayoutChg>
        <pc:sldLayoutChg chg="del">
          <pc:chgData name="Ghate, Atul" userId="e633be56-9ace-423d-8883-e42d357bf4e0" providerId="ADAL" clId="{D9AE540D-6014-4B0C-B694-E2D1F106ADD5}" dt="2021-02-02T22:32:48.696" v="1043" actId="2696"/>
          <pc:sldLayoutMkLst>
            <pc:docMk/>
            <pc:sldMasterMk cId="496350016" sldId="2147483673"/>
            <pc:sldLayoutMk cId="4098182432" sldId="2147483676"/>
          </pc:sldLayoutMkLst>
        </pc:sldLayoutChg>
        <pc:sldLayoutChg chg="del">
          <pc:chgData name="Ghate, Atul" userId="e633be56-9ace-423d-8883-e42d357bf4e0" providerId="ADAL" clId="{D9AE540D-6014-4B0C-B694-E2D1F106ADD5}" dt="2021-02-02T22:32:48.697" v="1044" actId="2696"/>
          <pc:sldLayoutMkLst>
            <pc:docMk/>
            <pc:sldMasterMk cId="496350016" sldId="2147483673"/>
            <pc:sldLayoutMk cId="1009335064" sldId="2147483677"/>
          </pc:sldLayoutMkLst>
        </pc:sldLayoutChg>
        <pc:sldLayoutChg chg="del">
          <pc:chgData name="Ghate, Atul" userId="e633be56-9ace-423d-8883-e42d357bf4e0" providerId="ADAL" clId="{D9AE540D-6014-4B0C-B694-E2D1F106ADD5}" dt="2021-02-02T22:32:48.697" v="1045" actId="2696"/>
          <pc:sldLayoutMkLst>
            <pc:docMk/>
            <pc:sldMasterMk cId="496350016" sldId="2147483673"/>
            <pc:sldLayoutMk cId="3358447169" sldId="2147483678"/>
          </pc:sldLayoutMkLst>
        </pc:sldLayoutChg>
        <pc:sldLayoutChg chg="del">
          <pc:chgData name="Ghate, Atul" userId="e633be56-9ace-423d-8883-e42d357bf4e0" providerId="ADAL" clId="{D9AE540D-6014-4B0C-B694-E2D1F106ADD5}" dt="2021-02-02T22:32:48.698" v="1046" actId="2696"/>
          <pc:sldLayoutMkLst>
            <pc:docMk/>
            <pc:sldMasterMk cId="496350016" sldId="2147483673"/>
            <pc:sldLayoutMk cId="2048009967" sldId="2147483679"/>
          </pc:sldLayoutMkLst>
        </pc:sldLayoutChg>
        <pc:sldLayoutChg chg="del">
          <pc:chgData name="Ghate, Atul" userId="e633be56-9ace-423d-8883-e42d357bf4e0" providerId="ADAL" clId="{D9AE540D-6014-4B0C-B694-E2D1F106ADD5}" dt="2021-02-02T22:32:48.700" v="1047" actId="2696"/>
          <pc:sldLayoutMkLst>
            <pc:docMk/>
            <pc:sldMasterMk cId="496350016" sldId="2147483673"/>
            <pc:sldLayoutMk cId="409348367" sldId="2147483680"/>
          </pc:sldLayoutMkLst>
        </pc:sldLayoutChg>
        <pc:sldLayoutChg chg="del">
          <pc:chgData name="Ghate, Atul" userId="e633be56-9ace-423d-8883-e42d357bf4e0" providerId="ADAL" clId="{D9AE540D-6014-4B0C-B694-E2D1F106ADD5}" dt="2021-02-02T22:32:48.702" v="1048" actId="2696"/>
          <pc:sldLayoutMkLst>
            <pc:docMk/>
            <pc:sldMasterMk cId="496350016" sldId="2147483673"/>
            <pc:sldLayoutMk cId="1356028758" sldId="2147483681"/>
          </pc:sldLayoutMkLst>
        </pc:sldLayoutChg>
        <pc:sldLayoutChg chg="del">
          <pc:chgData name="Ghate, Atul" userId="e633be56-9ace-423d-8883-e42d357bf4e0" providerId="ADAL" clId="{D9AE540D-6014-4B0C-B694-E2D1F106ADD5}" dt="2021-02-02T22:32:48.702" v="1049" actId="2696"/>
          <pc:sldLayoutMkLst>
            <pc:docMk/>
            <pc:sldMasterMk cId="496350016" sldId="2147483673"/>
            <pc:sldLayoutMk cId="293194039" sldId="2147483682"/>
          </pc:sldLayoutMkLst>
        </pc:sldLayoutChg>
        <pc:sldLayoutChg chg="del">
          <pc:chgData name="Ghate, Atul" userId="e633be56-9ace-423d-8883-e42d357bf4e0" providerId="ADAL" clId="{D9AE540D-6014-4B0C-B694-E2D1F106ADD5}" dt="2021-02-02T22:32:48.703" v="1050" actId="2696"/>
          <pc:sldLayoutMkLst>
            <pc:docMk/>
            <pc:sldMasterMk cId="496350016" sldId="2147483673"/>
            <pc:sldLayoutMk cId="446158877" sldId="2147483683"/>
          </pc:sldLayoutMkLst>
        </pc:sldLayoutChg>
        <pc:sldLayoutChg chg="del">
          <pc:chgData name="Ghate, Atul" userId="e633be56-9ace-423d-8883-e42d357bf4e0" providerId="ADAL" clId="{D9AE540D-6014-4B0C-B694-E2D1F106ADD5}" dt="2021-02-02T22:32:48.704" v="1051" actId="2696"/>
          <pc:sldLayoutMkLst>
            <pc:docMk/>
            <pc:sldMasterMk cId="496350016" sldId="2147483673"/>
            <pc:sldLayoutMk cId="3819304786" sldId="2147483684"/>
          </pc:sldLayoutMkLst>
        </pc:sldLayoutChg>
        <pc:sldLayoutChg chg="del">
          <pc:chgData name="Ghate, Atul" userId="e633be56-9ace-423d-8883-e42d357bf4e0" providerId="ADAL" clId="{D9AE540D-6014-4B0C-B694-E2D1F106ADD5}" dt="2021-02-02T22:32:48.704" v="1052" actId="2696"/>
          <pc:sldLayoutMkLst>
            <pc:docMk/>
            <pc:sldMasterMk cId="496350016" sldId="2147483673"/>
            <pc:sldLayoutMk cId="2204704829" sldId="2147483685"/>
          </pc:sldLayoutMkLst>
        </pc:sldLayoutChg>
        <pc:sldLayoutChg chg="del">
          <pc:chgData name="Ghate, Atul" userId="e633be56-9ace-423d-8883-e42d357bf4e0" providerId="ADAL" clId="{D9AE540D-6014-4B0C-B694-E2D1F106ADD5}" dt="2021-02-02T22:32:48.705" v="1053" actId="2696"/>
          <pc:sldLayoutMkLst>
            <pc:docMk/>
            <pc:sldMasterMk cId="496350016" sldId="2147483673"/>
            <pc:sldLayoutMk cId="1836335150" sldId="2147483686"/>
          </pc:sldLayoutMkLst>
        </pc:sldLayoutChg>
        <pc:sldLayoutChg chg="del">
          <pc:chgData name="Ghate, Atul" userId="e633be56-9ace-423d-8883-e42d357bf4e0" providerId="ADAL" clId="{D9AE540D-6014-4B0C-B694-E2D1F106ADD5}" dt="2021-02-02T22:32:48.706" v="1054" actId="2696"/>
          <pc:sldLayoutMkLst>
            <pc:docMk/>
            <pc:sldMasterMk cId="496350016" sldId="2147483673"/>
            <pc:sldLayoutMk cId="4061512247" sldId="2147483687"/>
          </pc:sldLayoutMkLst>
        </pc:sldLayoutChg>
        <pc:sldLayoutChg chg="del">
          <pc:chgData name="Ghate, Atul" userId="e633be56-9ace-423d-8883-e42d357bf4e0" providerId="ADAL" clId="{D9AE540D-6014-4B0C-B694-E2D1F106ADD5}" dt="2021-02-02T22:32:48.706" v="1055" actId="2696"/>
          <pc:sldLayoutMkLst>
            <pc:docMk/>
            <pc:sldMasterMk cId="496350016" sldId="2147483673"/>
            <pc:sldLayoutMk cId="1949684262" sldId="2147483688"/>
          </pc:sldLayoutMkLst>
        </pc:sldLayoutChg>
      </pc:sldMasterChg>
      <pc:sldMasterChg chg="delSldLayout">
        <pc:chgData name="Ghate, Atul" userId="e633be56-9ace-423d-8883-e42d357bf4e0" providerId="ADAL" clId="{D9AE540D-6014-4B0C-B694-E2D1F106ADD5}" dt="2021-02-02T22:32:37.511" v="1038" actId="2696"/>
        <pc:sldMasterMkLst>
          <pc:docMk/>
          <pc:sldMasterMk cId="1618979163" sldId="2147483773"/>
        </pc:sldMasterMkLst>
        <pc:sldLayoutChg chg="del">
          <pc:chgData name="Ghate, Atul" userId="e633be56-9ace-423d-8883-e42d357bf4e0" providerId="ADAL" clId="{D9AE540D-6014-4B0C-B694-E2D1F106ADD5}" dt="2021-02-02T22:32:37.511" v="1038" actId="2696"/>
          <pc:sldLayoutMkLst>
            <pc:docMk/>
            <pc:sldMasterMk cId="1618979163" sldId="2147483773"/>
            <pc:sldLayoutMk cId="2292031344" sldId="2147483665"/>
          </pc:sldLayoutMkLst>
        </pc:sldLayoutChg>
        <pc:sldLayoutChg chg="del">
          <pc:chgData name="Ghate, Atul" userId="e633be56-9ace-423d-8883-e42d357bf4e0" providerId="ADAL" clId="{D9AE540D-6014-4B0C-B694-E2D1F106ADD5}" dt="2021-02-02T21:55:51.683" v="2" actId="2696"/>
          <pc:sldLayoutMkLst>
            <pc:docMk/>
            <pc:sldMasterMk cId="1618979163" sldId="2147483773"/>
            <pc:sldLayoutMk cId="320148944" sldId="2147483671"/>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182BCE-C0AD-48A5-B88B-99438DA5C484}" type="datetimeFigureOut">
              <a:rPr lang="en-US" smtClean="0"/>
              <a:t>2/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5ED97C-8FD7-4914-83A3-318819796A68}" type="slidenum">
              <a:rPr lang="en-US" smtClean="0"/>
              <a:t>‹#›</a:t>
            </a:fld>
            <a:endParaRPr lang="en-US"/>
          </a:p>
        </p:txBody>
      </p:sp>
    </p:spTree>
    <p:extLst>
      <p:ext uri="{BB962C8B-B14F-4D97-AF65-F5344CB8AC3E}">
        <p14:creationId xmlns:p14="http://schemas.microsoft.com/office/powerpoint/2010/main" val="37507147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5ED97C-8FD7-4914-83A3-318819796A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7749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2.xm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emf"/><Relationship Id="rId11" Type="http://schemas.openxmlformats.org/officeDocument/2006/relationships/image" Target="../media/image11.png"/><Relationship Id="rId5" Type="http://schemas.openxmlformats.org/officeDocument/2006/relationships/oleObject" Target="../embeddings/oleObject8.bin"/><Relationship Id="rId10" Type="http://schemas.openxmlformats.org/officeDocument/2006/relationships/image" Target="../media/image10.svg"/><Relationship Id="rId4" Type="http://schemas.openxmlformats.org/officeDocument/2006/relationships/image" Target="../media/image6.jpeg"/><Relationship Id="rId9"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3.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4.png"/><Relationship Id="rId7" Type="http://schemas.openxmlformats.org/officeDocument/2006/relationships/image" Target="../media/image1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8.png"/><Relationship Id="rId5" Type="http://schemas.openxmlformats.org/officeDocument/2006/relationships/image" Target="../media/image1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7.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4.bin"/><Relationship Id="rId5" Type="http://schemas.openxmlformats.org/officeDocument/2006/relationships/image" Target="../media/image20.png"/><Relationship Id="rId4" Type="http://schemas.openxmlformats.org/officeDocument/2006/relationships/image" Target="../media/image19.png"/></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25.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3.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3.xm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3.emf"/><Relationship Id="rId11" Type="http://schemas.openxmlformats.org/officeDocument/2006/relationships/image" Target="../media/image11.png"/><Relationship Id="rId5" Type="http://schemas.openxmlformats.org/officeDocument/2006/relationships/oleObject" Target="../embeddings/oleObject17.bin"/><Relationship Id="rId10" Type="http://schemas.openxmlformats.org/officeDocument/2006/relationships/image" Target="../media/image10.svg"/><Relationship Id="rId4" Type="http://schemas.openxmlformats.org/officeDocument/2006/relationships/image" Target="../media/image6.jpeg"/><Relationship Id="rId9"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3.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1">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5B0BC24-E459-4247-9F07-3989693A7337}"/>
              </a:ext>
            </a:extLst>
          </p:cNvPr>
          <p:cNvGrpSpPr/>
          <p:nvPr userDrawn="1"/>
        </p:nvGrpSpPr>
        <p:grpSpPr>
          <a:xfrm>
            <a:off x="0" y="0"/>
            <a:ext cx="12192000" cy="6858000"/>
            <a:chOff x="0" y="0"/>
            <a:chExt cx="12192000" cy="6858000"/>
          </a:xfrm>
        </p:grpSpPr>
        <p:pic>
          <p:nvPicPr>
            <p:cNvPr id="239" name="Picture 238">
              <a:extLst>
                <a:ext uri="{FF2B5EF4-FFF2-40B4-BE49-F238E27FC236}">
                  <a16:creationId xmlns:a16="http://schemas.microsoft.com/office/drawing/2014/main" id="{C1D117F9-DE4D-4030-8E17-0BD8276F63EB}"/>
                </a:ext>
              </a:extLst>
            </p:cNvPr>
            <p:cNvPicPr>
              <a:picLocks noChangeAspect="1"/>
            </p:cNvPicPr>
            <p:nvPr userDrawn="1"/>
          </p:nvPicPr>
          <p:blipFill>
            <a:blip r:embed="rId4"/>
            <a:stretch>
              <a:fillRect/>
            </a:stretch>
          </p:blipFill>
          <p:spPr>
            <a:xfrm>
              <a:off x="0" y="0"/>
              <a:ext cx="12192000" cy="6858000"/>
            </a:xfrm>
            <a:prstGeom prst="rect">
              <a:avLst/>
            </a:prstGeom>
          </p:spPr>
        </p:pic>
        <p:sp>
          <p:nvSpPr>
            <p:cNvPr id="3" name="Flowchart: Connector 2">
              <a:extLst>
                <a:ext uri="{FF2B5EF4-FFF2-40B4-BE49-F238E27FC236}">
                  <a16:creationId xmlns:a16="http://schemas.microsoft.com/office/drawing/2014/main" id="{1D3E545A-9063-4DA8-B9CA-16BC1DAE8E6F}"/>
                </a:ext>
              </a:extLst>
            </p:cNvPr>
            <p:cNvSpPr/>
            <p:nvPr userDrawn="1"/>
          </p:nvSpPr>
          <p:spPr>
            <a:xfrm>
              <a:off x="3091069" y="964095"/>
              <a:ext cx="914400" cy="914400"/>
            </a:xfrm>
            <a:prstGeom prst="flowChartConnector">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Flowchart: Connector 256">
              <a:extLst>
                <a:ext uri="{FF2B5EF4-FFF2-40B4-BE49-F238E27FC236}">
                  <a16:creationId xmlns:a16="http://schemas.microsoft.com/office/drawing/2014/main" id="{24554467-D581-4358-A88C-7F94BBB1D329}"/>
                </a:ext>
              </a:extLst>
            </p:cNvPr>
            <p:cNvSpPr/>
            <p:nvPr userDrawn="1"/>
          </p:nvSpPr>
          <p:spPr>
            <a:xfrm>
              <a:off x="3101009" y="2528858"/>
              <a:ext cx="914400" cy="9144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Flowchart: Connector 257">
              <a:extLst>
                <a:ext uri="{FF2B5EF4-FFF2-40B4-BE49-F238E27FC236}">
                  <a16:creationId xmlns:a16="http://schemas.microsoft.com/office/drawing/2014/main" id="{5C8E96C0-3B44-4A9D-AEC2-24D445523A76}"/>
                </a:ext>
              </a:extLst>
            </p:cNvPr>
            <p:cNvSpPr/>
            <p:nvPr userDrawn="1"/>
          </p:nvSpPr>
          <p:spPr>
            <a:xfrm>
              <a:off x="5221358" y="395258"/>
              <a:ext cx="914400" cy="914400"/>
            </a:xfrm>
            <a:prstGeom prst="flowChartConnector">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Flowchart: Connector 258">
              <a:extLst>
                <a:ext uri="{FF2B5EF4-FFF2-40B4-BE49-F238E27FC236}">
                  <a16:creationId xmlns:a16="http://schemas.microsoft.com/office/drawing/2014/main" id="{0663DDD3-E6C0-477D-880F-96BB9653E27E}"/>
                </a:ext>
              </a:extLst>
            </p:cNvPr>
            <p:cNvSpPr/>
            <p:nvPr userDrawn="1"/>
          </p:nvSpPr>
          <p:spPr>
            <a:xfrm>
              <a:off x="7272133" y="1544906"/>
              <a:ext cx="914400" cy="914400"/>
            </a:xfrm>
            <a:prstGeom prst="flowChartConnector">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Flowchart: Connector 259">
              <a:extLst>
                <a:ext uri="{FF2B5EF4-FFF2-40B4-BE49-F238E27FC236}">
                  <a16:creationId xmlns:a16="http://schemas.microsoft.com/office/drawing/2014/main" id="{A9562987-D094-4A41-828F-E31BC9266712}"/>
                </a:ext>
              </a:extLst>
            </p:cNvPr>
            <p:cNvSpPr/>
            <p:nvPr userDrawn="1"/>
          </p:nvSpPr>
          <p:spPr>
            <a:xfrm>
              <a:off x="8766312" y="2514416"/>
              <a:ext cx="914400" cy="914400"/>
            </a:xfrm>
            <a:prstGeom prst="flowChartConnector">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Flowchart: Connector 260">
              <a:extLst>
                <a:ext uri="{FF2B5EF4-FFF2-40B4-BE49-F238E27FC236}">
                  <a16:creationId xmlns:a16="http://schemas.microsoft.com/office/drawing/2014/main" id="{582D4F9A-F14C-41C2-A6BA-276598B2FCEC}"/>
                </a:ext>
              </a:extLst>
            </p:cNvPr>
            <p:cNvSpPr/>
            <p:nvPr userDrawn="1"/>
          </p:nvSpPr>
          <p:spPr>
            <a:xfrm>
              <a:off x="7272133" y="3414465"/>
              <a:ext cx="914400" cy="914400"/>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Flowchart: Connector 261">
              <a:extLst>
                <a:ext uri="{FF2B5EF4-FFF2-40B4-BE49-F238E27FC236}">
                  <a16:creationId xmlns:a16="http://schemas.microsoft.com/office/drawing/2014/main" id="{5C7F9F9F-E66E-46C0-BF29-0558A20AACFE}"/>
                </a:ext>
              </a:extLst>
            </p:cNvPr>
            <p:cNvSpPr/>
            <p:nvPr userDrawn="1"/>
          </p:nvSpPr>
          <p:spPr>
            <a:xfrm>
              <a:off x="5209764" y="4998698"/>
              <a:ext cx="914400" cy="914400"/>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5" name="Group 264">
              <a:extLst>
                <a:ext uri="{FF2B5EF4-FFF2-40B4-BE49-F238E27FC236}">
                  <a16:creationId xmlns:a16="http://schemas.microsoft.com/office/drawing/2014/main" id="{009C4D46-4468-447A-BDE9-709F8DF73DCB}"/>
                </a:ext>
              </a:extLst>
            </p:cNvPr>
            <p:cNvGrpSpPr/>
            <p:nvPr/>
          </p:nvGrpSpPr>
          <p:grpSpPr>
            <a:xfrm>
              <a:off x="7541061" y="1751867"/>
              <a:ext cx="471972" cy="473062"/>
              <a:chOff x="9026525" y="1503363"/>
              <a:chExt cx="687388" cy="688976"/>
            </a:xfrm>
            <a:solidFill>
              <a:schemeClr val="bg1"/>
            </a:solidFill>
          </p:grpSpPr>
          <p:sp>
            <p:nvSpPr>
              <p:cNvPr id="266" name="Oval 5">
                <a:extLst>
                  <a:ext uri="{FF2B5EF4-FFF2-40B4-BE49-F238E27FC236}">
                    <a16:creationId xmlns:a16="http://schemas.microsoft.com/office/drawing/2014/main" id="{CB9C9B03-297C-43DD-899C-E91E34BCF0D9}"/>
                  </a:ext>
                </a:extLst>
              </p:cNvPr>
              <p:cNvSpPr>
                <a:spLocks noChangeArrowheads="1"/>
              </p:cNvSpPr>
              <p:nvPr/>
            </p:nvSpPr>
            <p:spPr bwMode="auto">
              <a:xfrm>
                <a:off x="9026525" y="1503363"/>
                <a:ext cx="515938" cy="1730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sp>
            <p:nvSpPr>
              <p:cNvPr id="267" name="Freeform 6">
                <a:extLst>
                  <a:ext uri="{FF2B5EF4-FFF2-40B4-BE49-F238E27FC236}">
                    <a16:creationId xmlns:a16="http://schemas.microsoft.com/office/drawing/2014/main" id="{3B812219-82A1-4CD1-A815-204CE3C54351}"/>
                  </a:ext>
                </a:extLst>
              </p:cNvPr>
              <p:cNvSpPr>
                <a:spLocks/>
              </p:cNvSpPr>
              <p:nvPr/>
            </p:nvSpPr>
            <p:spPr bwMode="auto">
              <a:xfrm>
                <a:off x="9026525" y="1808163"/>
                <a:ext cx="249238" cy="209550"/>
              </a:xfrm>
              <a:custGeom>
                <a:avLst/>
                <a:gdLst>
                  <a:gd name="T0" fmla="*/ 887 w 887"/>
                  <a:gd name="T1" fmla="*/ 749 h 749"/>
                  <a:gd name="T2" fmla="*/ 842 w 887"/>
                  <a:gd name="T3" fmla="*/ 633 h 749"/>
                  <a:gd name="T4" fmla="*/ 776 w 887"/>
                  <a:gd name="T5" fmla="*/ 633 h 749"/>
                  <a:gd name="T6" fmla="*/ 614 w 887"/>
                  <a:gd name="T7" fmla="*/ 459 h 749"/>
                  <a:gd name="T8" fmla="*/ 614 w 887"/>
                  <a:gd name="T9" fmla="*/ 361 h 749"/>
                  <a:gd name="T10" fmla="*/ 690 w 887"/>
                  <a:gd name="T11" fmla="*/ 214 h 749"/>
                  <a:gd name="T12" fmla="*/ 0 w 887"/>
                  <a:gd name="T13" fmla="*/ 0 h 749"/>
                  <a:gd name="T14" fmla="*/ 0 w 887"/>
                  <a:gd name="T15" fmla="*/ 445 h 749"/>
                  <a:gd name="T16" fmla="*/ 887 w 887"/>
                  <a:gd name="T17" fmla="*/ 749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7" h="749">
                    <a:moveTo>
                      <a:pt x="887" y="749"/>
                    </a:moveTo>
                    <a:cubicBezTo>
                      <a:pt x="868" y="711"/>
                      <a:pt x="853" y="673"/>
                      <a:pt x="842" y="633"/>
                    </a:cubicBezTo>
                    <a:cubicBezTo>
                      <a:pt x="776" y="633"/>
                      <a:pt x="776" y="633"/>
                      <a:pt x="776" y="633"/>
                    </a:cubicBezTo>
                    <a:cubicBezTo>
                      <a:pt x="687" y="633"/>
                      <a:pt x="614" y="554"/>
                      <a:pt x="614" y="459"/>
                    </a:cubicBezTo>
                    <a:cubicBezTo>
                      <a:pt x="614" y="361"/>
                      <a:pt x="614" y="361"/>
                      <a:pt x="614" y="361"/>
                    </a:cubicBezTo>
                    <a:cubicBezTo>
                      <a:pt x="614" y="300"/>
                      <a:pt x="645" y="244"/>
                      <a:pt x="690" y="214"/>
                    </a:cubicBezTo>
                    <a:cubicBezTo>
                      <a:pt x="394" y="191"/>
                      <a:pt x="126" y="116"/>
                      <a:pt x="0" y="0"/>
                    </a:cubicBezTo>
                    <a:cubicBezTo>
                      <a:pt x="0" y="174"/>
                      <a:pt x="0" y="439"/>
                      <a:pt x="0" y="445"/>
                    </a:cubicBezTo>
                    <a:cubicBezTo>
                      <a:pt x="0" y="610"/>
                      <a:pt x="394" y="745"/>
                      <a:pt x="887" y="7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sp>
            <p:nvSpPr>
              <p:cNvPr id="268" name="Freeform 7">
                <a:extLst>
                  <a:ext uri="{FF2B5EF4-FFF2-40B4-BE49-F238E27FC236}">
                    <a16:creationId xmlns:a16="http://schemas.microsoft.com/office/drawing/2014/main" id="{7202EAFD-6DB1-4D26-8C78-5C3F7097FDA6}"/>
                  </a:ext>
                </a:extLst>
              </p:cNvPr>
              <p:cNvSpPr>
                <a:spLocks/>
              </p:cNvSpPr>
              <p:nvPr/>
            </p:nvSpPr>
            <p:spPr bwMode="auto">
              <a:xfrm>
                <a:off x="9026525" y="1981201"/>
                <a:ext cx="393700" cy="211138"/>
              </a:xfrm>
              <a:custGeom>
                <a:avLst/>
                <a:gdLst>
                  <a:gd name="T0" fmla="*/ 918 w 1400"/>
                  <a:gd name="T1" fmla="*/ 752 h 752"/>
                  <a:gd name="T2" fmla="*/ 1400 w 1400"/>
                  <a:gd name="T3" fmla="*/ 706 h 752"/>
                  <a:gd name="T4" fmla="*/ 1346 w 1400"/>
                  <a:gd name="T5" fmla="*/ 588 h 752"/>
                  <a:gd name="T6" fmla="*/ 1346 w 1400"/>
                  <a:gd name="T7" fmla="*/ 522 h 752"/>
                  <a:gd name="T8" fmla="*/ 1213 w 1400"/>
                  <a:gd name="T9" fmla="*/ 467 h 752"/>
                  <a:gd name="T10" fmla="*/ 1167 w 1400"/>
                  <a:gd name="T11" fmla="*/ 513 h 752"/>
                  <a:gd name="T12" fmla="*/ 1054 w 1400"/>
                  <a:gd name="T13" fmla="*/ 559 h 752"/>
                  <a:gd name="T14" fmla="*/ 928 w 1400"/>
                  <a:gd name="T15" fmla="*/ 505 h 752"/>
                  <a:gd name="T16" fmla="*/ 859 w 1400"/>
                  <a:gd name="T17" fmla="*/ 436 h 752"/>
                  <a:gd name="T18" fmla="*/ 805 w 1400"/>
                  <a:gd name="T19" fmla="*/ 320 h 752"/>
                  <a:gd name="T20" fmla="*/ 830 w 1400"/>
                  <a:gd name="T21" fmla="*/ 224 h 752"/>
                  <a:gd name="T22" fmla="*/ 0 w 1400"/>
                  <a:gd name="T23" fmla="*/ 0 h 752"/>
                  <a:gd name="T24" fmla="*/ 0 w 1400"/>
                  <a:gd name="T25" fmla="*/ 446 h 752"/>
                  <a:gd name="T26" fmla="*/ 918 w 1400"/>
                  <a:gd name="T27" fmla="*/ 75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0" h="752">
                    <a:moveTo>
                      <a:pt x="918" y="752"/>
                    </a:moveTo>
                    <a:cubicBezTo>
                      <a:pt x="1094" y="752"/>
                      <a:pt x="1258" y="735"/>
                      <a:pt x="1400" y="706"/>
                    </a:cubicBezTo>
                    <a:cubicBezTo>
                      <a:pt x="1367" y="675"/>
                      <a:pt x="1346" y="635"/>
                      <a:pt x="1346" y="588"/>
                    </a:cubicBezTo>
                    <a:cubicBezTo>
                      <a:pt x="1346" y="522"/>
                      <a:pt x="1346" y="522"/>
                      <a:pt x="1346" y="522"/>
                    </a:cubicBezTo>
                    <a:cubicBezTo>
                      <a:pt x="1301" y="509"/>
                      <a:pt x="1257" y="490"/>
                      <a:pt x="1213" y="467"/>
                    </a:cubicBezTo>
                    <a:cubicBezTo>
                      <a:pt x="1167" y="513"/>
                      <a:pt x="1167" y="513"/>
                      <a:pt x="1167" y="513"/>
                    </a:cubicBezTo>
                    <a:cubicBezTo>
                      <a:pt x="1138" y="542"/>
                      <a:pt x="1098" y="559"/>
                      <a:pt x="1054" y="559"/>
                    </a:cubicBezTo>
                    <a:cubicBezTo>
                      <a:pt x="1008" y="559"/>
                      <a:pt x="962" y="540"/>
                      <a:pt x="928" y="505"/>
                    </a:cubicBezTo>
                    <a:cubicBezTo>
                      <a:pt x="859" y="436"/>
                      <a:pt x="859" y="436"/>
                      <a:pt x="859" y="436"/>
                    </a:cubicBezTo>
                    <a:cubicBezTo>
                      <a:pt x="826" y="404"/>
                      <a:pt x="809" y="364"/>
                      <a:pt x="805" y="320"/>
                    </a:cubicBezTo>
                    <a:cubicBezTo>
                      <a:pt x="803" y="285"/>
                      <a:pt x="813" y="251"/>
                      <a:pt x="830" y="224"/>
                    </a:cubicBezTo>
                    <a:cubicBezTo>
                      <a:pt x="482" y="213"/>
                      <a:pt x="145" y="138"/>
                      <a:pt x="0" y="0"/>
                    </a:cubicBezTo>
                    <a:cubicBezTo>
                      <a:pt x="0" y="174"/>
                      <a:pt x="0" y="440"/>
                      <a:pt x="0" y="446"/>
                    </a:cubicBezTo>
                    <a:cubicBezTo>
                      <a:pt x="0" y="614"/>
                      <a:pt x="411" y="752"/>
                      <a:pt x="918" y="75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sp>
            <p:nvSpPr>
              <p:cNvPr id="269" name="Freeform 8">
                <a:extLst>
                  <a:ext uri="{FF2B5EF4-FFF2-40B4-BE49-F238E27FC236}">
                    <a16:creationId xmlns:a16="http://schemas.microsoft.com/office/drawing/2014/main" id="{6347BF8D-7D8A-4173-9092-A4312101DA4C}"/>
                  </a:ext>
                </a:extLst>
              </p:cNvPr>
              <p:cNvSpPr>
                <a:spLocks/>
              </p:cNvSpPr>
              <p:nvPr/>
            </p:nvSpPr>
            <p:spPr bwMode="auto">
              <a:xfrm>
                <a:off x="9026525" y="1633538"/>
                <a:ext cx="379413" cy="211138"/>
              </a:xfrm>
              <a:custGeom>
                <a:avLst/>
                <a:gdLst>
                  <a:gd name="T0" fmla="*/ 861 w 1354"/>
                  <a:gd name="T1" fmla="*/ 751 h 751"/>
                  <a:gd name="T2" fmla="*/ 897 w 1354"/>
                  <a:gd name="T3" fmla="*/ 673 h 751"/>
                  <a:gd name="T4" fmla="*/ 851 w 1354"/>
                  <a:gd name="T5" fmla="*/ 627 h 751"/>
                  <a:gd name="T6" fmla="*/ 805 w 1354"/>
                  <a:gd name="T7" fmla="*/ 505 h 751"/>
                  <a:gd name="T8" fmla="*/ 859 w 1354"/>
                  <a:gd name="T9" fmla="*/ 388 h 751"/>
                  <a:gd name="T10" fmla="*/ 928 w 1354"/>
                  <a:gd name="T11" fmla="*/ 319 h 751"/>
                  <a:gd name="T12" fmla="*/ 1054 w 1354"/>
                  <a:gd name="T13" fmla="*/ 266 h 751"/>
                  <a:gd name="T14" fmla="*/ 1167 w 1354"/>
                  <a:gd name="T15" fmla="*/ 312 h 751"/>
                  <a:gd name="T16" fmla="*/ 1213 w 1354"/>
                  <a:gd name="T17" fmla="*/ 357 h 751"/>
                  <a:gd name="T18" fmla="*/ 1346 w 1354"/>
                  <a:gd name="T19" fmla="*/ 302 h 751"/>
                  <a:gd name="T20" fmla="*/ 1346 w 1354"/>
                  <a:gd name="T21" fmla="*/ 237 h 751"/>
                  <a:gd name="T22" fmla="*/ 1354 w 1354"/>
                  <a:gd name="T23" fmla="*/ 191 h 751"/>
                  <a:gd name="T24" fmla="*/ 918 w 1354"/>
                  <a:gd name="T25" fmla="*/ 225 h 751"/>
                  <a:gd name="T26" fmla="*/ 0 w 1354"/>
                  <a:gd name="T27" fmla="*/ 0 h 751"/>
                  <a:gd name="T28" fmla="*/ 0 w 1354"/>
                  <a:gd name="T29" fmla="*/ 445 h 751"/>
                  <a:gd name="T30" fmla="*/ 861 w 1354"/>
                  <a:gd name="T31"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54" h="751">
                    <a:moveTo>
                      <a:pt x="861" y="751"/>
                    </a:moveTo>
                    <a:cubicBezTo>
                      <a:pt x="870" y="725"/>
                      <a:pt x="884" y="698"/>
                      <a:pt x="897" y="673"/>
                    </a:cubicBezTo>
                    <a:cubicBezTo>
                      <a:pt x="851" y="627"/>
                      <a:pt x="851" y="627"/>
                      <a:pt x="851" y="627"/>
                    </a:cubicBezTo>
                    <a:cubicBezTo>
                      <a:pt x="819" y="595"/>
                      <a:pt x="803" y="551"/>
                      <a:pt x="805" y="505"/>
                    </a:cubicBezTo>
                    <a:cubicBezTo>
                      <a:pt x="807" y="461"/>
                      <a:pt x="826" y="421"/>
                      <a:pt x="859" y="388"/>
                    </a:cubicBezTo>
                    <a:cubicBezTo>
                      <a:pt x="928" y="319"/>
                      <a:pt x="928" y="319"/>
                      <a:pt x="928" y="319"/>
                    </a:cubicBezTo>
                    <a:cubicBezTo>
                      <a:pt x="962" y="285"/>
                      <a:pt x="1008" y="266"/>
                      <a:pt x="1054" y="266"/>
                    </a:cubicBezTo>
                    <a:cubicBezTo>
                      <a:pt x="1096" y="266"/>
                      <a:pt x="1136" y="283"/>
                      <a:pt x="1167" y="312"/>
                    </a:cubicBezTo>
                    <a:cubicBezTo>
                      <a:pt x="1213" y="357"/>
                      <a:pt x="1213" y="357"/>
                      <a:pt x="1213" y="357"/>
                    </a:cubicBezTo>
                    <a:cubicBezTo>
                      <a:pt x="1255" y="335"/>
                      <a:pt x="1301" y="315"/>
                      <a:pt x="1346" y="302"/>
                    </a:cubicBezTo>
                    <a:cubicBezTo>
                      <a:pt x="1346" y="237"/>
                      <a:pt x="1346" y="237"/>
                      <a:pt x="1346" y="237"/>
                    </a:cubicBezTo>
                    <a:cubicBezTo>
                      <a:pt x="1346" y="222"/>
                      <a:pt x="1348" y="206"/>
                      <a:pt x="1354" y="191"/>
                    </a:cubicBezTo>
                    <a:cubicBezTo>
                      <a:pt x="1216" y="214"/>
                      <a:pt x="1067" y="225"/>
                      <a:pt x="918" y="225"/>
                    </a:cubicBezTo>
                    <a:cubicBezTo>
                      <a:pt x="539" y="225"/>
                      <a:pt x="159" y="149"/>
                      <a:pt x="0" y="0"/>
                    </a:cubicBezTo>
                    <a:cubicBezTo>
                      <a:pt x="0" y="174"/>
                      <a:pt x="0" y="440"/>
                      <a:pt x="0" y="445"/>
                    </a:cubicBezTo>
                    <a:cubicBezTo>
                      <a:pt x="0" y="608"/>
                      <a:pt x="381" y="740"/>
                      <a:pt x="861" y="75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sp>
            <p:nvSpPr>
              <p:cNvPr id="270" name="Freeform 9">
                <a:extLst>
                  <a:ext uri="{FF2B5EF4-FFF2-40B4-BE49-F238E27FC236}">
                    <a16:creationId xmlns:a16="http://schemas.microsoft.com/office/drawing/2014/main" id="{4F517A6A-3F2B-469C-9566-5CD233762B67}"/>
                  </a:ext>
                </a:extLst>
              </p:cNvPr>
              <p:cNvSpPr>
                <a:spLocks/>
              </p:cNvSpPr>
              <p:nvPr/>
            </p:nvSpPr>
            <p:spPr bwMode="auto">
              <a:xfrm>
                <a:off x="9221788" y="1676401"/>
                <a:ext cx="492125" cy="493713"/>
              </a:xfrm>
              <a:custGeom>
                <a:avLst/>
                <a:gdLst>
                  <a:gd name="T0" fmla="*/ 1668 w 1754"/>
                  <a:gd name="T1" fmla="*/ 730 h 1754"/>
                  <a:gd name="T2" fmla="*/ 1544 w 1754"/>
                  <a:gd name="T3" fmla="*/ 730 h 1754"/>
                  <a:gd name="T4" fmla="*/ 1452 w 1754"/>
                  <a:gd name="T5" fmla="*/ 509 h 1754"/>
                  <a:gd name="T6" fmla="*/ 1540 w 1754"/>
                  <a:gd name="T7" fmla="*/ 421 h 1754"/>
                  <a:gd name="T8" fmla="*/ 1532 w 1754"/>
                  <a:gd name="T9" fmla="*/ 291 h 1754"/>
                  <a:gd name="T10" fmla="*/ 1463 w 1754"/>
                  <a:gd name="T11" fmla="*/ 222 h 1754"/>
                  <a:gd name="T12" fmla="*/ 1391 w 1754"/>
                  <a:gd name="T13" fmla="*/ 191 h 1754"/>
                  <a:gd name="T14" fmla="*/ 1333 w 1754"/>
                  <a:gd name="T15" fmla="*/ 214 h 1754"/>
                  <a:gd name="T16" fmla="*/ 1245 w 1754"/>
                  <a:gd name="T17" fmla="*/ 302 h 1754"/>
                  <a:gd name="T18" fmla="*/ 1023 w 1754"/>
                  <a:gd name="T19" fmla="*/ 210 h 1754"/>
                  <a:gd name="T20" fmla="*/ 1023 w 1754"/>
                  <a:gd name="T21" fmla="*/ 86 h 1754"/>
                  <a:gd name="T22" fmla="*/ 926 w 1754"/>
                  <a:gd name="T23" fmla="*/ 0 h 1754"/>
                  <a:gd name="T24" fmla="*/ 828 w 1754"/>
                  <a:gd name="T25" fmla="*/ 0 h 1754"/>
                  <a:gd name="T26" fmla="*/ 731 w 1754"/>
                  <a:gd name="T27" fmla="*/ 86 h 1754"/>
                  <a:gd name="T28" fmla="*/ 731 w 1754"/>
                  <a:gd name="T29" fmla="*/ 210 h 1754"/>
                  <a:gd name="T30" fmla="*/ 509 w 1754"/>
                  <a:gd name="T31" fmla="*/ 302 h 1754"/>
                  <a:gd name="T32" fmla="*/ 421 w 1754"/>
                  <a:gd name="T33" fmla="*/ 214 h 1754"/>
                  <a:gd name="T34" fmla="*/ 364 w 1754"/>
                  <a:gd name="T35" fmla="*/ 191 h 1754"/>
                  <a:gd name="T36" fmla="*/ 291 w 1754"/>
                  <a:gd name="T37" fmla="*/ 222 h 1754"/>
                  <a:gd name="T38" fmla="*/ 222 w 1754"/>
                  <a:gd name="T39" fmla="*/ 291 h 1754"/>
                  <a:gd name="T40" fmla="*/ 214 w 1754"/>
                  <a:gd name="T41" fmla="*/ 421 h 1754"/>
                  <a:gd name="T42" fmla="*/ 302 w 1754"/>
                  <a:gd name="T43" fmla="*/ 509 h 1754"/>
                  <a:gd name="T44" fmla="*/ 211 w 1754"/>
                  <a:gd name="T45" fmla="*/ 730 h 1754"/>
                  <a:gd name="T46" fmla="*/ 86 w 1754"/>
                  <a:gd name="T47" fmla="*/ 730 h 1754"/>
                  <a:gd name="T48" fmla="*/ 0 w 1754"/>
                  <a:gd name="T49" fmla="*/ 828 h 1754"/>
                  <a:gd name="T50" fmla="*/ 0 w 1754"/>
                  <a:gd name="T51" fmla="*/ 926 h 1754"/>
                  <a:gd name="T52" fmla="*/ 86 w 1754"/>
                  <a:gd name="T53" fmla="*/ 1023 h 1754"/>
                  <a:gd name="T54" fmla="*/ 211 w 1754"/>
                  <a:gd name="T55" fmla="*/ 1023 h 1754"/>
                  <a:gd name="T56" fmla="*/ 302 w 1754"/>
                  <a:gd name="T57" fmla="*/ 1245 h 1754"/>
                  <a:gd name="T58" fmla="*/ 214 w 1754"/>
                  <a:gd name="T59" fmla="*/ 1333 h 1754"/>
                  <a:gd name="T60" fmla="*/ 222 w 1754"/>
                  <a:gd name="T61" fmla="*/ 1463 h 1754"/>
                  <a:gd name="T62" fmla="*/ 291 w 1754"/>
                  <a:gd name="T63" fmla="*/ 1532 h 1754"/>
                  <a:gd name="T64" fmla="*/ 364 w 1754"/>
                  <a:gd name="T65" fmla="*/ 1562 h 1754"/>
                  <a:gd name="T66" fmla="*/ 421 w 1754"/>
                  <a:gd name="T67" fmla="*/ 1539 h 1754"/>
                  <a:gd name="T68" fmla="*/ 509 w 1754"/>
                  <a:gd name="T69" fmla="*/ 1451 h 1754"/>
                  <a:gd name="T70" fmla="*/ 731 w 1754"/>
                  <a:gd name="T71" fmla="*/ 1543 h 1754"/>
                  <a:gd name="T72" fmla="*/ 731 w 1754"/>
                  <a:gd name="T73" fmla="*/ 1668 h 1754"/>
                  <a:gd name="T74" fmla="*/ 828 w 1754"/>
                  <a:gd name="T75" fmla="*/ 1754 h 1754"/>
                  <a:gd name="T76" fmla="*/ 926 w 1754"/>
                  <a:gd name="T77" fmla="*/ 1754 h 1754"/>
                  <a:gd name="T78" fmla="*/ 1023 w 1754"/>
                  <a:gd name="T79" fmla="*/ 1668 h 1754"/>
                  <a:gd name="T80" fmla="*/ 1023 w 1754"/>
                  <a:gd name="T81" fmla="*/ 1543 h 1754"/>
                  <a:gd name="T82" fmla="*/ 1245 w 1754"/>
                  <a:gd name="T83" fmla="*/ 1451 h 1754"/>
                  <a:gd name="T84" fmla="*/ 1333 w 1754"/>
                  <a:gd name="T85" fmla="*/ 1539 h 1754"/>
                  <a:gd name="T86" fmla="*/ 1391 w 1754"/>
                  <a:gd name="T87" fmla="*/ 1562 h 1754"/>
                  <a:gd name="T88" fmla="*/ 1463 w 1754"/>
                  <a:gd name="T89" fmla="*/ 1532 h 1754"/>
                  <a:gd name="T90" fmla="*/ 1532 w 1754"/>
                  <a:gd name="T91" fmla="*/ 1463 h 1754"/>
                  <a:gd name="T92" fmla="*/ 1540 w 1754"/>
                  <a:gd name="T93" fmla="*/ 1333 h 1754"/>
                  <a:gd name="T94" fmla="*/ 1452 w 1754"/>
                  <a:gd name="T95" fmla="*/ 1245 h 1754"/>
                  <a:gd name="T96" fmla="*/ 1544 w 1754"/>
                  <a:gd name="T97" fmla="*/ 1023 h 1754"/>
                  <a:gd name="T98" fmla="*/ 1668 w 1754"/>
                  <a:gd name="T99" fmla="*/ 1023 h 1754"/>
                  <a:gd name="T100" fmla="*/ 1754 w 1754"/>
                  <a:gd name="T101" fmla="*/ 926 h 1754"/>
                  <a:gd name="T102" fmla="*/ 1754 w 1754"/>
                  <a:gd name="T103" fmla="*/ 828 h 1754"/>
                  <a:gd name="T104" fmla="*/ 1668 w 1754"/>
                  <a:gd name="T105" fmla="*/ 730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54" h="1754">
                    <a:moveTo>
                      <a:pt x="1668" y="730"/>
                    </a:moveTo>
                    <a:cubicBezTo>
                      <a:pt x="1544" y="730"/>
                      <a:pt x="1544" y="730"/>
                      <a:pt x="1544" y="730"/>
                    </a:cubicBezTo>
                    <a:cubicBezTo>
                      <a:pt x="1526" y="650"/>
                      <a:pt x="1494" y="576"/>
                      <a:pt x="1452" y="509"/>
                    </a:cubicBezTo>
                    <a:cubicBezTo>
                      <a:pt x="1540" y="421"/>
                      <a:pt x="1540" y="421"/>
                      <a:pt x="1540" y="421"/>
                    </a:cubicBezTo>
                    <a:cubicBezTo>
                      <a:pt x="1574" y="386"/>
                      <a:pt x="1570" y="329"/>
                      <a:pt x="1532" y="291"/>
                    </a:cubicBezTo>
                    <a:cubicBezTo>
                      <a:pt x="1463" y="222"/>
                      <a:pt x="1463" y="222"/>
                      <a:pt x="1463" y="222"/>
                    </a:cubicBezTo>
                    <a:cubicBezTo>
                      <a:pt x="1442" y="201"/>
                      <a:pt x="1415" y="191"/>
                      <a:pt x="1391" y="191"/>
                    </a:cubicBezTo>
                    <a:cubicBezTo>
                      <a:pt x="1370" y="191"/>
                      <a:pt x="1349" y="199"/>
                      <a:pt x="1333" y="214"/>
                    </a:cubicBezTo>
                    <a:cubicBezTo>
                      <a:pt x="1245" y="302"/>
                      <a:pt x="1245" y="302"/>
                      <a:pt x="1245" y="302"/>
                    </a:cubicBezTo>
                    <a:cubicBezTo>
                      <a:pt x="1178" y="260"/>
                      <a:pt x="1104" y="227"/>
                      <a:pt x="1023" y="210"/>
                    </a:cubicBezTo>
                    <a:cubicBezTo>
                      <a:pt x="1023" y="86"/>
                      <a:pt x="1023" y="86"/>
                      <a:pt x="1023" y="86"/>
                    </a:cubicBezTo>
                    <a:cubicBezTo>
                      <a:pt x="1023" y="38"/>
                      <a:pt x="979" y="0"/>
                      <a:pt x="926" y="0"/>
                    </a:cubicBezTo>
                    <a:cubicBezTo>
                      <a:pt x="828" y="0"/>
                      <a:pt x="828" y="0"/>
                      <a:pt x="828" y="0"/>
                    </a:cubicBezTo>
                    <a:cubicBezTo>
                      <a:pt x="775" y="0"/>
                      <a:pt x="731" y="38"/>
                      <a:pt x="731" y="86"/>
                    </a:cubicBezTo>
                    <a:cubicBezTo>
                      <a:pt x="731" y="210"/>
                      <a:pt x="731" y="210"/>
                      <a:pt x="731" y="210"/>
                    </a:cubicBezTo>
                    <a:cubicBezTo>
                      <a:pt x="650" y="227"/>
                      <a:pt x="576" y="260"/>
                      <a:pt x="509" y="302"/>
                    </a:cubicBezTo>
                    <a:cubicBezTo>
                      <a:pt x="421" y="214"/>
                      <a:pt x="421" y="214"/>
                      <a:pt x="421" y="214"/>
                    </a:cubicBezTo>
                    <a:cubicBezTo>
                      <a:pt x="406" y="199"/>
                      <a:pt x="385" y="191"/>
                      <a:pt x="364" y="191"/>
                    </a:cubicBezTo>
                    <a:cubicBezTo>
                      <a:pt x="339" y="191"/>
                      <a:pt x="312" y="201"/>
                      <a:pt x="291" y="222"/>
                    </a:cubicBezTo>
                    <a:cubicBezTo>
                      <a:pt x="222" y="291"/>
                      <a:pt x="222" y="291"/>
                      <a:pt x="222" y="291"/>
                    </a:cubicBezTo>
                    <a:cubicBezTo>
                      <a:pt x="184" y="329"/>
                      <a:pt x="180" y="388"/>
                      <a:pt x="214" y="421"/>
                    </a:cubicBezTo>
                    <a:cubicBezTo>
                      <a:pt x="302" y="509"/>
                      <a:pt x="302" y="509"/>
                      <a:pt x="302" y="509"/>
                    </a:cubicBezTo>
                    <a:cubicBezTo>
                      <a:pt x="260" y="576"/>
                      <a:pt x="228" y="650"/>
                      <a:pt x="211" y="730"/>
                    </a:cubicBezTo>
                    <a:cubicBezTo>
                      <a:pt x="86" y="730"/>
                      <a:pt x="86" y="730"/>
                      <a:pt x="86" y="730"/>
                    </a:cubicBezTo>
                    <a:cubicBezTo>
                      <a:pt x="38" y="730"/>
                      <a:pt x="0" y="774"/>
                      <a:pt x="0" y="828"/>
                    </a:cubicBezTo>
                    <a:cubicBezTo>
                      <a:pt x="0" y="926"/>
                      <a:pt x="0" y="926"/>
                      <a:pt x="0" y="926"/>
                    </a:cubicBezTo>
                    <a:cubicBezTo>
                      <a:pt x="0" y="979"/>
                      <a:pt x="38" y="1023"/>
                      <a:pt x="86" y="1023"/>
                    </a:cubicBezTo>
                    <a:cubicBezTo>
                      <a:pt x="211" y="1023"/>
                      <a:pt x="211" y="1023"/>
                      <a:pt x="211" y="1023"/>
                    </a:cubicBezTo>
                    <a:cubicBezTo>
                      <a:pt x="228" y="1103"/>
                      <a:pt x="260" y="1178"/>
                      <a:pt x="302" y="1245"/>
                    </a:cubicBezTo>
                    <a:cubicBezTo>
                      <a:pt x="214" y="1333"/>
                      <a:pt x="214" y="1333"/>
                      <a:pt x="214" y="1333"/>
                    </a:cubicBezTo>
                    <a:cubicBezTo>
                      <a:pt x="180" y="1367"/>
                      <a:pt x="184" y="1425"/>
                      <a:pt x="222" y="1463"/>
                    </a:cubicBezTo>
                    <a:cubicBezTo>
                      <a:pt x="291" y="1532"/>
                      <a:pt x="291" y="1532"/>
                      <a:pt x="291" y="1532"/>
                    </a:cubicBezTo>
                    <a:cubicBezTo>
                      <a:pt x="312" y="1553"/>
                      <a:pt x="339" y="1562"/>
                      <a:pt x="364" y="1562"/>
                    </a:cubicBezTo>
                    <a:cubicBezTo>
                      <a:pt x="385" y="1562"/>
                      <a:pt x="406" y="1555"/>
                      <a:pt x="421" y="1539"/>
                    </a:cubicBezTo>
                    <a:cubicBezTo>
                      <a:pt x="509" y="1451"/>
                      <a:pt x="509" y="1451"/>
                      <a:pt x="509" y="1451"/>
                    </a:cubicBezTo>
                    <a:cubicBezTo>
                      <a:pt x="576" y="1494"/>
                      <a:pt x="650" y="1526"/>
                      <a:pt x="731" y="1543"/>
                    </a:cubicBezTo>
                    <a:cubicBezTo>
                      <a:pt x="731" y="1668"/>
                      <a:pt x="731" y="1668"/>
                      <a:pt x="731" y="1668"/>
                    </a:cubicBezTo>
                    <a:cubicBezTo>
                      <a:pt x="731" y="1715"/>
                      <a:pt x="775" y="1754"/>
                      <a:pt x="828" y="1754"/>
                    </a:cubicBezTo>
                    <a:cubicBezTo>
                      <a:pt x="926" y="1754"/>
                      <a:pt x="926" y="1754"/>
                      <a:pt x="926" y="1754"/>
                    </a:cubicBezTo>
                    <a:cubicBezTo>
                      <a:pt x="979" y="1754"/>
                      <a:pt x="1023" y="1715"/>
                      <a:pt x="1023" y="1668"/>
                    </a:cubicBezTo>
                    <a:cubicBezTo>
                      <a:pt x="1023" y="1543"/>
                      <a:pt x="1023" y="1543"/>
                      <a:pt x="1023" y="1543"/>
                    </a:cubicBezTo>
                    <a:cubicBezTo>
                      <a:pt x="1104" y="1526"/>
                      <a:pt x="1178" y="1494"/>
                      <a:pt x="1245" y="1451"/>
                    </a:cubicBezTo>
                    <a:cubicBezTo>
                      <a:pt x="1333" y="1539"/>
                      <a:pt x="1333" y="1539"/>
                      <a:pt x="1333" y="1539"/>
                    </a:cubicBezTo>
                    <a:cubicBezTo>
                      <a:pt x="1349" y="1555"/>
                      <a:pt x="1370" y="1562"/>
                      <a:pt x="1391" y="1562"/>
                    </a:cubicBezTo>
                    <a:cubicBezTo>
                      <a:pt x="1415" y="1562"/>
                      <a:pt x="1442" y="1553"/>
                      <a:pt x="1463" y="1532"/>
                    </a:cubicBezTo>
                    <a:cubicBezTo>
                      <a:pt x="1532" y="1463"/>
                      <a:pt x="1532" y="1463"/>
                      <a:pt x="1532" y="1463"/>
                    </a:cubicBezTo>
                    <a:cubicBezTo>
                      <a:pt x="1570" y="1425"/>
                      <a:pt x="1574" y="1365"/>
                      <a:pt x="1540" y="1333"/>
                    </a:cubicBezTo>
                    <a:cubicBezTo>
                      <a:pt x="1452" y="1245"/>
                      <a:pt x="1452" y="1245"/>
                      <a:pt x="1452" y="1245"/>
                    </a:cubicBezTo>
                    <a:cubicBezTo>
                      <a:pt x="1494" y="1178"/>
                      <a:pt x="1526" y="1103"/>
                      <a:pt x="1544" y="1023"/>
                    </a:cubicBezTo>
                    <a:cubicBezTo>
                      <a:pt x="1668" y="1023"/>
                      <a:pt x="1668" y="1023"/>
                      <a:pt x="1668" y="1023"/>
                    </a:cubicBezTo>
                    <a:cubicBezTo>
                      <a:pt x="1716" y="1023"/>
                      <a:pt x="1754" y="979"/>
                      <a:pt x="1754" y="926"/>
                    </a:cubicBezTo>
                    <a:cubicBezTo>
                      <a:pt x="1754" y="828"/>
                      <a:pt x="1754" y="828"/>
                      <a:pt x="1754" y="828"/>
                    </a:cubicBezTo>
                    <a:cubicBezTo>
                      <a:pt x="1754" y="774"/>
                      <a:pt x="1716" y="730"/>
                      <a:pt x="1668" y="73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sp>
            <p:nvSpPr>
              <p:cNvPr id="271" name="Oval 10">
                <a:extLst>
                  <a:ext uri="{FF2B5EF4-FFF2-40B4-BE49-F238E27FC236}">
                    <a16:creationId xmlns:a16="http://schemas.microsoft.com/office/drawing/2014/main" id="{6BF54AA2-9A06-4CB6-9C94-59E0744EA6FC}"/>
                  </a:ext>
                </a:extLst>
              </p:cNvPr>
              <p:cNvSpPr>
                <a:spLocks noChangeArrowheads="1"/>
              </p:cNvSpPr>
              <p:nvPr/>
            </p:nvSpPr>
            <p:spPr bwMode="auto">
              <a:xfrm>
                <a:off x="9348788" y="1804988"/>
                <a:ext cx="236538" cy="23653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grpSp>
        <p:grpSp>
          <p:nvGrpSpPr>
            <p:cNvPr id="274" name="Group 273">
              <a:extLst>
                <a:ext uri="{FF2B5EF4-FFF2-40B4-BE49-F238E27FC236}">
                  <a16:creationId xmlns:a16="http://schemas.microsoft.com/office/drawing/2014/main" id="{AC9CAF89-4A45-4DE9-873B-45D874C3113D}"/>
                </a:ext>
              </a:extLst>
            </p:cNvPr>
            <p:cNvGrpSpPr/>
            <p:nvPr/>
          </p:nvGrpSpPr>
          <p:grpSpPr>
            <a:xfrm>
              <a:off x="5408950" y="5199378"/>
              <a:ext cx="509907" cy="463954"/>
              <a:chOff x="5923910" y="1954893"/>
              <a:chExt cx="377197" cy="343204"/>
            </a:xfrm>
          </p:grpSpPr>
          <p:sp>
            <p:nvSpPr>
              <p:cNvPr id="275" name="Freeform 35">
                <a:extLst>
                  <a:ext uri="{FF2B5EF4-FFF2-40B4-BE49-F238E27FC236}">
                    <a16:creationId xmlns:a16="http://schemas.microsoft.com/office/drawing/2014/main" id="{56553AB5-B403-49B8-B1DC-CCC12550CD18}"/>
                  </a:ext>
                </a:extLst>
              </p:cNvPr>
              <p:cNvSpPr>
                <a:spLocks/>
              </p:cNvSpPr>
              <p:nvPr/>
            </p:nvSpPr>
            <p:spPr bwMode="auto">
              <a:xfrm>
                <a:off x="6145068" y="2154754"/>
                <a:ext cx="124504" cy="122865"/>
              </a:xfrm>
              <a:custGeom>
                <a:avLst/>
                <a:gdLst>
                  <a:gd name="T0" fmla="*/ 120 w 128"/>
                  <a:gd name="T1" fmla="*/ 109 h 126"/>
                  <a:gd name="T2" fmla="*/ 67 w 128"/>
                  <a:gd name="T3" fmla="*/ 109 h 126"/>
                  <a:gd name="T4" fmla="*/ 33 w 128"/>
                  <a:gd name="T5" fmla="*/ 76 h 126"/>
                  <a:gd name="T6" fmla="*/ 33 w 128"/>
                  <a:gd name="T7" fmla="*/ 50 h 126"/>
                  <a:gd name="T8" fmla="*/ 50 w 128"/>
                  <a:gd name="T9" fmla="*/ 50 h 126"/>
                  <a:gd name="T10" fmla="*/ 25 w 128"/>
                  <a:gd name="T11" fmla="*/ 0 h 126"/>
                  <a:gd name="T12" fmla="*/ 0 w 128"/>
                  <a:gd name="T13" fmla="*/ 50 h 126"/>
                  <a:gd name="T14" fmla="*/ 16 w 128"/>
                  <a:gd name="T15" fmla="*/ 50 h 126"/>
                  <a:gd name="T16" fmla="*/ 16 w 128"/>
                  <a:gd name="T17" fmla="*/ 76 h 126"/>
                  <a:gd name="T18" fmla="*/ 67 w 128"/>
                  <a:gd name="T19" fmla="*/ 126 h 126"/>
                  <a:gd name="T20" fmla="*/ 120 w 128"/>
                  <a:gd name="T21" fmla="*/ 126 h 126"/>
                  <a:gd name="T22" fmla="*/ 128 w 128"/>
                  <a:gd name="T23" fmla="*/ 118 h 126"/>
                  <a:gd name="T24" fmla="*/ 120 w 128"/>
                  <a:gd name="T2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126">
                    <a:moveTo>
                      <a:pt x="120" y="109"/>
                    </a:moveTo>
                    <a:cubicBezTo>
                      <a:pt x="67" y="109"/>
                      <a:pt x="67" y="109"/>
                      <a:pt x="67" y="109"/>
                    </a:cubicBezTo>
                    <a:cubicBezTo>
                      <a:pt x="48" y="109"/>
                      <a:pt x="33" y="94"/>
                      <a:pt x="33" y="76"/>
                    </a:cubicBezTo>
                    <a:cubicBezTo>
                      <a:pt x="33" y="50"/>
                      <a:pt x="33" y="50"/>
                      <a:pt x="33" y="50"/>
                    </a:cubicBezTo>
                    <a:cubicBezTo>
                      <a:pt x="50" y="50"/>
                      <a:pt x="50" y="50"/>
                      <a:pt x="50" y="50"/>
                    </a:cubicBezTo>
                    <a:cubicBezTo>
                      <a:pt x="25" y="0"/>
                      <a:pt x="25" y="0"/>
                      <a:pt x="25" y="0"/>
                    </a:cubicBezTo>
                    <a:cubicBezTo>
                      <a:pt x="0" y="50"/>
                      <a:pt x="0" y="50"/>
                      <a:pt x="0" y="50"/>
                    </a:cubicBezTo>
                    <a:cubicBezTo>
                      <a:pt x="16" y="50"/>
                      <a:pt x="16" y="50"/>
                      <a:pt x="16" y="50"/>
                    </a:cubicBezTo>
                    <a:cubicBezTo>
                      <a:pt x="16" y="76"/>
                      <a:pt x="16" y="76"/>
                      <a:pt x="16" y="76"/>
                    </a:cubicBezTo>
                    <a:cubicBezTo>
                      <a:pt x="16" y="104"/>
                      <a:pt x="39" y="126"/>
                      <a:pt x="67" y="126"/>
                    </a:cubicBezTo>
                    <a:cubicBezTo>
                      <a:pt x="120" y="126"/>
                      <a:pt x="120" y="126"/>
                      <a:pt x="120" y="126"/>
                    </a:cubicBezTo>
                    <a:cubicBezTo>
                      <a:pt x="124" y="126"/>
                      <a:pt x="128" y="123"/>
                      <a:pt x="128" y="118"/>
                    </a:cubicBezTo>
                    <a:cubicBezTo>
                      <a:pt x="128" y="113"/>
                      <a:pt x="124" y="109"/>
                      <a:pt x="120" y="10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sp>
            <p:nvSpPr>
              <p:cNvPr id="276" name="Freeform 36">
                <a:extLst>
                  <a:ext uri="{FF2B5EF4-FFF2-40B4-BE49-F238E27FC236}">
                    <a16:creationId xmlns:a16="http://schemas.microsoft.com/office/drawing/2014/main" id="{06D76136-6097-4DF7-91B8-3D371E8916CF}"/>
                  </a:ext>
                </a:extLst>
              </p:cNvPr>
              <p:cNvSpPr>
                <a:spLocks/>
              </p:cNvSpPr>
              <p:nvPr/>
            </p:nvSpPr>
            <p:spPr bwMode="auto">
              <a:xfrm>
                <a:off x="5943159" y="2154754"/>
                <a:ext cx="124913" cy="122865"/>
              </a:xfrm>
              <a:custGeom>
                <a:avLst/>
                <a:gdLst>
                  <a:gd name="T0" fmla="*/ 78 w 128"/>
                  <a:gd name="T1" fmla="*/ 50 h 126"/>
                  <a:gd name="T2" fmla="*/ 95 w 128"/>
                  <a:gd name="T3" fmla="*/ 50 h 126"/>
                  <a:gd name="T4" fmla="*/ 95 w 128"/>
                  <a:gd name="T5" fmla="*/ 76 h 126"/>
                  <a:gd name="T6" fmla="*/ 61 w 128"/>
                  <a:gd name="T7" fmla="*/ 109 h 126"/>
                  <a:gd name="T8" fmla="*/ 8 w 128"/>
                  <a:gd name="T9" fmla="*/ 109 h 126"/>
                  <a:gd name="T10" fmla="*/ 0 w 128"/>
                  <a:gd name="T11" fmla="*/ 118 h 126"/>
                  <a:gd name="T12" fmla="*/ 8 w 128"/>
                  <a:gd name="T13" fmla="*/ 126 h 126"/>
                  <a:gd name="T14" fmla="*/ 61 w 128"/>
                  <a:gd name="T15" fmla="*/ 126 h 126"/>
                  <a:gd name="T16" fmla="*/ 111 w 128"/>
                  <a:gd name="T17" fmla="*/ 76 h 126"/>
                  <a:gd name="T18" fmla="*/ 111 w 128"/>
                  <a:gd name="T19" fmla="*/ 50 h 126"/>
                  <a:gd name="T20" fmla="*/ 128 w 128"/>
                  <a:gd name="T21" fmla="*/ 50 h 126"/>
                  <a:gd name="T22" fmla="*/ 103 w 128"/>
                  <a:gd name="T23" fmla="*/ 0 h 126"/>
                  <a:gd name="T24" fmla="*/ 78 w 128"/>
                  <a:gd name="T25"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126">
                    <a:moveTo>
                      <a:pt x="78" y="50"/>
                    </a:moveTo>
                    <a:cubicBezTo>
                      <a:pt x="95" y="50"/>
                      <a:pt x="95" y="50"/>
                      <a:pt x="95" y="50"/>
                    </a:cubicBezTo>
                    <a:cubicBezTo>
                      <a:pt x="95" y="76"/>
                      <a:pt x="95" y="76"/>
                      <a:pt x="95" y="76"/>
                    </a:cubicBezTo>
                    <a:cubicBezTo>
                      <a:pt x="95" y="94"/>
                      <a:pt x="79" y="109"/>
                      <a:pt x="61" y="109"/>
                    </a:cubicBezTo>
                    <a:cubicBezTo>
                      <a:pt x="8" y="109"/>
                      <a:pt x="8" y="109"/>
                      <a:pt x="8" y="109"/>
                    </a:cubicBezTo>
                    <a:cubicBezTo>
                      <a:pt x="4" y="109"/>
                      <a:pt x="0" y="113"/>
                      <a:pt x="0" y="118"/>
                    </a:cubicBezTo>
                    <a:cubicBezTo>
                      <a:pt x="0" y="123"/>
                      <a:pt x="4" y="126"/>
                      <a:pt x="8" y="126"/>
                    </a:cubicBezTo>
                    <a:cubicBezTo>
                      <a:pt x="61" y="126"/>
                      <a:pt x="61" y="126"/>
                      <a:pt x="61" y="126"/>
                    </a:cubicBezTo>
                    <a:cubicBezTo>
                      <a:pt x="89" y="126"/>
                      <a:pt x="111" y="104"/>
                      <a:pt x="111" y="76"/>
                    </a:cubicBezTo>
                    <a:cubicBezTo>
                      <a:pt x="111" y="50"/>
                      <a:pt x="111" y="50"/>
                      <a:pt x="111" y="50"/>
                    </a:cubicBezTo>
                    <a:cubicBezTo>
                      <a:pt x="128" y="50"/>
                      <a:pt x="128" y="50"/>
                      <a:pt x="128" y="50"/>
                    </a:cubicBezTo>
                    <a:cubicBezTo>
                      <a:pt x="103" y="0"/>
                      <a:pt x="103" y="0"/>
                      <a:pt x="103" y="0"/>
                    </a:cubicBezTo>
                    <a:lnTo>
                      <a:pt x="78" y="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sp>
            <p:nvSpPr>
              <p:cNvPr id="277" name="Freeform 37">
                <a:extLst>
                  <a:ext uri="{FF2B5EF4-FFF2-40B4-BE49-F238E27FC236}">
                    <a16:creationId xmlns:a16="http://schemas.microsoft.com/office/drawing/2014/main" id="{7568B855-ECF6-45BC-BDE0-D5CE40654B30}"/>
                  </a:ext>
                </a:extLst>
              </p:cNvPr>
              <p:cNvSpPr>
                <a:spLocks/>
              </p:cNvSpPr>
              <p:nvPr/>
            </p:nvSpPr>
            <p:spPr bwMode="auto">
              <a:xfrm>
                <a:off x="6081587" y="2154754"/>
                <a:ext cx="49965" cy="143343"/>
              </a:xfrm>
              <a:custGeom>
                <a:avLst/>
                <a:gdLst>
                  <a:gd name="T0" fmla="*/ 0 w 51"/>
                  <a:gd name="T1" fmla="*/ 50 h 147"/>
                  <a:gd name="T2" fmla="*/ 17 w 51"/>
                  <a:gd name="T3" fmla="*/ 50 h 147"/>
                  <a:gd name="T4" fmla="*/ 17 w 51"/>
                  <a:gd name="T5" fmla="*/ 139 h 147"/>
                  <a:gd name="T6" fmla="*/ 25 w 51"/>
                  <a:gd name="T7" fmla="*/ 147 h 147"/>
                  <a:gd name="T8" fmla="*/ 34 w 51"/>
                  <a:gd name="T9" fmla="*/ 139 h 147"/>
                  <a:gd name="T10" fmla="*/ 34 w 51"/>
                  <a:gd name="T11" fmla="*/ 50 h 147"/>
                  <a:gd name="T12" fmla="*/ 51 w 51"/>
                  <a:gd name="T13" fmla="*/ 50 h 147"/>
                  <a:gd name="T14" fmla="*/ 25 w 51"/>
                  <a:gd name="T15" fmla="*/ 0 h 147"/>
                  <a:gd name="T16" fmla="*/ 0 w 51"/>
                  <a:gd name="T17" fmla="*/ 5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147">
                    <a:moveTo>
                      <a:pt x="0" y="50"/>
                    </a:moveTo>
                    <a:cubicBezTo>
                      <a:pt x="17" y="50"/>
                      <a:pt x="17" y="50"/>
                      <a:pt x="17" y="50"/>
                    </a:cubicBezTo>
                    <a:cubicBezTo>
                      <a:pt x="17" y="139"/>
                      <a:pt x="17" y="139"/>
                      <a:pt x="17" y="139"/>
                    </a:cubicBezTo>
                    <a:cubicBezTo>
                      <a:pt x="17" y="144"/>
                      <a:pt x="21" y="147"/>
                      <a:pt x="25" y="147"/>
                    </a:cubicBezTo>
                    <a:cubicBezTo>
                      <a:pt x="30" y="147"/>
                      <a:pt x="34" y="144"/>
                      <a:pt x="34" y="139"/>
                    </a:cubicBezTo>
                    <a:cubicBezTo>
                      <a:pt x="34" y="50"/>
                      <a:pt x="34" y="50"/>
                      <a:pt x="34" y="50"/>
                    </a:cubicBezTo>
                    <a:cubicBezTo>
                      <a:pt x="51" y="50"/>
                      <a:pt x="51" y="50"/>
                      <a:pt x="51" y="50"/>
                    </a:cubicBezTo>
                    <a:cubicBezTo>
                      <a:pt x="25" y="0"/>
                      <a:pt x="25" y="0"/>
                      <a:pt x="25" y="0"/>
                    </a:cubicBezTo>
                    <a:lnTo>
                      <a:pt x="0" y="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sp>
            <p:nvSpPr>
              <p:cNvPr id="278" name="Freeform 38">
                <a:extLst>
                  <a:ext uri="{FF2B5EF4-FFF2-40B4-BE49-F238E27FC236}">
                    <a16:creationId xmlns:a16="http://schemas.microsoft.com/office/drawing/2014/main" id="{756C9AB6-BF1D-4A3D-9190-A00A3CF8E462}"/>
                  </a:ext>
                </a:extLst>
              </p:cNvPr>
              <p:cNvSpPr>
                <a:spLocks/>
              </p:cNvSpPr>
              <p:nvPr/>
            </p:nvSpPr>
            <p:spPr bwMode="auto">
              <a:xfrm>
                <a:off x="5923910" y="1954893"/>
                <a:ext cx="377197" cy="233854"/>
              </a:xfrm>
              <a:custGeom>
                <a:avLst/>
                <a:gdLst>
                  <a:gd name="T0" fmla="*/ 330 w 387"/>
                  <a:gd name="T1" fmla="*/ 95 h 240"/>
                  <a:gd name="T2" fmla="*/ 228 w 387"/>
                  <a:gd name="T3" fmla="*/ 0 h 240"/>
                  <a:gd name="T4" fmla="*/ 137 w 387"/>
                  <a:gd name="T5" fmla="*/ 52 h 240"/>
                  <a:gd name="T6" fmla="*/ 113 w 387"/>
                  <a:gd name="T7" fmla="*/ 47 h 240"/>
                  <a:gd name="T8" fmla="*/ 60 w 387"/>
                  <a:gd name="T9" fmla="*/ 95 h 240"/>
                  <a:gd name="T10" fmla="*/ 0 w 387"/>
                  <a:gd name="T11" fmla="*/ 166 h 240"/>
                  <a:gd name="T12" fmla="*/ 77 w 387"/>
                  <a:gd name="T13" fmla="*/ 240 h 240"/>
                  <a:gd name="T14" fmla="*/ 96 w 387"/>
                  <a:gd name="T15" fmla="*/ 240 h 240"/>
                  <a:gd name="T16" fmla="*/ 123 w 387"/>
                  <a:gd name="T17" fmla="*/ 186 h 240"/>
                  <a:gd name="T18" fmla="*/ 150 w 387"/>
                  <a:gd name="T19" fmla="*/ 240 h 240"/>
                  <a:gd name="T20" fmla="*/ 160 w 387"/>
                  <a:gd name="T21" fmla="*/ 240 h 240"/>
                  <a:gd name="T22" fmla="*/ 187 w 387"/>
                  <a:gd name="T23" fmla="*/ 186 h 240"/>
                  <a:gd name="T24" fmla="*/ 214 w 387"/>
                  <a:gd name="T25" fmla="*/ 240 h 240"/>
                  <a:gd name="T26" fmla="*/ 225 w 387"/>
                  <a:gd name="T27" fmla="*/ 240 h 240"/>
                  <a:gd name="T28" fmla="*/ 252 w 387"/>
                  <a:gd name="T29" fmla="*/ 186 h 240"/>
                  <a:gd name="T30" fmla="*/ 279 w 387"/>
                  <a:gd name="T31" fmla="*/ 240 h 240"/>
                  <a:gd name="T32" fmla="*/ 309 w 387"/>
                  <a:gd name="T33" fmla="*/ 240 h 240"/>
                  <a:gd name="T34" fmla="*/ 387 w 387"/>
                  <a:gd name="T35" fmla="*/ 166 h 240"/>
                  <a:gd name="T36" fmla="*/ 330 w 387"/>
                  <a:gd name="T37" fmla="*/ 9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7" h="240">
                    <a:moveTo>
                      <a:pt x="330" y="95"/>
                    </a:moveTo>
                    <a:cubicBezTo>
                      <a:pt x="329" y="43"/>
                      <a:pt x="283" y="0"/>
                      <a:pt x="228" y="0"/>
                    </a:cubicBezTo>
                    <a:cubicBezTo>
                      <a:pt x="190" y="0"/>
                      <a:pt x="154" y="20"/>
                      <a:pt x="137" y="52"/>
                    </a:cubicBezTo>
                    <a:cubicBezTo>
                      <a:pt x="130" y="49"/>
                      <a:pt x="121" y="47"/>
                      <a:pt x="113" y="47"/>
                    </a:cubicBezTo>
                    <a:cubicBezTo>
                      <a:pt x="85" y="47"/>
                      <a:pt x="61" y="68"/>
                      <a:pt x="60" y="95"/>
                    </a:cubicBezTo>
                    <a:cubicBezTo>
                      <a:pt x="25" y="102"/>
                      <a:pt x="0" y="132"/>
                      <a:pt x="0" y="166"/>
                    </a:cubicBezTo>
                    <a:cubicBezTo>
                      <a:pt x="0" y="207"/>
                      <a:pt x="34" y="240"/>
                      <a:pt x="77" y="240"/>
                    </a:cubicBezTo>
                    <a:cubicBezTo>
                      <a:pt x="96" y="240"/>
                      <a:pt x="96" y="240"/>
                      <a:pt x="96" y="240"/>
                    </a:cubicBezTo>
                    <a:cubicBezTo>
                      <a:pt x="123" y="186"/>
                      <a:pt x="123" y="186"/>
                      <a:pt x="123" y="186"/>
                    </a:cubicBezTo>
                    <a:cubicBezTo>
                      <a:pt x="150" y="240"/>
                      <a:pt x="150" y="240"/>
                      <a:pt x="150" y="240"/>
                    </a:cubicBezTo>
                    <a:cubicBezTo>
                      <a:pt x="160" y="240"/>
                      <a:pt x="160" y="240"/>
                      <a:pt x="160" y="240"/>
                    </a:cubicBezTo>
                    <a:cubicBezTo>
                      <a:pt x="187" y="186"/>
                      <a:pt x="187" y="186"/>
                      <a:pt x="187" y="186"/>
                    </a:cubicBezTo>
                    <a:cubicBezTo>
                      <a:pt x="214" y="240"/>
                      <a:pt x="214" y="240"/>
                      <a:pt x="214" y="240"/>
                    </a:cubicBezTo>
                    <a:cubicBezTo>
                      <a:pt x="225" y="240"/>
                      <a:pt x="225" y="240"/>
                      <a:pt x="225" y="240"/>
                    </a:cubicBezTo>
                    <a:cubicBezTo>
                      <a:pt x="252" y="186"/>
                      <a:pt x="252" y="186"/>
                      <a:pt x="252" y="186"/>
                    </a:cubicBezTo>
                    <a:cubicBezTo>
                      <a:pt x="279" y="240"/>
                      <a:pt x="279" y="240"/>
                      <a:pt x="279" y="240"/>
                    </a:cubicBezTo>
                    <a:cubicBezTo>
                      <a:pt x="309" y="240"/>
                      <a:pt x="309" y="240"/>
                      <a:pt x="309" y="240"/>
                    </a:cubicBezTo>
                    <a:cubicBezTo>
                      <a:pt x="352" y="240"/>
                      <a:pt x="387" y="207"/>
                      <a:pt x="387" y="166"/>
                    </a:cubicBezTo>
                    <a:cubicBezTo>
                      <a:pt x="387" y="133"/>
                      <a:pt x="363" y="104"/>
                      <a:pt x="330" y="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a:ln>
                    <a:noFill/>
                  </a:ln>
                  <a:solidFill>
                    <a:srgbClr val="000000"/>
                  </a:solidFill>
                  <a:effectLst/>
                  <a:uLnTx/>
                  <a:uFillTx/>
                  <a:latin typeface="Verdana"/>
                  <a:ea typeface="+mn-ea"/>
                  <a:cs typeface="+mn-cs"/>
                </a:endParaRPr>
              </a:p>
            </p:txBody>
          </p:sp>
        </p:grpSp>
        <p:sp>
          <p:nvSpPr>
            <p:cNvPr id="279" name="Freeform 205">
              <a:extLst>
                <a:ext uri="{FF2B5EF4-FFF2-40B4-BE49-F238E27FC236}">
                  <a16:creationId xmlns:a16="http://schemas.microsoft.com/office/drawing/2014/main" id="{3733A030-1A0A-4AD8-924C-C7C4EEB3CD09}"/>
                </a:ext>
              </a:extLst>
            </p:cNvPr>
            <p:cNvSpPr>
              <a:spLocks noEditPoints="1"/>
            </p:cNvSpPr>
            <p:nvPr userDrawn="1"/>
          </p:nvSpPr>
          <p:spPr bwMode="auto">
            <a:xfrm>
              <a:off x="5439640" y="617284"/>
              <a:ext cx="489156" cy="477993"/>
            </a:xfrm>
            <a:custGeom>
              <a:avLst/>
              <a:gdLst>
                <a:gd name="T0" fmla="*/ 10 w 139"/>
                <a:gd name="T1" fmla="*/ 87 h 107"/>
                <a:gd name="T2" fmla="*/ 10 w 139"/>
                <a:gd name="T3" fmla="*/ 97 h 107"/>
                <a:gd name="T4" fmla="*/ 90 w 139"/>
                <a:gd name="T5" fmla="*/ 97 h 107"/>
                <a:gd name="T6" fmla="*/ 90 w 139"/>
                <a:gd name="T7" fmla="*/ 87 h 107"/>
                <a:gd name="T8" fmla="*/ 10 w 139"/>
                <a:gd name="T9" fmla="*/ 87 h 107"/>
                <a:gd name="T10" fmla="*/ 124 w 139"/>
                <a:gd name="T11" fmla="*/ 85 h 107"/>
                <a:gd name="T12" fmla="*/ 119 w 139"/>
                <a:gd name="T13" fmla="*/ 87 h 107"/>
                <a:gd name="T14" fmla="*/ 117 w 139"/>
                <a:gd name="T15" fmla="*/ 92 h 107"/>
                <a:gd name="T16" fmla="*/ 119 w 139"/>
                <a:gd name="T17" fmla="*/ 97 h 107"/>
                <a:gd name="T18" fmla="*/ 124 w 139"/>
                <a:gd name="T19" fmla="*/ 100 h 107"/>
                <a:gd name="T20" fmla="*/ 130 w 139"/>
                <a:gd name="T21" fmla="*/ 97 h 107"/>
                <a:gd name="T22" fmla="*/ 132 w 139"/>
                <a:gd name="T23" fmla="*/ 92 h 107"/>
                <a:gd name="T24" fmla="*/ 130 w 139"/>
                <a:gd name="T25" fmla="*/ 87 h 107"/>
                <a:gd name="T26" fmla="*/ 124 w 139"/>
                <a:gd name="T27" fmla="*/ 85 h 107"/>
                <a:gd name="T28" fmla="*/ 0 w 139"/>
                <a:gd name="T29" fmla="*/ 78 h 107"/>
                <a:gd name="T30" fmla="*/ 139 w 139"/>
                <a:gd name="T31" fmla="*/ 78 h 107"/>
                <a:gd name="T32" fmla="*/ 139 w 139"/>
                <a:gd name="T33" fmla="*/ 107 h 107"/>
                <a:gd name="T34" fmla="*/ 0 w 139"/>
                <a:gd name="T35" fmla="*/ 107 h 107"/>
                <a:gd name="T36" fmla="*/ 0 w 139"/>
                <a:gd name="T37" fmla="*/ 78 h 107"/>
                <a:gd name="T38" fmla="*/ 10 w 139"/>
                <a:gd name="T39" fmla="*/ 49 h 107"/>
                <a:gd name="T40" fmla="*/ 10 w 139"/>
                <a:gd name="T41" fmla="*/ 58 h 107"/>
                <a:gd name="T42" fmla="*/ 90 w 139"/>
                <a:gd name="T43" fmla="*/ 58 h 107"/>
                <a:gd name="T44" fmla="*/ 90 w 139"/>
                <a:gd name="T45" fmla="*/ 49 h 107"/>
                <a:gd name="T46" fmla="*/ 10 w 139"/>
                <a:gd name="T47" fmla="*/ 49 h 107"/>
                <a:gd name="T48" fmla="*/ 124 w 139"/>
                <a:gd name="T49" fmla="*/ 46 h 107"/>
                <a:gd name="T50" fmla="*/ 119 w 139"/>
                <a:gd name="T51" fmla="*/ 48 h 107"/>
                <a:gd name="T52" fmla="*/ 117 w 139"/>
                <a:gd name="T53" fmla="*/ 53 h 107"/>
                <a:gd name="T54" fmla="*/ 119 w 139"/>
                <a:gd name="T55" fmla="*/ 59 h 107"/>
                <a:gd name="T56" fmla="*/ 124 w 139"/>
                <a:gd name="T57" fmla="*/ 61 h 107"/>
                <a:gd name="T58" fmla="*/ 130 w 139"/>
                <a:gd name="T59" fmla="*/ 59 h 107"/>
                <a:gd name="T60" fmla="*/ 132 w 139"/>
                <a:gd name="T61" fmla="*/ 53 h 107"/>
                <a:gd name="T62" fmla="*/ 130 w 139"/>
                <a:gd name="T63" fmla="*/ 48 h 107"/>
                <a:gd name="T64" fmla="*/ 124 w 139"/>
                <a:gd name="T65" fmla="*/ 46 h 107"/>
                <a:gd name="T66" fmla="*/ 0 w 139"/>
                <a:gd name="T67" fmla="*/ 39 h 107"/>
                <a:gd name="T68" fmla="*/ 139 w 139"/>
                <a:gd name="T69" fmla="*/ 39 h 107"/>
                <a:gd name="T70" fmla="*/ 139 w 139"/>
                <a:gd name="T71" fmla="*/ 68 h 107"/>
                <a:gd name="T72" fmla="*/ 0 w 139"/>
                <a:gd name="T73" fmla="*/ 68 h 107"/>
                <a:gd name="T74" fmla="*/ 0 w 139"/>
                <a:gd name="T75" fmla="*/ 39 h 107"/>
                <a:gd name="T76" fmla="*/ 10 w 139"/>
                <a:gd name="T77" fmla="*/ 10 h 107"/>
                <a:gd name="T78" fmla="*/ 10 w 139"/>
                <a:gd name="T79" fmla="*/ 19 h 107"/>
                <a:gd name="T80" fmla="*/ 90 w 139"/>
                <a:gd name="T81" fmla="*/ 19 h 107"/>
                <a:gd name="T82" fmla="*/ 90 w 139"/>
                <a:gd name="T83" fmla="*/ 10 h 107"/>
                <a:gd name="T84" fmla="*/ 10 w 139"/>
                <a:gd name="T85" fmla="*/ 10 h 107"/>
                <a:gd name="T86" fmla="*/ 124 w 139"/>
                <a:gd name="T87" fmla="*/ 7 h 107"/>
                <a:gd name="T88" fmla="*/ 119 w 139"/>
                <a:gd name="T89" fmla="*/ 9 h 107"/>
                <a:gd name="T90" fmla="*/ 117 w 139"/>
                <a:gd name="T91" fmla="*/ 15 h 107"/>
                <a:gd name="T92" fmla="*/ 119 w 139"/>
                <a:gd name="T93" fmla="*/ 20 h 107"/>
                <a:gd name="T94" fmla="*/ 124 w 139"/>
                <a:gd name="T95" fmla="*/ 22 h 107"/>
                <a:gd name="T96" fmla="*/ 130 w 139"/>
                <a:gd name="T97" fmla="*/ 20 h 107"/>
                <a:gd name="T98" fmla="*/ 132 w 139"/>
                <a:gd name="T99" fmla="*/ 15 h 107"/>
                <a:gd name="T100" fmla="*/ 130 w 139"/>
                <a:gd name="T101" fmla="*/ 9 h 107"/>
                <a:gd name="T102" fmla="*/ 124 w 139"/>
                <a:gd name="T103" fmla="*/ 7 h 107"/>
                <a:gd name="T104" fmla="*/ 0 w 139"/>
                <a:gd name="T105" fmla="*/ 0 h 107"/>
                <a:gd name="T106" fmla="*/ 139 w 139"/>
                <a:gd name="T107" fmla="*/ 0 h 107"/>
                <a:gd name="T108" fmla="*/ 139 w 139"/>
                <a:gd name="T109" fmla="*/ 29 h 107"/>
                <a:gd name="T110" fmla="*/ 0 w 139"/>
                <a:gd name="T111" fmla="*/ 29 h 107"/>
                <a:gd name="T112" fmla="*/ 0 w 139"/>
                <a:gd name="T11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07">
                  <a:moveTo>
                    <a:pt x="10" y="87"/>
                  </a:moveTo>
                  <a:cubicBezTo>
                    <a:pt x="10" y="97"/>
                    <a:pt x="10" y="97"/>
                    <a:pt x="10" y="97"/>
                  </a:cubicBezTo>
                  <a:cubicBezTo>
                    <a:pt x="90" y="97"/>
                    <a:pt x="90" y="97"/>
                    <a:pt x="90" y="97"/>
                  </a:cubicBezTo>
                  <a:cubicBezTo>
                    <a:pt x="90" y="87"/>
                    <a:pt x="90" y="87"/>
                    <a:pt x="90" y="87"/>
                  </a:cubicBezTo>
                  <a:cubicBezTo>
                    <a:pt x="10" y="87"/>
                    <a:pt x="10" y="87"/>
                    <a:pt x="10" y="87"/>
                  </a:cubicBezTo>
                  <a:close/>
                  <a:moveTo>
                    <a:pt x="124" y="85"/>
                  </a:moveTo>
                  <a:cubicBezTo>
                    <a:pt x="122" y="85"/>
                    <a:pt x="121" y="86"/>
                    <a:pt x="119" y="87"/>
                  </a:cubicBezTo>
                  <a:cubicBezTo>
                    <a:pt x="118" y="89"/>
                    <a:pt x="117" y="90"/>
                    <a:pt x="117" y="92"/>
                  </a:cubicBezTo>
                  <a:cubicBezTo>
                    <a:pt x="117" y="94"/>
                    <a:pt x="118" y="96"/>
                    <a:pt x="119" y="97"/>
                  </a:cubicBezTo>
                  <a:cubicBezTo>
                    <a:pt x="121" y="99"/>
                    <a:pt x="122" y="100"/>
                    <a:pt x="124" y="100"/>
                  </a:cubicBezTo>
                  <a:cubicBezTo>
                    <a:pt x="127" y="100"/>
                    <a:pt x="128" y="99"/>
                    <a:pt x="130" y="97"/>
                  </a:cubicBezTo>
                  <a:cubicBezTo>
                    <a:pt x="131" y="96"/>
                    <a:pt x="132" y="94"/>
                    <a:pt x="132" y="92"/>
                  </a:cubicBezTo>
                  <a:cubicBezTo>
                    <a:pt x="132" y="90"/>
                    <a:pt x="131" y="89"/>
                    <a:pt x="130" y="87"/>
                  </a:cubicBezTo>
                  <a:cubicBezTo>
                    <a:pt x="128" y="86"/>
                    <a:pt x="127" y="85"/>
                    <a:pt x="124" y="85"/>
                  </a:cubicBezTo>
                  <a:close/>
                  <a:moveTo>
                    <a:pt x="0" y="78"/>
                  </a:moveTo>
                  <a:cubicBezTo>
                    <a:pt x="139" y="78"/>
                    <a:pt x="139" y="78"/>
                    <a:pt x="139" y="78"/>
                  </a:cubicBezTo>
                  <a:cubicBezTo>
                    <a:pt x="139" y="107"/>
                    <a:pt x="139" y="107"/>
                    <a:pt x="139" y="107"/>
                  </a:cubicBezTo>
                  <a:cubicBezTo>
                    <a:pt x="0" y="107"/>
                    <a:pt x="0" y="107"/>
                    <a:pt x="0" y="107"/>
                  </a:cubicBezTo>
                  <a:cubicBezTo>
                    <a:pt x="0" y="78"/>
                    <a:pt x="0" y="78"/>
                    <a:pt x="0" y="78"/>
                  </a:cubicBezTo>
                  <a:close/>
                  <a:moveTo>
                    <a:pt x="10" y="49"/>
                  </a:moveTo>
                  <a:cubicBezTo>
                    <a:pt x="10" y="58"/>
                    <a:pt x="10" y="58"/>
                    <a:pt x="10" y="58"/>
                  </a:cubicBezTo>
                  <a:cubicBezTo>
                    <a:pt x="90" y="58"/>
                    <a:pt x="90" y="58"/>
                    <a:pt x="90" y="58"/>
                  </a:cubicBezTo>
                  <a:cubicBezTo>
                    <a:pt x="90" y="49"/>
                    <a:pt x="90" y="49"/>
                    <a:pt x="90" y="49"/>
                  </a:cubicBezTo>
                  <a:cubicBezTo>
                    <a:pt x="10" y="49"/>
                    <a:pt x="10" y="49"/>
                    <a:pt x="10" y="49"/>
                  </a:cubicBezTo>
                  <a:close/>
                  <a:moveTo>
                    <a:pt x="124" y="46"/>
                  </a:moveTo>
                  <a:cubicBezTo>
                    <a:pt x="122" y="46"/>
                    <a:pt x="121" y="47"/>
                    <a:pt x="119" y="48"/>
                  </a:cubicBezTo>
                  <a:cubicBezTo>
                    <a:pt x="118" y="50"/>
                    <a:pt x="117" y="51"/>
                    <a:pt x="117" y="53"/>
                  </a:cubicBezTo>
                  <a:cubicBezTo>
                    <a:pt x="117" y="55"/>
                    <a:pt x="118" y="57"/>
                    <a:pt x="119" y="59"/>
                  </a:cubicBezTo>
                  <a:cubicBezTo>
                    <a:pt x="121" y="60"/>
                    <a:pt x="122" y="61"/>
                    <a:pt x="124" y="61"/>
                  </a:cubicBezTo>
                  <a:cubicBezTo>
                    <a:pt x="127" y="61"/>
                    <a:pt x="128" y="60"/>
                    <a:pt x="130" y="59"/>
                  </a:cubicBezTo>
                  <a:cubicBezTo>
                    <a:pt x="131" y="57"/>
                    <a:pt x="132" y="55"/>
                    <a:pt x="132" y="53"/>
                  </a:cubicBezTo>
                  <a:cubicBezTo>
                    <a:pt x="132" y="51"/>
                    <a:pt x="131" y="50"/>
                    <a:pt x="130" y="48"/>
                  </a:cubicBezTo>
                  <a:cubicBezTo>
                    <a:pt x="128" y="47"/>
                    <a:pt x="127" y="46"/>
                    <a:pt x="124" y="46"/>
                  </a:cubicBezTo>
                  <a:close/>
                  <a:moveTo>
                    <a:pt x="0" y="39"/>
                  </a:moveTo>
                  <a:cubicBezTo>
                    <a:pt x="139" y="39"/>
                    <a:pt x="139" y="39"/>
                    <a:pt x="139" y="39"/>
                  </a:cubicBezTo>
                  <a:cubicBezTo>
                    <a:pt x="139" y="68"/>
                    <a:pt x="139" y="68"/>
                    <a:pt x="139" y="68"/>
                  </a:cubicBezTo>
                  <a:cubicBezTo>
                    <a:pt x="0" y="68"/>
                    <a:pt x="0" y="68"/>
                    <a:pt x="0" y="68"/>
                  </a:cubicBezTo>
                  <a:cubicBezTo>
                    <a:pt x="0" y="39"/>
                    <a:pt x="0" y="39"/>
                    <a:pt x="0" y="39"/>
                  </a:cubicBezTo>
                  <a:close/>
                  <a:moveTo>
                    <a:pt x="10" y="10"/>
                  </a:moveTo>
                  <a:cubicBezTo>
                    <a:pt x="10" y="19"/>
                    <a:pt x="10" y="19"/>
                    <a:pt x="10" y="19"/>
                  </a:cubicBezTo>
                  <a:cubicBezTo>
                    <a:pt x="90" y="19"/>
                    <a:pt x="90" y="19"/>
                    <a:pt x="90" y="19"/>
                  </a:cubicBezTo>
                  <a:cubicBezTo>
                    <a:pt x="90" y="10"/>
                    <a:pt x="90" y="10"/>
                    <a:pt x="90" y="10"/>
                  </a:cubicBezTo>
                  <a:cubicBezTo>
                    <a:pt x="10" y="10"/>
                    <a:pt x="10" y="10"/>
                    <a:pt x="10" y="10"/>
                  </a:cubicBezTo>
                  <a:close/>
                  <a:moveTo>
                    <a:pt x="124" y="7"/>
                  </a:moveTo>
                  <a:cubicBezTo>
                    <a:pt x="122" y="7"/>
                    <a:pt x="121" y="8"/>
                    <a:pt x="119" y="9"/>
                  </a:cubicBezTo>
                  <a:cubicBezTo>
                    <a:pt x="118" y="11"/>
                    <a:pt x="117" y="13"/>
                    <a:pt x="117" y="15"/>
                  </a:cubicBezTo>
                  <a:cubicBezTo>
                    <a:pt x="117" y="17"/>
                    <a:pt x="118" y="18"/>
                    <a:pt x="119" y="20"/>
                  </a:cubicBezTo>
                  <a:cubicBezTo>
                    <a:pt x="121" y="21"/>
                    <a:pt x="122" y="22"/>
                    <a:pt x="124" y="22"/>
                  </a:cubicBezTo>
                  <a:cubicBezTo>
                    <a:pt x="127" y="22"/>
                    <a:pt x="128" y="21"/>
                    <a:pt x="130" y="20"/>
                  </a:cubicBezTo>
                  <a:cubicBezTo>
                    <a:pt x="131" y="18"/>
                    <a:pt x="132" y="17"/>
                    <a:pt x="132" y="15"/>
                  </a:cubicBezTo>
                  <a:cubicBezTo>
                    <a:pt x="132" y="13"/>
                    <a:pt x="131" y="11"/>
                    <a:pt x="130" y="9"/>
                  </a:cubicBezTo>
                  <a:cubicBezTo>
                    <a:pt x="128" y="8"/>
                    <a:pt x="127" y="7"/>
                    <a:pt x="124" y="7"/>
                  </a:cubicBezTo>
                  <a:close/>
                  <a:moveTo>
                    <a:pt x="0" y="0"/>
                  </a:moveTo>
                  <a:cubicBezTo>
                    <a:pt x="139" y="0"/>
                    <a:pt x="139" y="0"/>
                    <a:pt x="139" y="0"/>
                  </a:cubicBezTo>
                  <a:cubicBezTo>
                    <a:pt x="139" y="29"/>
                    <a:pt x="139" y="29"/>
                    <a:pt x="139" y="29"/>
                  </a:cubicBezTo>
                  <a:cubicBezTo>
                    <a:pt x="0" y="29"/>
                    <a:pt x="0" y="29"/>
                    <a:pt x="0" y="29"/>
                  </a:cubicBezTo>
                  <a:cubicBezTo>
                    <a:pt x="0" y="0"/>
                    <a:pt x="0"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82" name="Groupe 2">
              <a:extLst>
                <a:ext uri="{FF2B5EF4-FFF2-40B4-BE49-F238E27FC236}">
                  <a16:creationId xmlns:a16="http://schemas.microsoft.com/office/drawing/2014/main" id="{B37EDC1A-8AA1-4246-AFBD-8B426C8C4EBA}"/>
                </a:ext>
              </a:extLst>
            </p:cNvPr>
            <p:cNvGrpSpPr/>
            <p:nvPr/>
          </p:nvGrpSpPr>
          <p:grpSpPr>
            <a:xfrm>
              <a:off x="3207768" y="1180039"/>
              <a:ext cx="681004" cy="482511"/>
              <a:chOff x="1653636" y="731540"/>
              <a:chExt cx="544513" cy="349250"/>
            </a:xfrm>
          </p:grpSpPr>
          <p:sp>
            <p:nvSpPr>
              <p:cNvPr id="283" name="Freeform 183">
                <a:extLst>
                  <a:ext uri="{FF2B5EF4-FFF2-40B4-BE49-F238E27FC236}">
                    <a16:creationId xmlns:a16="http://schemas.microsoft.com/office/drawing/2014/main" id="{D62372D4-7854-4D60-81A5-7AA19B57D372}"/>
                  </a:ext>
                </a:extLst>
              </p:cNvPr>
              <p:cNvSpPr>
                <a:spLocks noChangeAspect="1" noEditPoints="1"/>
              </p:cNvSpPr>
              <p:nvPr/>
            </p:nvSpPr>
            <p:spPr bwMode="auto">
              <a:xfrm>
                <a:off x="1717136" y="731540"/>
                <a:ext cx="417513" cy="266700"/>
              </a:xfrm>
              <a:custGeom>
                <a:avLst/>
                <a:gdLst>
                  <a:gd name="T0" fmla="*/ 5 w 111"/>
                  <a:gd name="T1" fmla="*/ 71 h 71"/>
                  <a:gd name="T2" fmla="*/ 107 w 111"/>
                  <a:gd name="T3" fmla="*/ 71 h 71"/>
                  <a:gd name="T4" fmla="*/ 111 w 111"/>
                  <a:gd name="T5" fmla="*/ 67 h 71"/>
                  <a:gd name="T6" fmla="*/ 111 w 111"/>
                  <a:gd name="T7" fmla="*/ 5 h 71"/>
                  <a:gd name="T8" fmla="*/ 107 w 111"/>
                  <a:gd name="T9" fmla="*/ 0 h 71"/>
                  <a:gd name="T10" fmla="*/ 5 w 111"/>
                  <a:gd name="T11" fmla="*/ 0 h 71"/>
                  <a:gd name="T12" fmla="*/ 0 w 111"/>
                  <a:gd name="T13" fmla="*/ 5 h 71"/>
                  <a:gd name="T14" fmla="*/ 0 w 111"/>
                  <a:gd name="T15" fmla="*/ 67 h 71"/>
                  <a:gd name="T16" fmla="*/ 5 w 111"/>
                  <a:gd name="T17" fmla="*/ 71 h 71"/>
                  <a:gd name="T18" fmla="*/ 6 w 111"/>
                  <a:gd name="T19" fmla="*/ 8 h 71"/>
                  <a:gd name="T20" fmla="*/ 104 w 111"/>
                  <a:gd name="T21" fmla="*/ 8 h 71"/>
                  <a:gd name="T22" fmla="*/ 104 w 111"/>
                  <a:gd name="T23" fmla="*/ 63 h 71"/>
                  <a:gd name="T24" fmla="*/ 7 w 111"/>
                  <a:gd name="T25" fmla="*/ 63 h 71"/>
                  <a:gd name="T26" fmla="*/ 6 w 111"/>
                  <a:gd name="T27"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71">
                    <a:moveTo>
                      <a:pt x="5" y="71"/>
                    </a:moveTo>
                    <a:cubicBezTo>
                      <a:pt x="107" y="71"/>
                      <a:pt x="107" y="71"/>
                      <a:pt x="107" y="71"/>
                    </a:cubicBezTo>
                    <a:cubicBezTo>
                      <a:pt x="109" y="71"/>
                      <a:pt x="111" y="69"/>
                      <a:pt x="111" y="67"/>
                    </a:cubicBezTo>
                    <a:cubicBezTo>
                      <a:pt x="111" y="5"/>
                      <a:pt x="111" y="5"/>
                      <a:pt x="111" y="5"/>
                    </a:cubicBezTo>
                    <a:cubicBezTo>
                      <a:pt x="111" y="2"/>
                      <a:pt x="109" y="0"/>
                      <a:pt x="107" y="0"/>
                    </a:cubicBezTo>
                    <a:cubicBezTo>
                      <a:pt x="5" y="0"/>
                      <a:pt x="5" y="0"/>
                      <a:pt x="5" y="0"/>
                    </a:cubicBezTo>
                    <a:cubicBezTo>
                      <a:pt x="2" y="0"/>
                      <a:pt x="0" y="2"/>
                      <a:pt x="0" y="5"/>
                    </a:cubicBezTo>
                    <a:cubicBezTo>
                      <a:pt x="0" y="67"/>
                      <a:pt x="0" y="67"/>
                      <a:pt x="0" y="67"/>
                    </a:cubicBezTo>
                    <a:cubicBezTo>
                      <a:pt x="0" y="69"/>
                      <a:pt x="2" y="71"/>
                      <a:pt x="5" y="71"/>
                    </a:cubicBezTo>
                    <a:close/>
                    <a:moveTo>
                      <a:pt x="6" y="8"/>
                    </a:moveTo>
                    <a:cubicBezTo>
                      <a:pt x="104" y="8"/>
                      <a:pt x="104" y="8"/>
                      <a:pt x="104" y="8"/>
                    </a:cubicBezTo>
                    <a:cubicBezTo>
                      <a:pt x="104" y="63"/>
                      <a:pt x="104" y="63"/>
                      <a:pt x="104" y="63"/>
                    </a:cubicBezTo>
                    <a:cubicBezTo>
                      <a:pt x="7" y="63"/>
                      <a:pt x="7" y="63"/>
                      <a:pt x="7" y="63"/>
                    </a:cubicBezTo>
                    <a:lnTo>
                      <a:pt x="6" y="8"/>
                    </a:ln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284" name="Freeform 184">
                <a:extLst>
                  <a:ext uri="{FF2B5EF4-FFF2-40B4-BE49-F238E27FC236}">
                    <a16:creationId xmlns:a16="http://schemas.microsoft.com/office/drawing/2014/main" id="{C1D53F87-2A96-4AE2-AD99-56B53ACA0D29}"/>
                  </a:ext>
                </a:extLst>
              </p:cNvPr>
              <p:cNvSpPr>
                <a:spLocks noChangeAspect="1"/>
              </p:cNvSpPr>
              <p:nvPr/>
            </p:nvSpPr>
            <p:spPr bwMode="auto">
              <a:xfrm>
                <a:off x="1653636" y="1058565"/>
                <a:ext cx="544513" cy="22225"/>
              </a:xfrm>
              <a:custGeom>
                <a:avLst/>
                <a:gdLst>
                  <a:gd name="T0" fmla="*/ 0 w 145"/>
                  <a:gd name="T1" fmla="*/ 0 h 6"/>
                  <a:gd name="T2" fmla="*/ 7 w 145"/>
                  <a:gd name="T3" fmla="*/ 6 h 6"/>
                  <a:gd name="T4" fmla="*/ 138 w 145"/>
                  <a:gd name="T5" fmla="*/ 6 h 6"/>
                  <a:gd name="T6" fmla="*/ 145 w 145"/>
                  <a:gd name="T7" fmla="*/ 0 h 6"/>
                  <a:gd name="T8" fmla="*/ 0 w 145"/>
                  <a:gd name="T9" fmla="*/ 0 h 6"/>
                </a:gdLst>
                <a:ahLst/>
                <a:cxnLst>
                  <a:cxn ang="0">
                    <a:pos x="T0" y="T1"/>
                  </a:cxn>
                  <a:cxn ang="0">
                    <a:pos x="T2" y="T3"/>
                  </a:cxn>
                  <a:cxn ang="0">
                    <a:pos x="T4" y="T5"/>
                  </a:cxn>
                  <a:cxn ang="0">
                    <a:pos x="T6" y="T7"/>
                  </a:cxn>
                  <a:cxn ang="0">
                    <a:pos x="T8" y="T9"/>
                  </a:cxn>
                </a:cxnLst>
                <a:rect l="0" t="0" r="r" b="b"/>
                <a:pathLst>
                  <a:path w="145" h="6">
                    <a:moveTo>
                      <a:pt x="0" y="0"/>
                    </a:moveTo>
                    <a:cubicBezTo>
                      <a:pt x="1" y="3"/>
                      <a:pt x="4" y="6"/>
                      <a:pt x="7" y="6"/>
                    </a:cubicBezTo>
                    <a:cubicBezTo>
                      <a:pt x="138" y="6"/>
                      <a:pt x="138" y="6"/>
                      <a:pt x="138" y="6"/>
                    </a:cubicBezTo>
                    <a:cubicBezTo>
                      <a:pt x="141" y="6"/>
                      <a:pt x="144" y="3"/>
                      <a:pt x="145" y="0"/>
                    </a:cubicBezTo>
                    <a:lnTo>
                      <a:pt x="0" y="0"/>
                    </a:ln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285" name="Freeform 185">
                <a:extLst>
                  <a:ext uri="{FF2B5EF4-FFF2-40B4-BE49-F238E27FC236}">
                    <a16:creationId xmlns:a16="http://schemas.microsoft.com/office/drawing/2014/main" id="{6DB4BC3E-8D8F-410B-88F0-5EB4B845BAD9}"/>
                  </a:ext>
                </a:extLst>
              </p:cNvPr>
              <p:cNvSpPr>
                <a:spLocks noChangeAspect="1"/>
              </p:cNvSpPr>
              <p:nvPr/>
            </p:nvSpPr>
            <p:spPr bwMode="auto">
              <a:xfrm>
                <a:off x="1653636" y="1006177"/>
                <a:ext cx="541338" cy="52387"/>
              </a:xfrm>
              <a:custGeom>
                <a:avLst/>
                <a:gdLst>
                  <a:gd name="T0" fmla="*/ 303 w 341"/>
                  <a:gd name="T1" fmla="*/ 0 h 33"/>
                  <a:gd name="T2" fmla="*/ 40 w 341"/>
                  <a:gd name="T3" fmla="*/ 0 h 33"/>
                  <a:gd name="T4" fmla="*/ 0 w 341"/>
                  <a:gd name="T5" fmla="*/ 33 h 33"/>
                  <a:gd name="T6" fmla="*/ 341 w 341"/>
                  <a:gd name="T7" fmla="*/ 33 h 33"/>
                  <a:gd name="T8" fmla="*/ 303 w 341"/>
                  <a:gd name="T9" fmla="*/ 0 h 33"/>
                </a:gdLst>
                <a:ahLst/>
                <a:cxnLst>
                  <a:cxn ang="0">
                    <a:pos x="T0" y="T1"/>
                  </a:cxn>
                  <a:cxn ang="0">
                    <a:pos x="T2" y="T3"/>
                  </a:cxn>
                  <a:cxn ang="0">
                    <a:pos x="T4" y="T5"/>
                  </a:cxn>
                  <a:cxn ang="0">
                    <a:pos x="T6" y="T7"/>
                  </a:cxn>
                  <a:cxn ang="0">
                    <a:pos x="T8" y="T9"/>
                  </a:cxn>
                </a:cxnLst>
                <a:rect l="0" t="0" r="r" b="b"/>
                <a:pathLst>
                  <a:path w="341" h="33">
                    <a:moveTo>
                      <a:pt x="303" y="0"/>
                    </a:moveTo>
                    <a:lnTo>
                      <a:pt x="40" y="0"/>
                    </a:lnTo>
                    <a:lnTo>
                      <a:pt x="0" y="33"/>
                    </a:lnTo>
                    <a:lnTo>
                      <a:pt x="341" y="33"/>
                    </a:lnTo>
                    <a:lnTo>
                      <a:pt x="303" y="0"/>
                    </a:lnTo>
                    <a:close/>
                  </a:path>
                </a:pathLst>
              </a:custGeom>
              <a:solidFill>
                <a:srgbClr val="492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286" name="Freeform 186">
                <a:extLst>
                  <a:ext uri="{FF2B5EF4-FFF2-40B4-BE49-F238E27FC236}">
                    <a16:creationId xmlns:a16="http://schemas.microsoft.com/office/drawing/2014/main" id="{023CF512-29C9-4F5E-89C9-11E8138248CE}"/>
                  </a:ext>
                </a:extLst>
              </p:cNvPr>
              <p:cNvSpPr>
                <a:spLocks noChangeAspect="1"/>
              </p:cNvSpPr>
              <p:nvPr/>
            </p:nvSpPr>
            <p:spPr bwMode="auto">
              <a:xfrm>
                <a:off x="1860011" y="1042690"/>
                <a:ext cx="131763" cy="19050"/>
              </a:xfrm>
              <a:custGeom>
                <a:avLst/>
                <a:gdLst>
                  <a:gd name="T0" fmla="*/ 0 w 83"/>
                  <a:gd name="T1" fmla="*/ 12 h 12"/>
                  <a:gd name="T2" fmla="*/ 10 w 83"/>
                  <a:gd name="T3" fmla="*/ 0 h 12"/>
                  <a:gd name="T4" fmla="*/ 73 w 83"/>
                  <a:gd name="T5" fmla="*/ 0 h 12"/>
                  <a:gd name="T6" fmla="*/ 83 w 83"/>
                  <a:gd name="T7" fmla="*/ 12 h 12"/>
                  <a:gd name="T8" fmla="*/ 0 w 83"/>
                  <a:gd name="T9" fmla="*/ 12 h 12"/>
                </a:gdLst>
                <a:ahLst/>
                <a:cxnLst>
                  <a:cxn ang="0">
                    <a:pos x="T0" y="T1"/>
                  </a:cxn>
                  <a:cxn ang="0">
                    <a:pos x="T2" y="T3"/>
                  </a:cxn>
                  <a:cxn ang="0">
                    <a:pos x="T4" y="T5"/>
                  </a:cxn>
                  <a:cxn ang="0">
                    <a:pos x="T6" y="T7"/>
                  </a:cxn>
                  <a:cxn ang="0">
                    <a:pos x="T8" y="T9"/>
                  </a:cxn>
                </a:cxnLst>
                <a:rect l="0" t="0" r="r" b="b"/>
                <a:pathLst>
                  <a:path w="83" h="12">
                    <a:moveTo>
                      <a:pt x="0" y="12"/>
                    </a:moveTo>
                    <a:lnTo>
                      <a:pt x="10" y="0"/>
                    </a:lnTo>
                    <a:lnTo>
                      <a:pt x="73" y="0"/>
                    </a:lnTo>
                    <a:lnTo>
                      <a:pt x="83"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287" name="Rectangle 187">
                <a:extLst>
                  <a:ext uri="{FF2B5EF4-FFF2-40B4-BE49-F238E27FC236}">
                    <a16:creationId xmlns:a16="http://schemas.microsoft.com/office/drawing/2014/main" id="{7EE84231-112E-4566-AF47-A80BB0FF921C}"/>
                  </a:ext>
                </a:extLst>
              </p:cNvPr>
              <p:cNvSpPr>
                <a:spLocks noChangeAspect="1" noChangeArrowheads="1"/>
              </p:cNvSpPr>
              <p:nvPr/>
            </p:nvSpPr>
            <p:spPr bwMode="auto">
              <a:xfrm>
                <a:off x="1744123" y="761702"/>
                <a:ext cx="363538" cy="206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288" name="Freeform 188">
                <a:extLst>
                  <a:ext uri="{FF2B5EF4-FFF2-40B4-BE49-F238E27FC236}">
                    <a16:creationId xmlns:a16="http://schemas.microsoft.com/office/drawing/2014/main" id="{44C941A8-6565-44C5-A42F-0193D098B7C1}"/>
                  </a:ext>
                </a:extLst>
              </p:cNvPr>
              <p:cNvSpPr>
                <a:spLocks noChangeAspect="1"/>
              </p:cNvSpPr>
              <p:nvPr/>
            </p:nvSpPr>
            <p:spPr bwMode="auto">
              <a:xfrm>
                <a:off x="2033048" y="731540"/>
                <a:ext cx="101600" cy="38100"/>
              </a:xfrm>
              <a:custGeom>
                <a:avLst/>
                <a:gdLst>
                  <a:gd name="T0" fmla="*/ 0 w 64"/>
                  <a:gd name="T1" fmla="*/ 0 h 24"/>
                  <a:gd name="T2" fmla="*/ 64 w 64"/>
                  <a:gd name="T3" fmla="*/ 0 h 24"/>
                  <a:gd name="T4" fmla="*/ 64 w 64"/>
                  <a:gd name="T5" fmla="*/ 24 h 24"/>
                  <a:gd name="T6" fmla="*/ 0 w 64"/>
                  <a:gd name="T7" fmla="*/ 0 h 24"/>
                </a:gdLst>
                <a:ahLst/>
                <a:cxnLst>
                  <a:cxn ang="0">
                    <a:pos x="T0" y="T1"/>
                  </a:cxn>
                  <a:cxn ang="0">
                    <a:pos x="T2" y="T3"/>
                  </a:cxn>
                  <a:cxn ang="0">
                    <a:pos x="T4" y="T5"/>
                  </a:cxn>
                  <a:cxn ang="0">
                    <a:pos x="T6" y="T7"/>
                  </a:cxn>
                </a:cxnLst>
                <a:rect l="0" t="0" r="r" b="b"/>
                <a:pathLst>
                  <a:path w="64" h="24">
                    <a:moveTo>
                      <a:pt x="0" y="0"/>
                    </a:moveTo>
                    <a:lnTo>
                      <a:pt x="64" y="0"/>
                    </a:lnTo>
                    <a:lnTo>
                      <a:pt x="64" y="24"/>
                    </a:lnTo>
                    <a:lnTo>
                      <a:pt x="0" y="0"/>
                    </a:ln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289" name="Group 838">
              <a:extLst>
                <a:ext uri="{FF2B5EF4-FFF2-40B4-BE49-F238E27FC236}">
                  <a16:creationId xmlns:a16="http://schemas.microsoft.com/office/drawing/2014/main" id="{6BF9B4C6-7AD1-40A2-BA10-3A982F78E3BA}"/>
                </a:ext>
              </a:extLst>
            </p:cNvPr>
            <p:cNvGrpSpPr/>
            <p:nvPr userDrawn="1"/>
          </p:nvGrpSpPr>
          <p:grpSpPr>
            <a:xfrm>
              <a:off x="7476790" y="3531818"/>
              <a:ext cx="610840" cy="588827"/>
              <a:chOff x="2226469" y="3725763"/>
              <a:chExt cx="519112" cy="568325"/>
            </a:xfrm>
            <a:solidFill>
              <a:schemeClr val="accent3"/>
            </a:solidFill>
          </p:grpSpPr>
          <p:sp>
            <p:nvSpPr>
              <p:cNvPr id="290" name="Freeform 51">
                <a:extLst>
                  <a:ext uri="{FF2B5EF4-FFF2-40B4-BE49-F238E27FC236}">
                    <a16:creationId xmlns:a16="http://schemas.microsoft.com/office/drawing/2014/main" id="{6017A2BB-C46A-41CA-A2EC-6AA78283D228}"/>
                  </a:ext>
                </a:extLst>
              </p:cNvPr>
              <p:cNvSpPr>
                <a:spLocks/>
              </p:cNvSpPr>
              <p:nvPr/>
            </p:nvSpPr>
            <p:spPr bwMode="auto">
              <a:xfrm>
                <a:off x="2258219" y="3725763"/>
                <a:ext cx="44450" cy="42863"/>
              </a:xfrm>
              <a:custGeom>
                <a:avLst/>
                <a:gdLst>
                  <a:gd name="T0" fmla="*/ 4 w 28"/>
                  <a:gd name="T1" fmla="*/ 27 h 27"/>
                  <a:gd name="T2" fmla="*/ 13 w 28"/>
                  <a:gd name="T3" fmla="*/ 23 h 27"/>
                  <a:gd name="T4" fmla="*/ 22 w 28"/>
                  <a:gd name="T5" fmla="*/ 27 h 27"/>
                  <a:gd name="T6" fmla="*/ 20 w 28"/>
                  <a:gd name="T7" fmla="*/ 18 h 27"/>
                  <a:gd name="T8" fmla="*/ 28 w 28"/>
                  <a:gd name="T9" fmla="*/ 11 h 27"/>
                  <a:gd name="T10" fmla="*/ 18 w 28"/>
                  <a:gd name="T11" fmla="*/ 9 h 27"/>
                  <a:gd name="T12" fmla="*/ 13 w 28"/>
                  <a:gd name="T13" fmla="*/ 0 h 27"/>
                  <a:gd name="T14" fmla="*/ 9 w 28"/>
                  <a:gd name="T15" fmla="*/ 9 h 27"/>
                  <a:gd name="T16" fmla="*/ 0 w 28"/>
                  <a:gd name="T17" fmla="*/ 11 h 27"/>
                  <a:gd name="T18" fmla="*/ 6 w 28"/>
                  <a:gd name="T19" fmla="*/ 18 h 27"/>
                  <a:gd name="T20" fmla="*/ 4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4" y="27"/>
                    </a:moveTo>
                    <a:lnTo>
                      <a:pt x="13" y="23"/>
                    </a:lnTo>
                    <a:lnTo>
                      <a:pt x="22" y="27"/>
                    </a:lnTo>
                    <a:lnTo>
                      <a:pt x="20" y="18"/>
                    </a:lnTo>
                    <a:lnTo>
                      <a:pt x="28" y="11"/>
                    </a:lnTo>
                    <a:lnTo>
                      <a:pt x="18" y="9"/>
                    </a:lnTo>
                    <a:lnTo>
                      <a:pt x="13" y="0"/>
                    </a:lnTo>
                    <a:lnTo>
                      <a:pt x="9" y="9"/>
                    </a:lnTo>
                    <a:lnTo>
                      <a:pt x="0" y="11"/>
                    </a:lnTo>
                    <a:lnTo>
                      <a:pt x="6" y="18"/>
                    </a:lnTo>
                    <a:lnTo>
                      <a:pt x="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291" name="Freeform 52">
                <a:extLst>
                  <a:ext uri="{FF2B5EF4-FFF2-40B4-BE49-F238E27FC236}">
                    <a16:creationId xmlns:a16="http://schemas.microsoft.com/office/drawing/2014/main" id="{82C6DA77-50BB-48F7-B13C-5595286C898A}"/>
                  </a:ext>
                </a:extLst>
              </p:cNvPr>
              <p:cNvSpPr>
                <a:spLocks/>
              </p:cNvSpPr>
              <p:nvPr/>
            </p:nvSpPr>
            <p:spPr bwMode="auto">
              <a:xfrm>
                <a:off x="2310606" y="3725763"/>
                <a:ext cx="46037" cy="42863"/>
              </a:xfrm>
              <a:custGeom>
                <a:avLst/>
                <a:gdLst>
                  <a:gd name="T0" fmla="*/ 6 w 29"/>
                  <a:gd name="T1" fmla="*/ 27 h 27"/>
                  <a:gd name="T2" fmla="*/ 14 w 29"/>
                  <a:gd name="T3" fmla="*/ 23 h 27"/>
                  <a:gd name="T4" fmla="*/ 23 w 29"/>
                  <a:gd name="T5" fmla="*/ 27 h 27"/>
                  <a:gd name="T6" fmla="*/ 22 w 29"/>
                  <a:gd name="T7" fmla="*/ 18 h 27"/>
                  <a:gd name="T8" fmla="*/ 29 w 29"/>
                  <a:gd name="T9" fmla="*/ 11 h 27"/>
                  <a:gd name="T10" fmla="*/ 18 w 29"/>
                  <a:gd name="T11" fmla="*/ 9 h 27"/>
                  <a:gd name="T12" fmla="*/ 15 w 29"/>
                  <a:gd name="T13" fmla="*/ 0 h 27"/>
                  <a:gd name="T14" fmla="*/ 11 w 29"/>
                  <a:gd name="T15" fmla="*/ 9 h 27"/>
                  <a:gd name="T16" fmla="*/ 0 w 29"/>
                  <a:gd name="T17" fmla="*/ 11 h 27"/>
                  <a:gd name="T18" fmla="*/ 7 w 29"/>
                  <a:gd name="T19" fmla="*/ 18 h 27"/>
                  <a:gd name="T20" fmla="*/ 6 w 29"/>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7">
                    <a:moveTo>
                      <a:pt x="6" y="27"/>
                    </a:moveTo>
                    <a:lnTo>
                      <a:pt x="14" y="23"/>
                    </a:lnTo>
                    <a:lnTo>
                      <a:pt x="23" y="27"/>
                    </a:lnTo>
                    <a:lnTo>
                      <a:pt x="22" y="18"/>
                    </a:lnTo>
                    <a:lnTo>
                      <a:pt x="29" y="11"/>
                    </a:lnTo>
                    <a:lnTo>
                      <a:pt x="18" y="9"/>
                    </a:lnTo>
                    <a:lnTo>
                      <a:pt x="15" y="0"/>
                    </a:lnTo>
                    <a:lnTo>
                      <a:pt x="11" y="9"/>
                    </a:lnTo>
                    <a:lnTo>
                      <a:pt x="0" y="11"/>
                    </a:lnTo>
                    <a:lnTo>
                      <a:pt x="7"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292" name="Freeform 53">
                <a:extLst>
                  <a:ext uri="{FF2B5EF4-FFF2-40B4-BE49-F238E27FC236}">
                    <a16:creationId xmlns:a16="http://schemas.microsoft.com/office/drawing/2014/main" id="{A936763C-24B6-4BFF-A10D-0688D7318AD1}"/>
                  </a:ext>
                </a:extLst>
              </p:cNvPr>
              <p:cNvSpPr>
                <a:spLocks noEditPoints="1"/>
              </p:cNvSpPr>
              <p:nvPr/>
            </p:nvSpPr>
            <p:spPr bwMode="auto">
              <a:xfrm>
                <a:off x="2226469" y="3790850"/>
                <a:ext cx="322262" cy="503238"/>
              </a:xfrm>
              <a:custGeom>
                <a:avLst/>
                <a:gdLst>
                  <a:gd name="T0" fmla="*/ 203 w 203"/>
                  <a:gd name="T1" fmla="*/ 0 h 317"/>
                  <a:gd name="T2" fmla="*/ 173 w 203"/>
                  <a:gd name="T3" fmla="*/ 50 h 317"/>
                  <a:gd name="T4" fmla="*/ 173 w 203"/>
                  <a:gd name="T5" fmla="*/ 82 h 317"/>
                  <a:gd name="T6" fmla="*/ 191 w 203"/>
                  <a:gd name="T7" fmla="*/ 90 h 317"/>
                  <a:gd name="T8" fmla="*/ 173 w 203"/>
                  <a:gd name="T9" fmla="*/ 90 h 317"/>
                  <a:gd name="T10" fmla="*/ 191 w 203"/>
                  <a:gd name="T11" fmla="*/ 162 h 317"/>
                  <a:gd name="T12" fmla="*/ 173 w 203"/>
                  <a:gd name="T13" fmla="*/ 168 h 317"/>
                  <a:gd name="T14" fmla="*/ 173 w 203"/>
                  <a:gd name="T15" fmla="*/ 201 h 317"/>
                  <a:gd name="T16" fmla="*/ 191 w 203"/>
                  <a:gd name="T17" fmla="*/ 209 h 317"/>
                  <a:gd name="T18" fmla="*/ 173 w 203"/>
                  <a:gd name="T19" fmla="*/ 209 h 317"/>
                  <a:gd name="T20" fmla="*/ 191 w 203"/>
                  <a:gd name="T21" fmla="*/ 281 h 317"/>
                  <a:gd name="T22" fmla="*/ 140 w 203"/>
                  <a:gd name="T23" fmla="*/ 50 h 317"/>
                  <a:gd name="T24" fmla="*/ 140 w 203"/>
                  <a:gd name="T25" fmla="*/ 82 h 317"/>
                  <a:gd name="T26" fmla="*/ 158 w 203"/>
                  <a:gd name="T27" fmla="*/ 90 h 317"/>
                  <a:gd name="T28" fmla="*/ 140 w 203"/>
                  <a:gd name="T29" fmla="*/ 90 h 317"/>
                  <a:gd name="T30" fmla="*/ 158 w 203"/>
                  <a:gd name="T31" fmla="*/ 162 h 317"/>
                  <a:gd name="T32" fmla="*/ 140 w 203"/>
                  <a:gd name="T33" fmla="*/ 168 h 317"/>
                  <a:gd name="T34" fmla="*/ 140 w 203"/>
                  <a:gd name="T35" fmla="*/ 201 h 317"/>
                  <a:gd name="T36" fmla="*/ 158 w 203"/>
                  <a:gd name="T37" fmla="*/ 209 h 317"/>
                  <a:gd name="T38" fmla="*/ 140 w 203"/>
                  <a:gd name="T39" fmla="*/ 209 h 317"/>
                  <a:gd name="T40" fmla="*/ 158 w 203"/>
                  <a:gd name="T41" fmla="*/ 281 h 317"/>
                  <a:gd name="T42" fmla="*/ 107 w 203"/>
                  <a:gd name="T43" fmla="*/ 50 h 317"/>
                  <a:gd name="T44" fmla="*/ 107 w 203"/>
                  <a:gd name="T45" fmla="*/ 82 h 317"/>
                  <a:gd name="T46" fmla="*/ 126 w 203"/>
                  <a:gd name="T47" fmla="*/ 90 h 317"/>
                  <a:gd name="T48" fmla="*/ 107 w 203"/>
                  <a:gd name="T49" fmla="*/ 90 h 317"/>
                  <a:gd name="T50" fmla="*/ 126 w 203"/>
                  <a:gd name="T51" fmla="*/ 162 h 317"/>
                  <a:gd name="T52" fmla="*/ 107 w 203"/>
                  <a:gd name="T53" fmla="*/ 168 h 317"/>
                  <a:gd name="T54" fmla="*/ 107 w 203"/>
                  <a:gd name="T55" fmla="*/ 201 h 317"/>
                  <a:gd name="T56" fmla="*/ 126 w 203"/>
                  <a:gd name="T57" fmla="*/ 209 h 317"/>
                  <a:gd name="T58" fmla="*/ 107 w 203"/>
                  <a:gd name="T59" fmla="*/ 209 h 317"/>
                  <a:gd name="T60" fmla="*/ 126 w 203"/>
                  <a:gd name="T61" fmla="*/ 281 h 317"/>
                  <a:gd name="T62" fmla="*/ 78 w 203"/>
                  <a:gd name="T63" fmla="*/ 50 h 317"/>
                  <a:gd name="T64" fmla="*/ 78 w 203"/>
                  <a:gd name="T65" fmla="*/ 82 h 317"/>
                  <a:gd name="T66" fmla="*/ 96 w 203"/>
                  <a:gd name="T67" fmla="*/ 90 h 317"/>
                  <a:gd name="T68" fmla="*/ 78 w 203"/>
                  <a:gd name="T69" fmla="*/ 90 h 317"/>
                  <a:gd name="T70" fmla="*/ 96 w 203"/>
                  <a:gd name="T71" fmla="*/ 162 h 317"/>
                  <a:gd name="T72" fmla="*/ 78 w 203"/>
                  <a:gd name="T73" fmla="*/ 168 h 317"/>
                  <a:gd name="T74" fmla="*/ 78 w 203"/>
                  <a:gd name="T75" fmla="*/ 201 h 317"/>
                  <a:gd name="T76" fmla="*/ 96 w 203"/>
                  <a:gd name="T77" fmla="*/ 209 h 317"/>
                  <a:gd name="T78" fmla="*/ 78 w 203"/>
                  <a:gd name="T79" fmla="*/ 209 h 317"/>
                  <a:gd name="T80" fmla="*/ 96 w 203"/>
                  <a:gd name="T81" fmla="*/ 281 h 317"/>
                  <a:gd name="T82" fmla="*/ 45 w 203"/>
                  <a:gd name="T83" fmla="*/ 50 h 317"/>
                  <a:gd name="T84" fmla="*/ 45 w 203"/>
                  <a:gd name="T85" fmla="*/ 82 h 317"/>
                  <a:gd name="T86" fmla="*/ 64 w 203"/>
                  <a:gd name="T87" fmla="*/ 90 h 317"/>
                  <a:gd name="T88" fmla="*/ 45 w 203"/>
                  <a:gd name="T89" fmla="*/ 90 h 317"/>
                  <a:gd name="T90" fmla="*/ 64 w 203"/>
                  <a:gd name="T91" fmla="*/ 162 h 317"/>
                  <a:gd name="T92" fmla="*/ 45 w 203"/>
                  <a:gd name="T93" fmla="*/ 168 h 317"/>
                  <a:gd name="T94" fmla="*/ 45 w 203"/>
                  <a:gd name="T95" fmla="*/ 201 h 317"/>
                  <a:gd name="T96" fmla="*/ 64 w 203"/>
                  <a:gd name="T97" fmla="*/ 209 h 317"/>
                  <a:gd name="T98" fmla="*/ 45 w 203"/>
                  <a:gd name="T99" fmla="*/ 209 h 317"/>
                  <a:gd name="T100" fmla="*/ 64 w 203"/>
                  <a:gd name="T101" fmla="*/ 281 h 317"/>
                  <a:gd name="T102" fmla="*/ 13 w 203"/>
                  <a:gd name="T103" fmla="*/ 50 h 317"/>
                  <a:gd name="T104" fmla="*/ 13 w 203"/>
                  <a:gd name="T105" fmla="*/ 82 h 317"/>
                  <a:gd name="T106" fmla="*/ 31 w 203"/>
                  <a:gd name="T107" fmla="*/ 90 h 317"/>
                  <a:gd name="T108" fmla="*/ 13 w 203"/>
                  <a:gd name="T109" fmla="*/ 90 h 317"/>
                  <a:gd name="T110" fmla="*/ 31 w 203"/>
                  <a:gd name="T111" fmla="*/ 162 h 317"/>
                  <a:gd name="T112" fmla="*/ 13 w 203"/>
                  <a:gd name="T113" fmla="*/ 168 h 317"/>
                  <a:gd name="T114" fmla="*/ 13 w 203"/>
                  <a:gd name="T115" fmla="*/ 201 h 317"/>
                  <a:gd name="T116" fmla="*/ 31 w 203"/>
                  <a:gd name="T117" fmla="*/ 209 h 317"/>
                  <a:gd name="T118" fmla="*/ 13 w 203"/>
                  <a:gd name="T119" fmla="*/ 209 h 317"/>
                  <a:gd name="T120" fmla="*/ 31 w 203"/>
                  <a:gd name="T121" fmla="*/ 28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17">
                    <a:moveTo>
                      <a:pt x="0" y="317"/>
                    </a:moveTo>
                    <a:lnTo>
                      <a:pt x="203" y="317"/>
                    </a:lnTo>
                    <a:lnTo>
                      <a:pt x="203" y="0"/>
                    </a:lnTo>
                    <a:lnTo>
                      <a:pt x="0" y="0"/>
                    </a:lnTo>
                    <a:lnTo>
                      <a:pt x="0" y="317"/>
                    </a:lnTo>
                    <a:close/>
                    <a:moveTo>
                      <a:pt x="173" y="50"/>
                    </a:moveTo>
                    <a:lnTo>
                      <a:pt x="191" y="50"/>
                    </a:lnTo>
                    <a:lnTo>
                      <a:pt x="191" y="82"/>
                    </a:lnTo>
                    <a:lnTo>
                      <a:pt x="173" y="82"/>
                    </a:lnTo>
                    <a:lnTo>
                      <a:pt x="173" y="50"/>
                    </a:lnTo>
                    <a:close/>
                    <a:moveTo>
                      <a:pt x="173" y="90"/>
                    </a:moveTo>
                    <a:lnTo>
                      <a:pt x="191" y="90"/>
                    </a:lnTo>
                    <a:lnTo>
                      <a:pt x="191" y="122"/>
                    </a:lnTo>
                    <a:lnTo>
                      <a:pt x="173" y="122"/>
                    </a:lnTo>
                    <a:lnTo>
                      <a:pt x="173" y="90"/>
                    </a:lnTo>
                    <a:close/>
                    <a:moveTo>
                      <a:pt x="173" y="131"/>
                    </a:moveTo>
                    <a:lnTo>
                      <a:pt x="191" y="131"/>
                    </a:lnTo>
                    <a:lnTo>
                      <a:pt x="191" y="162"/>
                    </a:lnTo>
                    <a:lnTo>
                      <a:pt x="173" y="162"/>
                    </a:lnTo>
                    <a:lnTo>
                      <a:pt x="173" y="131"/>
                    </a:lnTo>
                    <a:close/>
                    <a:moveTo>
                      <a:pt x="173" y="168"/>
                    </a:moveTo>
                    <a:lnTo>
                      <a:pt x="191" y="168"/>
                    </a:lnTo>
                    <a:lnTo>
                      <a:pt x="191" y="201"/>
                    </a:lnTo>
                    <a:lnTo>
                      <a:pt x="173" y="201"/>
                    </a:lnTo>
                    <a:lnTo>
                      <a:pt x="173" y="168"/>
                    </a:lnTo>
                    <a:close/>
                    <a:moveTo>
                      <a:pt x="173" y="209"/>
                    </a:moveTo>
                    <a:lnTo>
                      <a:pt x="191" y="209"/>
                    </a:lnTo>
                    <a:lnTo>
                      <a:pt x="191" y="240"/>
                    </a:lnTo>
                    <a:lnTo>
                      <a:pt x="173" y="240"/>
                    </a:lnTo>
                    <a:lnTo>
                      <a:pt x="173" y="209"/>
                    </a:lnTo>
                    <a:close/>
                    <a:moveTo>
                      <a:pt x="173" y="249"/>
                    </a:moveTo>
                    <a:lnTo>
                      <a:pt x="191" y="249"/>
                    </a:lnTo>
                    <a:lnTo>
                      <a:pt x="191" y="281"/>
                    </a:lnTo>
                    <a:lnTo>
                      <a:pt x="173" y="281"/>
                    </a:lnTo>
                    <a:lnTo>
                      <a:pt x="173" y="249"/>
                    </a:lnTo>
                    <a:close/>
                    <a:moveTo>
                      <a:pt x="140" y="50"/>
                    </a:moveTo>
                    <a:lnTo>
                      <a:pt x="158" y="50"/>
                    </a:lnTo>
                    <a:lnTo>
                      <a:pt x="158" y="82"/>
                    </a:lnTo>
                    <a:lnTo>
                      <a:pt x="140" y="82"/>
                    </a:lnTo>
                    <a:lnTo>
                      <a:pt x="140" y="50"/>
                    </a:lnTo>
                    <a:close/>
                    <a:moveTo>
                      <a:pt x="140" y="90"/>
                    </a:moveTo>
                    <a:lnTo>
                      <a:pt x="158" y="90"/>
                    </a:lnTo>
                    <a:lnTo>
                      <a:pt x="158" y="122"/>
                    </a:lnTo>
                    <a:lnTo>
                      <a:pt x="140" y="122"/>
                    </a:lnTo>
                    <a:lnTo>
                      <a:pt x="140" y="90"/>
                    </a:lnTo>
                    <a:close/>
                    <a:moveTo>
                      <a:pt x="140" y="131"/>
                    </a:moveTo>
                    <a:lnTo>
                      <a:pt x="158" y="131"/>
                    </a:lnTo>
                    <a:lnTo>
                      <a:pt x="158" y="162"/>
                    </a:lnTo>
                    <a:lnTo>
                      <a:pt x="140" y="162"/>
                    </a:lnTo>
                    <a:lnTo>
                      <a:pt x="140" y="131"/>
                    </a:lnTo>
                    <a:close/>
                    <a:moveTo>
                      <a:pt x="140" y="168"/>
                    </a:moveTo>
                    <a:lnTo>
                      <a:pt x="158" y="168"/>
                    </a:lnTo>
                    <a:lnTo>
                      <a:pt x="158" y="201"/>
                    </a:lnTo>
                    <a:lnTo>
                      <a:pt x="140" y="201"/>
                    </a:lnTo>
                    <a:lnTo>
                      <a:pt x="140" y="168"/>
                    </a:lnTo>
                    <a:close/>
                    <a:moveTo>
                      <a:pt x="140" y="209"/>
                    </a:moveTo>
                    <a:lnTo>
                      <a:pt x="158" y="209"/>
                    </a:lnTo>
                    <a:lnTo>
                      <a:pt x="158" y="240"/>
                    </a:lnTo>
                    <a:lnTo>
                      <a:pt x="140" y="240"/>
                    </a:lnTo>
                    <a:lnTo>
                      <a:pt x="140" y="209"/>
                    </a:lnTo>
                    <a:close/>
                    <a:moveTo>
                      <a:pt x="140" y="249"/>
                    </a:moveTo>
                    <a:lnTo>
                      <a:pt x="158" y="249"/>
                    </a:lnTo>
                    <a:lnTo>
                      <a:pt x="158" y="281"/>
                    </a:lnTo>
                    <a:lnTo>
                      <a:pt x="140" y="281"/>
                    </a:lnTo>
                    <a:lnTo>
                      <a:pt x="140" y="249"/>
                    </a:lnTo>
                    <a:close/>
                    <a:moveTo>
                      <a:pt x="107" y="50"/>
                    </a:moveTo>
                    <a:lnTo>
                      <a:pt x="126" y="50"/>
                    </a:lnTo>
                    <a:lnTo>
                      <a:pt x="126" y="82"/>
                    </a:lnTo>
                    <a:lnTo>
                      <a:pt x="107" y="82"/>
                    </a:lnTo>
                    <a:lnTo>
                      <a:pt x="107" y="50"/>
                    </a:lnTo>
                    <a:close/>
                    <a:moveTo>
                      <a:pt x="107" y="90"/>
                    </a:moveTo>
                    <a:lnTo>
                      <a:pt x="126" y="90"/>
                    </a:lnTo>
                    <a:lnTo>
                      <a:pt x="126" y="122"/>
                    </a:lnTo>
                    <a:lnTo>
                      <a:pt x="107" y="122"/>
                    </a:lnTo>
                    <a:lnTo>
                      <a:pt x="107" y="90"/>
                    </a:lnTo>
                    <a:close/>
                    <a:moveTo>
                      <a:pt x="107" y="131"/>
                    </a:moveTo>
                    <a:lnTo>
                      <a:pt x="126" y="131"/>
                    </a:lnTo>
                    <a:lnTo>
                      <a:pt x="126" y="162"/>
                    </a:lnTo>
                    <a:lnTo>
                      <a:pt x="107" y="162"/>
                    </a:lnTo>
                    <a:lnTo>
                      <a:pt x="107" y="131"/>
                    </a:lnTo>
                    <a:close/>
                    <a:moveTo>
                      <a:pt x="107" y="168"/>
                    </a:moveTo>
                    <a:lnTo>
                      <a:pt x="126" y="168"/>
                    </a:lnTo>
                    <a:lnTo>
                      <a:pt x="126" y="201"/>
                    </a:lnTo>
                    <a:lnTo>
                      <a:pt x="107" y="201"/>
                    </a:lnTo>
                    <a:lnTo>
                      <a:pt x="107" y="168"/>
                    </a:lnTo>
                    <a:close/>
                    <a:moveTo>
                      <a:pt x="107" y="209"/>
                    </a:moveTo>
                    <a:lnTo>
                      <a:pt x="126" y="209"/>
                    </a:lnTo>
                    <a:lnTo>
                      <a:pt x="126" y="240"/>
                    </a:lnTo>
                    <a:lnTo>
                      <a:pt x="107" y="240"/>
                    </a:lnTo>
                    <a:lnTo>
                      <a:pt x="107" y="209"/>
                    </a:lnTo>
                    <a:close/>
                    <a:moveTo>
                      <a:pt x="107" y="249"/>
                    </a:moveTo>
                    <a:lnTo>
                      <a:pt x="126" y="249"/>
                    </a:lnTo>
                    <a:lnTo>
                      <a:pt x="126" y="281"/>
                    </a:lnTo>
                    <a:lnTo>
                      <a:pt x="107" y="281"/>
                    </a:lnTo>
                    <a:lnTo>
                      <a:pt x="107" y="249"/>
                    </a:lnTo>
                    <a:close/>
                    <a:moveTo>
                      <a:pt x="78" y="50"/>
                    </a:moveTo>
                    <a:lnTo>
                      <a:pt x="96" y="50"/>
                    </a:lnTo>
                    <a:lnTo>
                      <a:pt x="96" y="82"/>
                    </a:lnTo>
                    <a:lnTo>
                      <a:pt x="78" y="82"/>
                    </a:lnTo>
                    <a:lnTo>
                      <a:pt x="78" y="50"/>
                    </a:lnTo>
                    <a:close/>
                    <a:moveTo>
                      <a:pt x="78" y="90"/>
                    </a:moveTo>
                    <a:lnTo>
                      <a:pt x="96" y="90"/>
                    </a:lnTo>
                    <a:lnTo>
                      <a:pt x="96" y="122"/>
                    </a:lnTo>
                    <a:lnTo>
                      <a:pt x="78" y="122"/>
                    </a:lnTo>
                    <a:lnTo>
                      <a:pt x="78" y="90"/>
                    </a:lnTo>
                    <a:close/>
                    <a:moveTo>
                      <a:pt x="78" y="131"/>
                    </a:moveTo>
                    <a:lnTo>
                      <a:pt x="96" y="131"/>
                    </a:lnTo>
                    <a:lnTo>
                      <a:pt x="96" y="162"/>
                    </a:lnTo>
                    <a:lnTo>
                      <a:pt x="78" y="162"/>
                    </a:lnTo>
                    <a:lnTo>
                      <a:pt x="78" y="131"/>
                    </a:lnTo>
                    <a:close/>
                    <a:moveTo>
                      <a:pt x="78" y="168"/>
                    </a:moveTo>
                    <a:lnTo>
                      <a:pt x="96" y="168"/>
                    </a:lnTo>
                    <a:lnTo>
                      <a:pt x="96" y="201"/>
                    </a:lnTo>
                    <a:lnTo>
                      <a:pt x="78" y="201"/>
                    </a:lnTo>
                    <a:lnTo>
                      <a:pt x="78" y="168"/>
                    </a:lnTo>
                    <a:close/>
                    <a:moveTo>
                      <a:pt x="78" y="209"/>
                    </a:moveTo>
                    <a:lnTo>
                      <a:pt x="96" y="209"/>
                    </a:lnTo>
                    <a:lnTo>
                      <a:pt x="96" y="240"/>
                    </a:lnTo>
                    <a:lnTo>
                      <a:pt x="78" y="240"/>
                    </a:lnTo>
                    <a:lnTo>
                      <a:pt x="78" y="209"/>
                    </a:lnTo>
                    <a:close/>
                    <a:moveTo>
                      <a:pt x="78" y="249"/>
                    </a:moveTo>
                    <a:lnTo>
                      <a:pt x="96" y="249"/>
                    </a:lnTo>
                    <a:lnTo>
                      <a:pt x="96" y="281"/>
                    </a:lnTo>
                    <a:lnTo>
                      <a:pt x="78" y="281"/>
                    </a:lnTo>
                    <a:lnTo>
                      <a:pt x="78" y="249"/>
                    </a:lnTo>
                    <a:close/>
                    <a:moveTo>
                      <a:pt x="45" y="50"/>
                    </a:moveTo>
                    <a:lnTo>
                      <a:pt x="64" y="50"/>
                    </a:lnTo>
                    <a:lnTo>
                      <a:pt x="64" y="82"/>
                    </a:lnTo>
                    <a:lnTo>
                      <a:pt x="45" y="82"/>
                    </a:lnTo>
                    <a:lnTo>
                      <a:pt x="45" y="50"/>
                    </a:lnTo>
                    <a:close/>
                    <a:moveTo>
                      <a:pt x="45" y="90"/>
                    </a:moveTo>
                    <a:lnTo>
                      <a:pt x="64" y="90"/>
                    </a:lnTo>
                    <a:lnTo>
                      <a:pt x="64" y="122"/>
                    </a:lnTo>
                    <a:lnTo>
                      <a:pt x="45" y="122"/>
                    </a:lnTo>
                    <a:lnTo>
                      <a:pt x="45" y="90"/>
                    </a:lnTo>
                    <a:close/>
                    <a:moveTo>
                      <a:pt x="45" y="131"/>
                    </a:moveTo>
                    <a:lnTo>
                      <a:pt x="64" y="131"/>
                    </a:lnTo>
                    <a:lnTo>
                      <a:pt x="64" y="162"/>
                    </a:lnTo>
                    <a:lnTo>
                      <a:pt x="45" y="162"/>
                    </a:lnTo>
                    <a:lnTo>
                      <a:pt x="45" y="131"/>
                    </a:lnTo>
                    <a:close/>
                    <a:moveTo>
                      <a:pt x="45" y="168"/>
                    </a:moveTo>
                    <a:lnTo>
                      <a:pt x="64" y="168"/>
                    </a:lnTo>
                    <a:lnTo>
                      <a:pt x="64" y="201"/>
                    </a:lnTo>
                    <a:lnTo>
                      <a:pt x="45" y="201"/>
                    </a:lnTo>
                    <a:lnTo>
                      <a:pt x="45" y="168"/>
                    </a:lnTo>
                    <a:close/>
                    <a:moveTo>
                      <a:pt x="45" y="209"/>
                    </a:moveTo>
                    <a:lnTo>
                      <a:pt x="64" y="209"/>
                    </a:lnTo>
                    <a:lnTo>
                      <a:pt x="64" y="240"/>
                    </a:lnTo>
                    <a:lnTo>
                      <a:pt x="45" y="240"/>
                    </a:lnTo>
                    <a:lnTo>
                      <a:pt x="45" y="209"/>
                    </a:lnTo>
                    <a:close/>
                    <a:moveTo>
                      <a:pt x="45" y="249"/>
                    </a:moveTo>
                    <a:lnTo>
                      <a:pt x="64" y="249"/>
                    </a:lnTo>
                    <a:lnTo>
                      <a:pt x="64" y="281"/>
                    </a:lnTo>
                    <a:lnTo>
                      <a:pt x="45" y="281"/>
                    </a:lnTo>
                    <a:lnTo>
                      <a:pt x="45" y="249"/>
                    </a:lnTo>
                    <a:close/>
                    <a:moveTo>
                      <a:pt x="13" y="50"/>
                    </a:moveTo>
                    <a:lnTo>
                      <a:pt x="31" y="50"/>
                    </a:lnTo>
                    <a:lnTo>
                      <a:pt x="31" y="82"/>
                    </a:lnTo>
                    <a:lnTo>
                      <a:pt x="13" y="82"/>
                    </a:lnTo>
                    <a:lnTo>
                      <a:pt x="13" y="50"/>
                    </a:lnTo>
                    <a:close/>
                    <a:moveTo>
                      <a:pt x="13" y="90"/>
                    </a:moveTo>
                    <a:lnTo>
                      <a:pt x="31" y="90"/>
                    </a:lnTo>
                    <a:lnTo>
                      <a:pt x="31" y="122"/>
                    </a:lnTo>
                    <a:lnTo>
                      <a:pt x="13" y="122"/>
                    </a:lnTo>
                    <a:lnTo>
                      <a:pt x="13" y="90"/>
                    </a:lnTo>
                    <a:close/>
                    <a:moveTo>
                      <a:pt x="13" y="131"/>
                    </a:moveTo>
                    <a:lnTo>
                      <a:pt x="31" y="131"/>
                    </a:lnTo>
                    <a:lnTo>
                      <a:pt x="31" y="162"/>
                    </a:lnTo>
                    <a:lnTo>
                      <a:pt x="13" y="162"/>
                    </a:lnTo>
                    <a:lnTo>
                      <a:pt x="13" y="131"/>
                    </a:lnTo>
                    <a:close/>
                    <a:moveTo>
                      <a:pt x="13" y="168"/>
                    </a:moveTo>
                    <a:lnTo>
                      <a:pt x="31" y="168"/>
                    </a:lnTo>
                    <a:lnTo>
                      <a:pt x="31" y="201"/>
                    </a:lnTo>
                    <a:lnTo>
                      <a:pt x="13" y="201"/>
                    </a:lnTo>
                    <a:lnTo>
                      <a:pt x="13" y="168"/>
                    </a:lnTo>
                    <a:close/>
                    <a:moveTo>
                      <a:pt x="13" y="209"/>
                    </a:moveTo>
                    <a:lnTo>
                      <a:pt x="31" y="209"/>
                    </a:lnTo>
                    <a:lnTo>
                      <a:pt x="31" y="240"/>
                    </a:lnTo>
                    <a:lnTo>
                      <a:pt x="13" y="240"/>
                    </a:lnTo>
                    <a:lnTo>
                      <a:pt x="13" y="209"/>
                    </a:lnTo>
                    <a:close/>
                    <a:moveTo>
                      <a:pt x="13" y="249"/>
                    </a:moveTo>
                    <a:lnTo>
                      <a:pt x="31" y="249"/>
                    </a:lnTo>
                    <a:lnTo>
                      <a:pt x="31" y="281"/>
                    </a:lnTo>
                    <a:lnTo>
                      <a:pt x="13" y="281"/>
                    </a:lnTo>
                    <a:lnTo>
                      <a:pt x="13"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293" name="Freeform 54">
                <a:extLst>
                  <a:ext uri="{FF2B5EF4-FFF2-40B4-BE49-F238E27FC236}">
                    <a16:creationId xmlns:a16="http://schemas.microsoft.com/office/drawing/2014/main" id="{9E45E596-B02E-4873-9479-EF797B87034B}"/>
                  </a:ext>
                </a:extLst>
              </p:cNvPr>
              <p:cNvSpPr>
                <a:spLocks/>
              </p:cNvSpPr>
              <p:nvPr/>
            </p:nvSpPr>
            <p:spPr bwMode="auto">
              <a:xfrm>
                <a:off x="2364581" y="3725763"/>
                <a:ext cx="44450" cy="42863"/>
              </a:xfrm>
              <a:custGeom>
                <a:avLst/>
                <a:gdLst>
                  <a:gd name="T0" fmla="*/ 6 w 28"/>
                  <a:gd name="T1" fmla="*/ 27 h 27"/>
                  <a:gd name="T2" fmla="*/ 15 w 28"/>
                  <a:gd name="T3" fmla="*/ 23 h 27"/>
                  <a:gd name="T4" fmla="*/ 24 w 28"/>
                  <a:gd name="T5" fmla="*/ 27 h 27"/>
                  <a:gd name="T6" fmla="*/ 22 w 28"/>
                  <a:gd name="T7" fmla="*/ 18 h 27"/>
                  <a:gd name="T8" fmla="*/ 28 w 28"/>
                  <a:gd name="T9" fmla="*/ 11 h 27"/>
                  <a:gd name="T10" fmla="*/ 19 w 28"/>
                  <a:gd name="T11" fmla="*/ 9 h 27"/>
                  <a:gd name="T12" fmla="*/ 15 w 28"/>
                  <a:gd name="T13" fmla="*/ 0 h 27"/>
                  <a:gd name="T14" fmla="*/ 10 w 28"/>
                  <a:gd name="T15" fmla="*/ 9 h 27"/>
                  <a:gd name="T16" fmla="*/ 0 w 28"/>
                  <a:gd name="T17" fmla="*/ 11 h 27"/>
                  <a:gd name="T18" fmla="*/ 8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5" y="23"/>
                    </a:lnTo>
                    <a:lnTo>
                      <a:pt x="24" y="27"/>
                    </a:lnTo>
                    <a:lnTo>
                      <a:pt x="22" y="18"/>
                    </a:lnTo>
                    <a:lnTo>
                      <a:pt x="28" y="11"/>
                    </a:lnTo>
                    <a:lnTo>
                      <a:pt x="19" y="9"/>
                    </a:lnTo>
                    <a:lnTo>
                      <a:pt x="15" y="0"/>
                    </a:lnTo>
                    <a:lnTo>
                      <a:pt x="10" y="9"/>
                    </a:lnTo>
                    <a:lnTo>
                      <a:pt x="0" y="11"/>
                    </a:lnTo>
                    <a:lnTo>
                      <a:pt x="8"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294" name="Freeform 55">
                <a:extLst>
                  <a:ext uri="{FF2B5EF4-FFF2-40B4-BE49-F238E27FC236}">
                    <a16:creationId xmlns:a16="http://schemas.microsoft.com/office/drawing/2014/main" id="{C09B751B-F27C-493E-B286-F76C465E374F}"/>
                  </a:ext>
                </a:extLst>
              </p:cNvPr>
              <p:cNvSpPr>
                <a:spLocks noEditPoints="1"/>
              </p:cNvSpPr>
              <p:nvPr/>
            </p:nvSpPr>
            <p:spPr bwMode="auto">
              <a:xfrm>
                <a:off x="2572544" y="4025800"/>
                <a:ext cx="173037" cy="268288"/>
              </a:xfrm>
              <a:custGeom>
                <a:avLst/>
                <a:gdLst>
                  <a:gd name="T0" fmla="*/ 0 w 109"/>
                  <a:gd name="T1" fmla="*/ 0 h 169"/>
                  <a:gd name="T2" fmla="*/ 0 w 109"/>
                  <a:gd name="T3" fmla="*/ 169 h 169"/>
                  <a:gd name="T4" fmla="*/ 109 w 109"/>
                  <a:gd name="T5" fmla="*/ 169 h 169"/>
                  <a:gd name="T6" fmla="*/ 109 w 109"/>
                  <a:gd name="T7" fmla="*/ 0 h 169"/>
                  <a:gd name="T8" fmla="*/ 0 w 109"/>
                  <a:gd name="T9" fmla="*/ 0 h 169"/>
                  <a:gd name="T10" fmla="*/ 32 w 109"/>
                  <a:gd name="T11" fmla="*/ 149 h 169"/>
                  <a:gd name="T12" fmla="*/ 14 w 109"/>
                  <a:gd name="T13" fmla="*/ 149 h 169"/>
                  <a:gd name="T14" fmla="*/ 14 w 109"/>
                  <a:gd name="T15" fmla="*/ 117 h 169"/>
                  <a:gd name="T16" fmla="*/ 32 w 109"/>
                  <a:gd name="T17" fmla="*/ 117 h 169"/>
                  <a:gd name="T18" fmla="*/ 32 w 109"/>
                  <a:gd name="T19" fmla="*/ 149 h 169"/>
                  <a:gd name="T20" fmla="*/ 32 w 109"/>
                  <a:gd name="T21" fmla="*/ 108 h 169"/>
                  <a:gd name="T22" fmla="*/ 14 w 109"/>
                  <a:gd name="T23" fmla="*/ 108 h 169"/>
                  <a:gd name="T24" fmla="*/ 14 w 109"/>
                  <a:gd name="T25" fmla="*/ 76 h 169"/>
                  <a:gd name="T26" fmla="*/ 32 w 109"/>
                  <a:gd name="T27" fmla="*/ 76 h 169"/>
                  <a:gd name="T28" fmla="*/ 32 w 109"/>
                  <a:gd name="T29" fmla="*/ 108 h 169"/>
                  <a:gd name="T30" fmla="*/ 32 w 109"/>
                  <a:gd name="T31" fmla="*/ 69 h 169"/>
                  <a:gd name="T32" fmla="*/ 14 w 109"/>
                  <a:gd name="T33" fmla="*/ 69 h 169"/>
                  <a:gd name="T34" fmla="*/ 14 w 109"/>
                  <a:gd name="T35" fmla="*/ 36 h 169"/>
                  <a:gd name="T36" fmla="*/ 32 w 109"/>
                  <a:gd name="T37" fmla="*/ 36 h 169"/>
                  <a:gd name="T38" fmla="*/ 32 w 109"/>
                  <a:gd name="T39" fmla="*/ 69 h 169"/>
                  <a:gd name="T40" fmla="*/ 63 w 109"/>
                  <a:gd name="T41" fmla="*/ 149 h 169"/>
                  <a:gd name="T42" fmla="*/ 45 w 109"/>
                  <a:gd name="T43" fmla="*/ 149 h 169"/>
                  <a:gd name="T44" fmla="*/ 45 w 109"/>
                  <a:gd name="T45" fmla="*/ 117 h 169"/>
                  <a:gd name="T46" fmla="*/ 63 w 109"/>
                  <a:gd name="T47" fmla="*/ 117 h 169"/>
                  <a:gd name="T48" fmla="*/ 63 w 109"/>
                  <a:gd name="T49" fmla="*/ 149 h 169"/>
                  <a:gd name="T50" fmla="*/ 63 w 109"/>
                  <a:gd name="T51" fmla="*/ 108 h 169"/>
                  <a:gd name="T52" fmla="*/ 45 w 109"/>
                  <a:gd name="T53" fmla="*/ 108 h 169"/>
                  <a:gd name="T54" fmla="*/ 45 w 109"/>
                  <a:gd name="T55" fmla="*/ 76 h 169"/>
                  <a:gd name="T56" fmla="*/ 63 w 109"/>
                  <a:gd name="T57" fmla="*/ 76 h 169"/>
                  <a:gd name="T58" fmla="*/ 63 w 109"/>
                  <a:gd name="T59" fmla="*/ 108 h 169"/>
                  <a:gd name="T60" fmla="*/ 63 w 109"/>
                  <a:gd name="T61" fmla="*/ 69 h 169"/>
                  <a:gd name="T62" fmla="*/ 45 w 109"/>
                  <a:gd name="T63" fmla="*/ 69 h 169"/>
                  <a:gd name="T64" fmla="*/ 45 w 109"/>
                  <a:gd name="T65" fmla="*/ 36 h 169"/>
                  <a:gd name="T66" fmla="*/ 63 w 109"/>
                  <a:gd name="T67" fmla="*/ 36 h 169"/>
                  <a:gd name="T68" fmla="*/ 63 w 109"/>
                  <a:gd name="T69" fmla="*/ 69 h 169"/>
                  <a:gd name="T70" fmla="*/ 96 w 109"/>
                  <a:gd name="T71" fmla="*/ 149 h 169"/>
                  <a:gd name="T72" fmla="*/ 78 w 109"/>
                  <a:gd name="T73" fmla="*/ 149 h 169"/>
                  <a:gd name="T74" fmla="*/ 78 w 109"/>
                  <a:gd name="T75" fmla="*/ 117 h 169"/>
                  <a:gd name="T76" fmla="*/ 96 w 109"/>
                  <a:gd name="T77" fmla="*/ 117 h 169"/>
                  <a:gd name="T78" fmla="*/ 96 w 109"/>
                  <a:gd name="T79" fmla="*/ 149 h 169"/>
                  <a:gd name="T80" fmla="*/ 96 w 109"/>
                  <a:gd name="T81" fmla="*/ 108 h 169"/>
                  <a:gd name="T82" fmla="*/ 78 w 109"/>
                  <a:gd name="T83" fmla="*/ 108 h 169"/>
                  <a:gd name="T84" fmla="*/ 78 w 109"/>
                  <a:gd name="T85" fmla="*/ 76 h 169"/>
                  <a:gd name="T86" fmla="*/ 96 w 109"/>
                  <a:gd name="T87" fmla="*/ 76 h 169"/>
                  <a:gd name="T88" fmla="*/ 96 w 109"/>
                  <a:gd name="T89" fmla="*/ 108 h 169"/>
                  <a:gd name="T90" fmla="*/ 96 w 109"/>
                  <a:gd name="T91" fmla="*/ 69 h 169"/>
                  <a:gd name="T92" fmla="*/ 78 w 109"/>
                  <a:gd name="T93" fmla="*/ 69 h 169"/>
                  <a:gd name="T94" fmla="*/ 78 w 109"/>
                  <a:gd name="T95" fmla="*/ 36 h 169"/>
                  <a:gd name="T96" fmla="*/ 96 w 109"/>
                  <a:gd name="T97" fmla="*/ 36 h 169"/>
                  <a:gd name="T98" fmla="*/ 96 w 109"/>
                  <a:gd name="T99" fmla="*/ 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 h="169">
                    <a:moveTo>
                      <a:pt x="0" y="0"/>
                    </a:moveTo>
                    <a:lnTo>
                      <a:pt x="0" y="169"/>
                    </a:lnTo>
                    <a:lnTo>
                      <a:pt x="109" y="169"/>
                    </a:lnTo>
                    <a:lnTo>
                      <a:pt x="109" y="0"/>
                    </a:lnTo>
                    <a:lnTo>
                      <a:pt x="0" y="0"/>
                    </a:lnTo>
                    <a:close/>
                    <a:moveTo>
                      <a:pt x="32" y="149"/>
                    </a:moveTo>
                    <a:lnTo>
                      <a:pt x="14" y="149"/>
                    </a:lnTo>
                    <a:lnTo>
                      <a:pt x="14" y="117"/>
                    </a:lnTo>
                    <a:lnTo>
                      <a:pt x="32" y="117"/>
                    </a:lnTo>
                    <a:lnTo>
                      <a:pt x="32" y="149"/>
                    </a:lnTo>
                    <a:close/>
                    <a:moveTo>
                      <a:pt x="32" y="108"/>
                    </a:moveTo>
                    <a:lnTo>
                      <a:pt x="14" y="108"/>
                    </a:lnTo>
                    <a:lnTo>
                      <a:pt x="14" y="76"/>
                    </a:lnTo>
                    <a:lnTo>
                      <a:pt x="32" y="76"/>
                    </a:lnTo>
                    <a:lnTo>
                      <a:pt x="32" y="108"/>
                    </a:lnTo>
                    <a:close/>
                    <a:moveTo>
                      <a:pt x="32" y="69"/>
                    </a:moveTo>
                    <a:lnTo>
                      <a:pt x="14" y="69"/>
                    </a:lnTo>
                    <a:lnTo>
                      <a:pt x="14" y="36"/>
                    </a:lnTo>
                    <a:lnTo>
                      <a:pt x="32" y="36"/>
                    </a:lnTo>
                    <a:lnTo>
                      <a:pt x="32" y="69"/>
                    </a:lnTo>
                    <a:close/>
                    <a:moveTo>
                      <a:pt x="63" y="149"/>
                    </a:moveTo>
                    <a:lnTo>
                      <a:pt x="45" y="149"/>
                    </a:lnTo>
                    <a:lnTo>
                      <a:pt x="45" y="117"/>
                    </a:lnTo>
                    <a:lnTo>
                      <a:pt x="63" y="117"/>
                    </a:lnTo>
                    <a:lnTo>
                      <a:pt x="63" y="149"/>
                    </a:lnTo>
                    <a:close/>
                    <a:moveTo>
                      <a:pt x="63" y="108"/>
                    </a:moveTo>
                    <a:lnTo>
                      <a:pt x="45" y="108"/>
                    </a:lnTo>
                    <a:lnTo>
                      <a:pt x="45" y="76"/>
                    </a:lnTo>
                    <a:lnTo>
                      <a:pt x="63" y="76"/>
                    </a:lnTo>
                    <a:lnTo>
                      <a:pt x="63" y="108"/>
                    </a:lnTo>
                    <a:close/>
                    <a:moveTo>
                      <a:pt x="63" y="69"/>
                    </a:moveTo>
                    <a:lnTo>
                      <a:pt x="45" y="69"/>
                    </a:lnTo>
                    <a:lnTo>
                      <a:pt x="45" y="36"/>
                    </a:lnTo>
                    <a:lnTo>
                      <a:pt x="63" y="36"/>
                    </a:lnTo>
                    <a:lnTo>
                      <a:pt x="63" y="69"/>
                    </a:lnTo>
                    <a:close/>
                    <a:moveTo>
                      <a:pt x="96" y="149"/>
                    </a:moveTo>
                    <a:lnTo>
                      <a:pt x="78" y="149"/>
                    </a:lnTo>
                    <a:lnTo>
                      <a:pt x="78" y="117"/>
                    </a:lnTo>
                    <a:lnTo>
                      <a:pt x="96" y="117"/>
                    </a:lnTo>
                    <a:lnTo>
                      <a:pt x="96" y="149"/>
                    </a:lnTo>
                    <a:close/>
                    <a:moveTo>
                      <a:pt x="96" y="108"/>
                    </a:moveTo>
                    <a:lnTo>
                      <a:pt x="78" y="108"/>
                    </a:lnTo>
                    <a:lnTo>
                      <a:pt x="78" y="76"/>
                    </a:lnTo>
                    <a:lnTo>
                      <a:pt x="96" y="76"/>
                    </a:lnTo>
                    <a:lnTo>
                      <a:pt x="96" y="108"/>
                    </a:lnTo>
                    <a:close/>
                    <a:moveTo>
                      <a:pt x="96" y="69"/>
                    </a:moveTo>
                    <a:lnTo>
                      <a:pt x="78" y="69"/>
                    </a:lnTo>
                    <a:lnTo>
                      <a:pt x="78" y="36"/>
                    </a:lnTo>
                    <a:lnTo>
                      <a:pt x="96" y="36"/>
                    </a:lnTo>
                    <a:lnTo>
                      <a:pt x="9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295" name="Freeform 56">
                <a:extLst>
                  <a:ext uri="{FF2B5EF4-FFF2-40B4-BE49-F238E27FC236}">
                    <a16:creationId xmlns:a16="http://schemas.microsoft.com/office/drawing/2014/main" id="{83B4F337-5F5E-430E-8F9D-137C5086A91A}"/>
                  </a:ext>
                </a:extLst>
              </p:cNvPr>
              <p:cNvSpPr>
                <a:spLocks/>
              </p:cNvSpPr>
              <p:nvPr/>
            </p:nvSpPr>
            <p:spPr bwMode="auto">
              <a:xfrm>
                <a:off x="2474119" y="3725763"/>
                <a:ext cx="44450" cy="42863"/>
              </a:xfrm>
              <a:custGeom>
                <a:avLst/>
                <a:gdLst>
                  <a:gd name="T0" fmla="*/ 6 w 28"/>
                  <a:gd name="T1" fmla="*/ 27 h 27"/>
                  <a:gd name="T2" fmla="*/ 15 w 28"/>
                  <a:gd name="T3" fmla="*/ 23 h 27"/>
                  <a:gd name="T4" fmla="*/ 24 w 28"/>
                  <a:gd name="T5" fmla="*/ 27 h 27"/>
                  <a:gd name="T6" fmla="*/ 21 w 28"/>
                  <a:gd name="T7" fmla="*/ 18 h 27"/>
                  <a:gd name="T8" fmla="*/ 28 w 28"/>
                  <a:gd name="T9" fmla="*/ 11 h 27"/>
                  <a:gd name="T10" fmla="*/ 19 w 28"/>
                  <a:gd name="T11" fmla="*/ 9 h 27"/>
                  <a:gd name="T12" fmla="*/ 15 w 28"/>
                  <a:gd name="T13" fmla="*/ 0 h 27"/>
                  <a:gd name="T14" fmla="*/ 10 w 28"/>
                  <a:gd name="T15" fmla="*/ 9 h 27"/>
                  <a:gd name="T16" fmla="*/ 0 w 28"/>
                  <a:gd name="T17" fmla="*/ 11 h 27"/>
                  <a:gd name="T18" fmla="*/ 8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5" y="23"/>
                    </a:lnTo>
                    <a:lnTo>
                      <a:pt x="24" y="27"/>
                    </a:lnTo>
                    <a:lnTo>
                      <a:pt x="21" y="18"/>
                    </a:lnTo>
                    <a:lnTo>
                      <a:pt x="28" y="11"/>
                    </a:lnTo>
                    <a:lnTo>
                      <a:pt x="19" y="9"/>
                    </a:lnTo>
                    <a:lnTo>
                      <a:pt x="15" y="0"/>
                    </a:lnTo>
                    <a:lnTo>
                      <a:pt x="10" y="9"/>
                    </a:lnTo>
                    <a:lnTo>
                      <a:pt x="0" y="11"/>
                    </a:lnTo>
                    <a:lnTo>
                      <a:pt x="8"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296" name="Freeform 57">
                <a:extLst>
                  <a:ext uri="{FF2B5EF4-FFF2-40B4-BE49-F238E27FC236}">
                    <a16:creationId xmlns:a16="http://schemas.microsoft.com/office/drawing/2014/main" id="{AE24F25E-7C4C-4373-B9E6-504C34BE6B4D}"/>
                  </a:ext>
                </a:extLst>
              </p:cNvPr>
              <p:cNvSpPr>
                <a:spLocks/>
              </p:cNvSpPr>
              <p:nvPr/>
            </p:nvSpPr>
            <p:spPr bwMode="auto">
              <a:xfrm>
                <a:off x="2420144" y="3725763"/>
                <a:ext cx="44450" cy="42863"/>
              </a:xfrm>
              <a:custGeom>
                <a:avLst/>
                <a:gdLst>
                  <a:gd name="T0" fmla="*/ 6 w 28"/>
                  <a:gd name="T1" fmla="*/ 27 h 27"/>
                  <a:gd name="T2" fmla="*/ 14 w 28"/>
                  <a:gd name="T3" fmla="*/ 23 h 27"/>
                  <a:gd name="T4" fmla="*/ 23 w 28"/>
                  <a:gd name="T5" fmla="*/ 27 h 27"/>
                  <a:gd name="T6" fmla="*/ 22 w 28"/>
                  <a:gd name="T7" fmla="*/ 18 h 27"/>
                  <a:gd name="T8" fmla="*/ 28 w 28"/>
                  <a:gd name="T9" fmla="*/ 11 h 27"/>
                  <a:gd name="T10" fmla="*/ 18 w 28"/>
                  <a:gd name="T11" fmla="*/ 9 h 27"/>
                  <a:gd name="T12" fmla="*/ 14 w 28"/>
                  <a:gd name="T13" fmla="*/ 0 h 27"/>
                  <a:gd name="T14" fmla="*/ 10 w 28"/>
                  <a:gd name="T15" fmla="*/ 9 h 27"/>
                  <a:gd name="T16" fmla="*/ 0 w 28"/>
                  <a:gd name="T17" fmla="*/ 11 h 27"/>
                  <a:gd name="T18" fmla="*/ 7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4" y="23"/>
                    </a:lnTo>
                    <a:lnTo>
                      <a:pt x="23" y="27"/>
                    </a:lnTo>
                    <a:lnTo>
                      <a:pt x="22" y="18"/>
                    </a:lnTo>
                    <a:lnTo>
                      <a:pt x="28" y="11"/>
                    </a:lnTo>
                    <a:lnTo>
                      <a:pt x="18" y="9"/>
                    </a:lnTo>
                    <a:lnTo>
                      <a:pt x="14" y="0"/>
                    </a:lnTo>
                    <a:lnTo>
                      <a:pt x="10" y="9"/>
                    </a:lnTo>
                    <a:lnTo>
                      <a:pt x="0" y="11"/>
                    </a:lnTo>
                    <a:lnTo>
                      <a:pt x="7"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297" name="Oval 40">
              <a:extLst>
                <a:ext uri="{FF2B5EF4-FFF2-40B4-BE49-F238E27FC236}">
                  <a16:creationId xmlns:a16="http://schemas.microsoft.com/office/drawing/2014/main" id="{C00F98B7-B152-451B-90AE-A6EC04DBB860}"/>
                </a:ext>
              </a:extLst>
            </p:cNvPr>
            <p:cNvSpPr>
              <a:spLocks/>
            </p:cNvSpPr>
            <p:nvPr userDrawn="1"/>
          </p:nvSpPr>
          <p:spPr>
            <a:xfrm>
              <a:off x="3283514" y="2746536"/>
              <a:ext cx="575535" cy="473742"/>
            </a:xfrm>
            <a:custGeom>
              <a:avLst/>
              <a:gdLst/>
              <a:ahLst/>
              <a:cxnLst/>
              <a:rect l="l" t="t" r="r" b="b"/>
              <a:pathLst>
                <a:path w="760180" h="697209">
                  <a:moveTo>
                    <a:pt x="30180" y="694116"/>
                  </a:moveTo>
                  <a:cubicBezTo>
                    <a:pt x="30180" y="694116"/>
                    <a:pt x="30180" y="694116"/>
                    <a:pt x="30180" y="694116"/>
                  </a:cubicBezTo>
                  <a:lnTo>
                    <a:pt x="30179" y="694116"/>
                  </a:lnTo>
                  <a:close/>
                  <a:moveTo>
                    <a:pt x="466729" y="274281"/>
                  </a:moveTo>
                  <a:cubicBezTo>
                    <a:pt x="444866" y="277325"/>
                    <a:pt x="425878" y="293077"/>
                    <a:pt x="419805" y="315740"/>
                  </a:cubicBezTo>
                  <a:cubicBezTo>
                    <a:pt x="411708" y="345957"/>
                    <a:pt x="429641" y="377016"/>
                    <a:pt x="459857" y="385112"/>
                  </a:cubicBezTo>
                  <a:cubicBezTo>
                    <a:pt x="490074" y="393209"/>
                    <a:pt x="521133" y="375277"/>
                    <a:pt x="529230" y="345060"/>
                  </a:cubicBezTo>
                  <a:cubicBezTo>
                    <a:pt x="537326" y="314844"/>
                    <a:pt x="519394" y="283784"/>
                    <a:pt x="489178" y="275688"/>
                  </a:cubicBezTo>
                  <a:cubicBezTo>
                    <a:pt x="481623" y="273664"/>
                    <a:pt x="474016" y="273266"/>
                    <a:pt x="466729" y="274281"/>
                  </a:cubicBezTo>
                  <a:close/>
                  <a:moveTo>
                    <a:pt x="226694" y="175219"/>
                  </a:moveTo>
                  <a:cubicBezTo>
                    <a:pt x="235191" y="176407"/>
                    <a:pt x="243112" y="181241"/>
                    <a:pt x="247954" y="189122"/>
                  </a:cubicBezTo>
                  <a:cubicBezTo>
                    <a:pt x="256563" y="203133"/>
                    <a:pt x="252183" y="221469"/>
                    <a:pt x="238173" y="230078"/>
                  </a:cubicBezTo>
                  <a:lnTo>
                    <a:pt x="144674" y="287527"/>
                  </a:lnTo>
                  <a:lnTo>
                    <a:pt x="144674" y="423302"/>
                  </a:lnTo>
                  <a:lnTo>
                    <a:pt x="144154" y="425880"/>
                  </a:lnTo>
                  <a:lnTo>
                    <a:pt x="144459" y="427038"/>
                  </a:lnTo>
                  <a:lnTo>
                    <a:pt x="158053" y="661523"/>
                  </a:lnTo>
                  <a:cubicBezTo>
                    <a:pt x="159077" y="679184"/>
                    <a:pt x="145589" y="694332"/>
                    <a:pt x="127928" y="695355"/>
                  </a:cubicBezTo>
                  <a:lnTo>
                    <a:pt x="127928" y="695356"/>
                  </a:lnTo>
                  <a:cubicBezTo>
                    <a:pt x="110267" y="696379"/>
                    <a:pt x="95120" y="682892"/>
                    <a:pt x="94096" y="665231"/>
                  </a:cubicBezTo>
                  <a:cubicBezTo>
                    <a:pt x="89986" y="594334"/>
                    <a:pt x="85876" y="523438"/>
                    <a:pt x="81765" y="452541"/>
                  </a:cubicBezTo>
                  <a:lnTo>
                    <a:pt x="76270" y="452541"/>
                  </a:lnTo>
                  <a:cubicBezTo>
                    <a:pt x="72184" y="523025"/>
                    <a:pt x="68098" y="593508"/>
                    <a:pt x="64011" y="663992"/>
                  </a:cubicBezTo>
                  <a:cubicBezTo>
                    <a:pt x="62988" y="681654"/>
                    <a:pt x="47841" y="695141"/>
                    <a:pt x="30180" y="694116"/>
                  </a:cubicBezTo>
                  <a:cubicBezTo>
                    <a:pt x="12518" y="693092"/>
                    <a:pt x="-969" y="677945"/>
                    <a:pt x="55" y="660284"/>
                  </a:cubicBezTo>
                  <a:lnTo>
                    <a:pt x="13649" y="425799"/>
                  </a:lnTo>
                  <a:lnTo>
                    <a:pt x="14034" y="424336"/>
                  </a:lnTo>
                  <a:cubicBezTo>
                    <a:pt x="13831" y="423997"/>
                    <a:pt x="13825" y="423650"/>
                    <a:pt x="13825" y="423302"/>
                  </a:cubicBezTo>
                  <a:lnTo>
                    <a:pt x="13825" y="260964"/>
                  </a:lnTo>
                  <a:cubicBezTo>
                    <a:pt x="13824" y="244815"/>
                    <a:pt x="26916" y="231724"/>
                    <a:pt x="43064" y="231724"/>
                  </a:cubicBezTo>
                  <a:lnTo>
                    <a:pt x="115435" y="231724"/>
                  </a:lnTo>
                  <a:lnTo>
                    <a:pt x="120184" y="232683"/>
                  </a:lnTo>
                  <a:lnTo>
                    <a:pt x="206998" y="179341"/>
                  </a:lnTo>
                  <a:cubicBezTo>
                    <a:pt x="210501" y="177189"/>
                    <a:pt x="214274" y="175848"/>
                    <a:pt x="218098" y="175267"/>
                  </a:cubicBezTo>
                  <a:cubicBezTo>
                    <a:pt x="220965" y="174831"/>
                    <a:pt x="223862" y="174823"/>
                    <a:pt x="226694" y="175219"/>
                  </a:cubicBezTo>
                  <a:close/>
                  <a:moveTo>
                    <a:pt x="539566" y="171954"/>
                  </a:moveTo>
                  <a:cubicBezTo>
                    <a:pt x="546073" y="171514"/>
                    <a:pt x="552748" y="173557"/>
                    <a:pt x="558048" y="178186"/>
                  </a:cubicBezTo>
                  <a:lnTo>
                    <a:pt x="640865" y="250520"/>
                  </a:lnTo>
                  <a:cubicBezTo>
                    <a:pt x="641901" y="239886"/>
                    <a:pt x="650965" y="231725"/>
                    <a:pt x="661936" y="231725"/>
                  </a:cubicBezTo>
                  <a:lnTo>
                    <a:pt x="715513" y="231725"/>
                  </a:lnTo>
                  <a:cubicBezTo>
                    <a:pt x="727469" y="231725"/>
                    <a:pt x="737160" y="241416"/>
                    <a:pt x="737160" y="253372"/>
                  </a:cubicBezTo>
                  <a:lnTo>
                    <a:pt x="737160" y="430895"/>
                  </a:lnTo>
                  <a:cubicBezTo>
                    <a:pt x="737160" y="440326"/>
                    <a:pt x="731129" y="448348"/>
                    <a:pt x="722639" y="451103"/>
                  </a:cubicBezTo>
                  <a:lnTo>
                    <a:pt x="722639" y="663295"/>
                  </a:lnTo>
                  <a:cubicBezTo>
                    <a:pt x="722639" y="682026"/>
                    <a:pt x="707455" y="697209"/>
                    <a:pt x="688725" y="697209"/>
                  </a:cubicBezTo>
                  <a:cubicBezTo>
                    <a:pt x="669995" y="697210"/>
                    <a:pt x="654811" y="682026"/>
                    <a:pt x="654811" y="663296"/>
                  </a:cubicBezTo>
                  <a:lnTo>
                    <a:pt x="654811" y="451103"/>
                  </a:lnTo>
                  <a:cubicBezTo>
                    <a:pt x="646320" y="448349"/>
                    <a:pt x="640290" y="440326"/>
                    <a:pt x="640290" y="430895"/>
                  </a:cubicBezTo>
                  <a:lnTo>
                    <a:pt x="640290" y="315825"/>
                  </a:lnTo>
                  <a:cubicBezTo>
                    <a:pt x="637994" y="315223"/>
                    <a:pt x="635980" y="313924"/>
                    <a:pt x="634134" y="312311"/>
                  </a:cubicBezTo>
                  <a:cubicBezTo>
                    <a:pt x="597595" y="280398"/>
                    <a:pt x="561058" y="248486"/>
                    <a:pt x="524520" y="216573"/>
                  </a:cubicBezTo>
                  <a:cubicBezTo>
                    <a:pt x="513920" y="207315"/>
                    <a:pt x="512832" y="191216"/>
                    <a:pt x="522090" y="180615"/>
                  </a:cubicBezTo>
                  <a:lnTo>
                    <a:pt x="522090" y="180616"/>
                  </a:lnTo>
                  <a:cubicBezTo>
                    <a:pt x="526720" y="175316"/>
                    <a:pt x="533059" y="172394"/>
                    <a:pt x="539566" y="171954"/>
                  </a:cubicBezTo>
                  <a:close/>
                  <a:moveTo>
                    <a:pt x="500108" y="167479"/>
                  </a:moveTo>
                  <a:lnTo>
                    <a:pt x="517430" y="172121"/>
                  </a:lnTo>
                  <a:lnTo>
                    <a:pt x="514611" y="174280"/>
                  </a:lnTo>
                  <a:cubicBezTo>
                    <a:pt x="502238" y="188446"/>
                    <a:pt x="503692" y="209961"/>
                    <a:pt x="517858" y="222333"/>
                  </a:cubicBezTo>
                  <a:cubicBezTo>
                    <a:pt x="520992" y="225070"/>
                    <a:pt x="524125" y="227807"/>
                    <a:pt x="527258" y="230544"/>
                  </a:cubicBezTo>
                  <a:lnTo>
                    <a:pt x="527102" y="231829"/>
                  </a:lnTo>
                  <a:lnTo>
                    <a:pt x="533241" y="235770"/>
                  </a:lnTo>
                  <a:lnTo>
                    <a:pt x="593831" y="288689"/>
                  </a:lnTo>
                  <a:lnTo>
                    <a:pt x="581426" y="298408"/>
                  </a:lnTo>
                  <a:cubicBezTo>
                    <a:pt x="585032" y="309766"/>
                    <a:pt x="586588" y="321826"/>
                    <a:pt x="586069" y="334101"/>
                  </a:cubicBezTo>
                  <a:lnTo>
                    <a:pt x="637439" y="355991"/>
                  </a:lnTo>
                  <a:lnTo>
                    <a:pt x="628407" y="389699"/>
                  </a:lnTo>
                  <a:lnTo>
                    <a:pt x="572974" y="382971"/>
                  </a:lnTo>
                  <a:cubicBezTo>
                    <a:pt x="567286" y="393861"/>
                    <a:pt x="559909" y="403527"/>
                    <a:pt x="551107" y="411560"/>
                  </a:cubicBezTo>
                  <a:lnTo>
                    <a:pt x="572143" y="463837"/>
                  </a:lnTo>
                  <a:lnTo>
                    <a:pt x="541922" y="481285"/>
                  </a:lnTo>
                  <a:lnTo>
                    <a:pt x="507285" y="437081"/>
                  </a:lnTo>
                  <a:cubicBezTo>
                    <a:pt x="495692" y="440886"/>
                    <a:pt x="483343" y="442551"/>
                    <a:pt x="470772" y="442058"/>
                  </a:cubicBezTo>
                  <a:lnTo>
                    <a:pt x="448927" y="493321"/>
                  </a:lnTo>
                  <a:lnTo>
                    <a:pt x="415219" y="484289"/>
                  </a:lnTo>
                  <a:lnTo>
                    <a:pt x="421933" y="428971"/>
                  </a:lnTo>
                  <a:cubicBezTo>
                    <a:pt x="411008" y="423223"/>
                    <a:pt x="401308" y="415782"/>
                    <a:pt x="393258" y="406915"/>
                  </a:cubicBezTo>
                  <a:lnTo>
                    <a:pt x="341738" y="427646"/>
                  </a:lnTo>
                  <a:lnTo>
                    <a:pt x="324290" y="397425"/>
                  </a:lnTo>
                  <a:lnTo>
                    <a:pt x="367891" y="363261"/>
                  </a:lnTo>
                  <a:cubicBezTo>
                    <a:pt x="364085" y="351653"/>
                    <a:pt x="362434" y="339289"/>
                    <a:pt x="362966" y="326700"/>
                  </a:cubicBezTo>
                  <a:lnTo>
                    <a:pt x="311596" y="304810"/>
                  </a:lnTo>
                  <a:lnTo>
                    <a:pt x="320628" y="271102"/>
                  </a:lnTo>
                  <a:lnTo>
                    <a:pt x="376061" y="277830"/>
                  </a:lnTo>
                  <a:cubicBezTo>
                    <a:pt x="381894" y="266660"/>
                    <a:pt x="389506" y="256778"/>
                    <a:pt x="398607" y="248629"/>
                  </a:cubicBezTo>
                  <a:lnTo>
                    <a:pt x="377929" y="197241"/>
                  </a:lnTo>
                  <a:lnTo>
                    <a:pt x="408150" y="179793"/>
                  </a:lnTo>
                  <a:lnTo>
                    <a:pt x="442402" y="223507"/>
                  </a:lnTo>
                  <a:cubicBezTo>
                    <a:pt x="453808" y="219853"/>
                    <a:pt x="465928" y="218258"/>
                    <a:pt x="478263" y="218743"/>
                  </a:cubicBezTo>
                  <a:close/>
                  <a:moveTo>
                    <a:pt x="295856" y="83754"/>
                  </a:moveTo>
                  <a:cubicBezTo>
                    <a:pt x="290139" y="84463"/>
                    <a:pt x="284466" y="86305"/>
                    <a:pt x="279163" y="89367"/>
                  </a:cubicBezTo>
                  <a:cubicBezTo>
                    <a:pt x="257951" y="101614"/>
                    <a:pt x="250682" y="128738"/>
                    <a:pt x="262930" y="149951"/>
                  </a:cubicBezTo>
                  <a:cubicBezTo>
                    <a:pt x="275176" y="171163"/>
                    <a:pt x="302301" y="178431"/>
                    <a:pt x="323514" y="166184"/>
                  </a:cubicBezTo>
                  <a:cubicBezTo>
                    <a:pt x="344726" y="153937"/>
                    <a:pt x="351994" y="126813"/>
                    <a:pt x="339747" y="105600"/>
                  </a:cubicBezTo>
                  <a:cubicBezTo>
                    <a:pt x="330562" y="89691"/>
                    <a:pt x="313008" y="81625"/>
                    <a:pt x="295856" y="83754"/>
                  </a:cubicBezTo>
                  <a:close/>
                  <a:moveTo>
                    <a:pt x="688724" y="57125"/>
                  </a:moveTo>
                  <a:cubicBezTo>
                    <a:pt x="728188" y="57125"/>
                    <a:pt x="760180" y="89117"/>
                    <a:pt x="760180" y="128581"/>
                  </a:cubicBezTo>
                  <a:cubicBezTo>
                    <a:pt x="760180" y="168045"/>
                    <a:pt x="728188" y="200036"/>
                    <a:pt x="688724" y="200036"/>
                  </a:cubicBezTo>
                  <a:cubicBezTo>
                    <a:pt x="649261" y="200036"/>
                    <a:pt x="617269" y="168045"/>
                    <a:pt x="617269" y="128581"/>
                  </a:cubicBezTo>
                  <a:cubicBezTo>
                    <a:pt x="617269" y="89117"/>
                    <a:pt x="649261" y="57125"/>
                    <a:pt x="688724" y="57125"/>
                  </a:cubicBezTo>
                  <a:close/>
                  <a:moveTo>
                    <a:pt x="79250" y="57125"/>
                  </a:moveTo>
                  <a:cubicBezTo>
                    <a:pt x="118713" y="57125"/>
                    <a:pt x="150705" y="89117"/>
                    <a:pt x="150705" y="128581"/>
                  </a:cubicBezTo>
                  <a:cubicBezTo>
                    <a:pt x="150705" y="168044"/>
                    <a:pt x="118713" y="200036"/>
                    <a:pt x="79249" y="200036"/>
                  </a:cubicBezTo>
                  <a:cubicBezTo>
                    <a:pt x="39786" y="200036"/>
                    <a:pt x="7794" y="168044"/>
                    <a:pt x="7794" y="128580"/>
                  </a:cubicBezTo>
                  <a:cubicBezTo>
                    <a:pt x="7794" y="89117"/>
                    <a:pt x="39786" y="57125"/>
                    <a:pt x="79250" y="57125"/>
                  </a:cubicBezTo>
                  <a:close/>
                  <a:moveTo>
                    <a:pt x="321739" y="0"/>
                  </a:moveTo>
                  <a:lnTo>
                    <a:pt x="348132" y="7071"/>
                  </a:lnTo>
                  <a:lnTo>
                    <a:pt x="342816" y="50872"/>
                  </a:lnTo>
                  <a:cubicBezTo>
                    <a:pt x="351101" y="55164"/>
                    <a:pt x="358640" y="60979"/>
                    <a:pt x="365148" y="68063"/>
                  </a:cubicBezTo>
                  <a:lnTo>
                    <a:pt x="405710" y="51742"/>
                  </a:lnTo>
                  <a:lnTo>
                    <a:pt x="419372" y="75405"/>
                  </a:lnTo>
                  <a:lnTo>
                    <a:pt x="384956" y="102371"/>
                  </a:lnTo>
                  <a:cubicBezTo>
                    <a:pt x="387836" y="111549"/>
                    <a:pt x="389104" y="120986"/>
                    <a:pt x="388678" y="130306"/>
                  </a:cubicBezTo>
                  <a:lnTo>
                    <a:pt x="429268" y="147603"/>
                  </a:lnTo>
                  <a:lnTo>
                    <a:pt x="422196" y="173996"/>
                  </a:lnTo>
                  <a:lnTo>
                    <a:pt x="378545" y="168698"/>
                  </a:lnTo>
                  <a:cubicBezTo>
                    <a:pt x="374233" y="177224"/>
                    <a:pt x="368318" y="184983"/>
                    <a:pt x="361085" y="191670"/>
                  </a:cubicBezTo>
                  <a:lnTo>
                    <a:pt x="377373" y="232147"/>
                  </a:lnTo>
                  <a:lnTo>
                    <a:pt x="353709" y="245809"/>
                  </a:lnTo>
                  <a:lnTo>
                    <a:pt x="326799" y="211464"/>
                  </a:lnTo>
                  <a:cubicBezTo>
                    <a:pt x="317568" y="214330"/>
                    <a:pt x="308078" y="215581"/>
                    <a:pt x="298712" y="215129"/>
                  </a:cubicBezTo>
                  <a:lnTo>
                    <a:pt x="281665" y="255131"/>
                  </a:lnTo>
                  <a:lnTo>
                    <a:pt x="255272" y="248059"/>
                  </a:lnTo>
                  <a:lnTo>
                    <a:pt x="257516" y="229568"/>
                  </a:lnTo>
                  <a:cubicBezTo>
                    <a:pt x="264557" y="216926"/>
                    <a:pt x="264313" y="201080"/>
                    <a:pt x="256190" y="187858"/>
                  </a:cubicBezTo>
                  <a:cubicBezTo>
                    <a:pt x="243554" y="167293"/>
                    <a:pt x="216640" y="160865"/>
                    <a:pt x="196075" y="173501"/>
                  </a:cubicBezTo>
                  <a:lnTo>
                    <a:pt x="183817" y="181033"/>
                  </a:lnTo>
                  <a:lnTo>
                    <a:pt x="183305" y="180146"/>
                  </a:lnTo>
                  <a:lnTo>
                    <a:pt x="217721" y="153180"/>
                  </a:lnTo>
                  <a:cubicBezTo>
                    <a:pt x="214766" y="143767"/>
                    <a:pt x="213509" y="134082"/>
                    <a:pt x="214036" y="124530"/>
                  </a:cubicBezTo>
                  <a:lnTo>
                    <a:pt x="174136" y="107528"/>
                  </a:lnTo>
                  <a:lnTo>
                    <a:pt x="181208" y="81135"/>
                  </a:lnTo>
                  <a:lnTo>
                    <a:pt x="224375" y="86374"/>
                  </a:lnTo>
                  <a:cubicBezTo>
                    <a:pt x="228667" y="78036"/>
                    <a:pt x="234494" y="70443"/>
                    <a:pt x="241592" y="63882"/>
                  </a:cubicBezTo>
                  <a:lnTo>
                    <a:pt x="225304" y="23405"/>
                  </a:lnTo>
                  <a:lnTo>
                    <a:pt x="248967" y="9743"/>
                  </a:lnTo>
                  <a:lnTo>
                    <a:pt x="275877" y="44087"/>
                  </a:lnTo>
                  <a:cubicBezTo>
                    <a:pt x="285285" y="41166"/>
                    <a:pt x="294962" y="39923"/>
                    <a:pt x="304502" y="40451"/>
                  </a:cubicBezTo>
                  <a:close/>
                </a:path>
              </a:pathLst>
            </a:custGeom>
            <a:solidFill>
              <a:sysClr val="window" lastClr="FFFFFF"/>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prstClr val="black"/>
                </a:solidFill>
                <a:effectLst/>
                <a:uLnTx/>
                <a:uFillTx/>
                <a:latin typeface="Verdana"/>
                <a:ea typeface="+mn-ea"/>
                <a:cs typeface="+mn-cs"/>
              </a:endParaRPr>
            </a:p>
          </p:txBody>
        </p:sp>
        <p:grpSp>
          <p:nvGrpSpPr>
            <p:cNvPr id="4" name="Group 3">
              <a:extLst>
                <a:ext uri="{FF2B5EF4-FFF2-40B4-BE49-F238E27FC236}">
                  <a16:creationId xmlns:a16="http://schemas.microsoft.com/office/drawing/2014/main" id="{CF035424-F91A-4C49-AF7E-F4DE646F63E9}"/>
                </a:ext>
              </a:extLst>
            </p:cNvPr>
            <p:cNvGrpSpPr/>
            <p:nvPr userDrawn="1"/>
          </p:nvGrpSpPr>
          <p:grpSpPr>
            <a:xfrm>
              <a:off x="8921610" y="2657225"/>
              <a:ext cx="623682" cy="628781"/>
              <a:chOff x="4583998" y="774532"/>
              <a:chExt cx="419101" cy="417512"/>
            </a:xfrm>
            <a:solidFill>
              <a:schemeClr val="accent4"/>
            </a:solidFill>
          </p:grpSpPr>
          <p:sp>
            <p:nvSpPr>
              <p:cNvPr id="299" name="Freeform 5">
                <a:extLst>
                  <a:ext uri="{FF2B5EF4-FFF2-40B4-BE49-F238E27FC236}">
                    <a16:creationId xmlns:a16="http://schemas.microsoft.com/office/drawing/2014/main" id="{476E3EFA-BDE6-4805-AF31-F690E16E4AA4}"/>
                  </a:ext>
                </a:extLst>
              </p:cNvPr>
              <p:cNvSpPr>
                <a:spLocks noEditPoints="1"/>
              </p:cNvSpPr>
              <p:nvPr userDrawn="1"/>
            </p:nvSpPr>
            <p:spPr bwMode="auto">
              <a:xfrm>
                <a:off x="4583998" y="850732"/>
                <a:ext cx="341313" cy="341312"/>
              </a:xfrm>
              <a:custGeom>
                <a:avLst/>
                <a:gdLst>
                  <a:gd name="T0" fmla="*/ 0 w 154"/>
                  <a:gd name="T1" fmla="*/ 77 h 154"/>
                  <a:gd name="T2" fmla="*/ 77 w 154"/>
                  <a:gd name="T3" fmla="*/ 154 h 154"/>
                  <a:gd name="T4" fmla="*/ 154 w 154"/>
                  <a:gd name="T5" fmla="*/ 77 h 154"/>
                  <a:gd name="T6" fmla="*/ 153 w 154"/>
                  <a:gd name="T7" fmla="*/ 71 h 154"/>
                  <a:gd name="T8" fmla="*/ 83 w 154"/>
                  <a:gd name="T9" fmla="*/ 71 h 154"/>
                  <a:gd name="T10" fmla="*/ 83 w 154"/>
                  <a:gd name="T11" fmla="*/ 0 h 154"/>
                  <a:gd name="T12" fmla="*/ 77 w 154"/>
                  <a:gd name="T13" fmla="*/ 0 h 154"/>
                  <a:gd name="T14" fmla="*/ 0 w 154"/>
                  <a:gd name="T15" fmla="*/ 77 h 154"/>
                  <a:gd name="T16" fmla="*/ 115 w 154"/>
                  <a:gd name="T17" fmla="*/ 106 h 154"/>
                  <a:gd name="T18" fmla="*/ 118 w 154"/>
                  <a:gd name="T19" fmla="*/ 83 h 154"/>
                  <a:gd name="T20" fmla="*/ 142 w 154"/>
                  <a:gd name="T21" fmla="*/ 83 h 154"/>
                  <a:gd name="T22" fmla="*/ 135 w 154"/>
                  <a:gd name="T23" fmla="*/ 106 h 154"/>
                  <a:gd name="T24" fmla="*/ 115 w 154"/>
                  <a:gd name="T25" fmla="*/ 106 h 154"/>
                  <a:gd name="T26" fmla="*/ 97 w 154"/>
                  <a:gd name="T27" fmla="*/ 139 h 154"/>
                  <a:gd name="T28" fmla="*/ 110 w 154"/>
                  <a:gd name="T29" fmla="*/ 118 h 154"/>
                  <a:gd name="T30" fmla="*/ 127 w 154"/>
                  <a:gd name="T31" fmla="*/ 118 h 154"/>
                  <a:gd name="T32" fmla="*/ 97 w 154"/>
                  <a:gd name="T33" fmla="*/ 139 h 154"/>
                  <a:gd name="T34" fmla="*/ 83 w 154"/>
                  <a:gd name="T35" fmla="*/ 118 h 154"/>
                  <a:gd name="T36" fmla="*/ 104 w 154"/>
                  <a:gd name="T37" fmla="*/ 118 h 154"/>
                  <a:gd name="T38" fmla="*/ 83 w 154"/>
                  <a:gd name="T39" fmla="*/ 141 h 154"/>
                  <a:gd name="T40" fmla="*/ 83 w 154"/>
                  <a:gd name="T41" fmla="*/ 118 h 154"/>
                  <a:gd name="T42" fmla="*/ 83 w 154"/>
                  <a:gd name="T43" fmla="*/ 83 h 154"/>
                  <a:gd name="T44" fmla="*/ 112 w 154"/>
                  <a:gd name="T45" fmla="*/ 83 h 154"/>
                  <a:gd name="T46" fmla="*/ 108 w 154"/>
                  <a:gd name="T47" fmla="*/ 106 h 154"/>
                  <a:gd name="T48" fmla="*/ 83 w 154"/>
                  <a:gd name="T49" fmla="*/ 106 h 154"/>
                  <a:gd name="T50" fmla="*/ 83 w 154"/>
                  <a:gd name="T51" fmla="*/ 83 h 154"/>
                  <a:gd name="T52" fmla="*/ 39 w 154"/>
                  <a:gd name="T53" fmla="*/ 47 h 154"/>
                  <a:gd name="T54" fmla="*/ 36 w 154"/>
                  <a:gd name="T55" fmla="*/ 71 h 154"/>
                  <a:gd name="T56" fmla="*/ 12 w 154"/>
                  <a:gd name="T57" fmla="*/ 71 h 154"/>
                  <a:gd name="T58" fmla="*/ 19 w 154"/>
                  <a:gd name="T59" fmla="*/ 47 h 154"/>
                  <a:gd name="T60" fmla="*/ 39 w 154"/>
                  <a:gd name="T61" fmla="*/ 47 h 154"/>
                  <a:gd name="T62" fmla="*/ 57 w 154"/>
                  <a:gd name="T63" fmla="*/ 15 h 154"/>
                  <a:gd name="T64" fmla="*/ 43 w 154"/>
                  <a:gd name="T65" fmla="*/ 36 h 154"/>
                  <a:gd name="T66" fmla="*/ 27 w 154"/>
                  <a:gd name="T67" fmla="*/ 36 h 154"/>
                  <a:gd name="T68" fmla="*/ 57 w 154"/>
                  <a:gd name="T69" fmla="*/ 15 h 154"/>
                  <a:gd name="T70" fmla="*/ 71 w 154"/>
                  <a:gd name="T71" fmla="*/ 36 h 154"/>
                  <a:gd name="T72" fmla="*/ 50 w 154"/>
                  <a:gd name="T73" fmla="*/ 36 h 154"/>
                  <a:gd name="T74" fmla="*/ 71 w 154"/>
                  <a:gd name="T75" fmla="*/ 13 h 154"/>
                  <a:gd name="T76" fmla="*/ 71 w 154"/>
                  <a:gd name="T77" fmla="*/ 36 h 154"/>
                  <a:gd name="T78" fmla="*/ 71 w 154"/>
                  <a:gd name="T79" fmla="*/ 71 h 154"/>
                  <a:gd name="T80" fmla="*/ 42 w 154"/>
                  <a:gd name="T81" fmla="*/ 71 h 154"/>
                  <a:gd name="T82" fmla="*/ 46 w 154"/>
                  <a:gd name="T83" fmla="*/ 47 h 154"/>
                  <a:gd name="T84" fmla="*/ 71 w 154"/>
                  <a:gd name="T85" fmla="*/ 47 h 154"/>
                  <a:gd name="T86" fmla="*/ 71 w 154"/>
                  <a:gd name="T87" fmla="*/ 71 h 154"/>
                  <a:gd name="T88" fmla="*/ 71 w 154"/>
                  <a:gd name="T89" fmla="*/ 106 h 154"/>
                  <a:gd name="T90" fmla="*/ 46 w 154"/>
                  <a:gd name="T91" fmla="*/ 106 h 154"/>
                  <a:gd name="T92" fmla="*/ 42 w 154"/>
                  <a:gd name="T93" fmla="*/ 83 h 154"/>
                  <a:gd name="T94" fmla="*/ 71 w 154"/>
                  <a:gd name="T95" fmla="*/ 83 h 154"/>
                  <a:gd name="T96" fmla="*/ 71 w 154"/>
                  <a:gd name="T97" fmla="*/ 106 h 154"/>
                  <a:gd name="T98" fmla="*/ 50 w 154"/>
                  <a:gd name="T99" fmla="*/ 118 h 154"/>
                  <a:gd name="T100" fmla="*/ 71 w 154"/>
                  <a:gd name="T101" fmla="*/ 118 h 154"/>
                  <a:gd name="T102" fmla="*/ 71 w 154"/>
                  <a:gd name="T103" fmla="*/ 141 h 154"/>
                  <a:gd name="T104" fmla="*/ 50 w 154"/>
                  <a:gd name="T105" fmla="*/ 118 h 154"/>
                  <a:gd name="T106" fmla="*/ 27 w 154"/>
                  <a:gd name="T107" fmla="*/ 118 h 154"/>
                  <a:gd name="T108" fmla="*/ 43 w 154"/>
                  <a:gd name="T109" fmla="*/ 118 h 154"/>
                  <a:gd name="T110" fmla="*/ 57 w 154"/>
                  <a:gd name="T111" fmla="*/ 139 h 154"/>
                  <a:gd name="T112" fmla="*/ 27 w 154"/>
                  <a:gd name="T113" fmla="*/ 118 h 154"/>
                  <a:gd name="T114" fmla="*/ 12 w 154"/>
                  <a:gd name="T115" fmla="*/ 83 h 154"/>
                  <a:gd name="T116" fmla="*/ 36 w 154"/>
                  <a:gd name="T117" fmla="*/ 83 h 154"/>
                  <a:gd name="T118" fmla="*/ 39 w 154"/>
                  <a:gd name="T119" fmla="*/ 106 h 154"/>
                  <a:gd name="T120" fmla="*/ 19 w 154"/>
                  <a:gd name="T121" fmla="*/ 106 h 154"/>
                  <a:gd name="T122" fmla="*/ 12 w 154"/>
                  <a:gd name="T123" fmla="*/ 8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 h="154">
                    <a:moveTo>
                      <a:pt x="0" y="77"/>
                    </a:moveTo>
                    <a:cubicBezTo>
                      <a:pt x="0" y="119"/>
                      <a:pt x="35" y="154"/>
                      <a:pt x="77" y="154"/>
                    </a:cubicBezTo>
                    <a:cubicBezTo>
                      <a:pt x="119" y="154"/>
                      <a:pt x="154" y="119"/>
                      <a:pt x="154" y="77"/>
                    </a:cubicBezTo>
                    <a:cubicBezTo>
                      <a:pt x="154" y="75"/>
                      <a:pt x="154" y="73"/>
                      <a:pt x="153" y="71"/>
                    </a:cubicBezTo>
                    <a:cubicBezTo>
                      <a:pt x="83" y="71"/>
                      <a:pt x="83" y="71"/>
                      <a:pt x="83" y="71"/>
                    </a:cubicBezTo>
                    <a:cubicBezTo>
                      <a:pt x="83" y="0"/>
                      <a:pt x="83" y="0"/>
                      <a:pt x="83" y="0"/>
                    </a:cubicBezTo>
                    <a:cubicBezTo>
                      <a:pt x="81" y="0"/>
                      <a:pt x="79" y="0"/>
                      <a:pt x="77" y="0"/>
                    </a:cubicBezTo>
                    <a:cubicBezTo>
                      <a:pt x="35" y="0"/>
                      <a:pt x="0" y="34"/>
                      <a:pt x="0" y="77"/>
                    </a:cubicBezTo>
                    <a:close/>
                    <a:moveTo>
                      <a:pt x="115" y="106"/>
                    </a:moveTo>
                    <a:cubicBezTo>
                      <a:pt x="116" y="99"/>
                      <a:pt x="118" y="91"/>
                      <a:pt x="118" y="83"/>
                    </a:cubicBezTo>
                    <a:cubicBezTo>
                      <a:pt x="142" y="83"/>
                      <a:pt x="142" y="83"/>
                      <a:pt x="142" y="83"/>
                    </a:cubicBezTo>
                    <a:cubicBezTo>
                      <a:pt x="141" y="91"/>
                      <a:pt x="138" y="99"/>
                      <a:pt x="135" y="106"/>
                    </a:cubicBezTo>
                    <a:lnTo>
                      <a:pt x="115" y="106"/>
                    </a:lnTo>
                    <a:close/>
                    <a:moveTo>
                      <a:pt x="97" y="139"/>
                    </a:moveTo>
                    <a:cubicBezTo>
                      <a:pt x="102" y="134"/>
                      <a:pt x="107" y="127"/>
                      <a:pt x="110" y="118"/>
                    </a:cubicBezTo>
                    <a:cubicBezTo>
                      <a:pt x="127" y="118"/>
                      <a:pt x="127" y="118"/>
                      <a:pt x="127" y="118"/>
                    </a:cubicBezTo>
                    <a:cubicBezTo>
                      <a:pt x="119" y="128"/>
                      <a:pt x="109" y="135"/>
                      <a:pt x="97" y="139"/>
                    </a:cubicBezTo>
                    <a:close/>
                    <a:moveTo>
                      <a:pt x="83" y="118"/>
                    </a:moveTo>
                    <a:cubicBezTo>
                      <a:pt x="104" y="118"/>
                      <a:pt x="104" y="118"/>
                      <a:pt x="104" y="118"/>
                    </a:cubicBezTo>
                    <a:cubicBezTo>
                      <a:pt x="99" y="130"/>
                      <a:pt x="91" y="138"/>
                      <a:pt x="83" y="141"/>
                    </a:cubicBezTo>
                    <a:lnTo>
                      <a:pt x="83" y="118"/>
                    </a:lnTo>
                    <a:close/>
                    <a:moveTo>
                      <a:pt x="83" y="83"/>
                    </a:moveTo>
                    <a:cubicBezTo>
                      <a:pt x="112" y="83"/>
                      <a:pt x="112" y="83"/>
                      <a:pt x="112" y="83"/>
                    </a:cubicBezTo>
                    <a:cubicBezTo>
                      <a:pt x="112" y="91"/>
                      <a:pt x="110" y="99"/>
                      <a:pt x="108" y="106"/>
                    </a:cubicBezTo>
                    <a:cubicBezTo>
                      <a:pt x="83" y="106"/>
                      <a:pt x="83" y="106"/>
                      <a:pt x="83" y="106"/>
                    </a:cubicBezTo>
                    <a:lnTo>
                      <a:pt x="83" y="83"/>
                    </a:lnTo>
                    <a:close/>
                    <a:moveTo>
                      <a:pt x="39" y="47"/>
                    </a:moveTo>
                    <a:cubicBezTo>
                      <a:pt x="37" y="55"/>
                      <a:pt x="36" y="63"/>
                      <a:pt x="36" y="71"/>
                    </a:cubicBezTo>
                    <a:cubicBezTo>
                      <a:pt x="12" y="71"/>
                      <a:pt x="12" y="71"/>
                      <a:pt x="12" y="71"/>
                    </a:cubicBezTo>
                    <a:cubicBezTo>
                      <a:pt x="13" y="63"/>
                      <a:pt x="15" y="55"/>
                      <a:pt x="19" y="47"/>
                    </a:cubicBezTo>
                    <a:lnTo>
                      <a:pt x="39" y="47"/>
                    </a:lnTo>
                    <a:close/>
                    <a:moveTo>
                      <a:pt x="57" y="15"/>
                    </a:moveTo>
                    <a:cubicBezTo>
                      <a:pt x="51" y="20"/>
                      <a:pt x="47" y="27"/>
                      <a:pt x="43" y="36"/>
                    </a:cubicBezTo>
                    <a:cubicBezTo>
                      <a:pt x="27" y="36"/>
                      <a:pt x="27" y="36"/>
                      <a:pt x="27" y="36"/>
                    </a:cubicBezTo>
                    <a:cubicBezTo>
                      <a:pt x="35" y="26"/>
                      <a:pt x="45" y="19"/>
                      <a:pt x="57" y="15"/>
                    </a:cubicBezTo>
                    <a:close/>
                    <a:moveTo>
                      <a:pt x="71" y="36"/>
                    </a:moveTo>
                    <a:cubicBezTo>
                      <a:pt x="50" y="36"/>
                      <a:pt x="50" y="36"/>
                      <a:pt x="50" y="36"/>
                    </a:cubicBezTo>
                    <a:cubicBezTo>
                      <a:pt x="55" y="24"/>
                      <a:pt x="63" y="16"/>
                      <a:pt x="71" y="13"/>
                    </a:cubicBezTo>
                    <a:lnTo>
                      <a:pt x="71" y="36"/>
                    </a:lnTo>
                    <a:close/>
                    <a:moveTo>
                      <a:pt x="71" y="71"/>
                    </a:moveTo>
                    <a:cubicBezTo>
                      <a:pt x="42" y="71"/>
                      <a:pt x="42" y="71"/>
                      <a:pt x="42" y="71"/>
                    </a:cubicBezTo>
                    <a:cubicBezTo>
                      <a:pt x="42" y="63"/>
                      <a:pt x="43" y="55"/>
                      <a:pt x="46" y="47"/>
                    </a:cubicBezTo>
                    <a:cubicBezTo>
                      <a:pt x="71" y="47"/>
                      <a:pt x="71" y="47"/>
                      <a:pt x="71" y="47"/>
                    </a:cubicBezTo>
                    <a:lnTo>
                      <a:pt x="71" y="71"/>
                    </a:lnTo>
                    <a:close/>
                    <a:moveTo>
                      <a:pt x="71" y="106"/>
                    </a:moveTo>
                    <a:cubicBezTo>
                      <a:pt x="46" y="106"/>
                      <a:pt x="46" y="106"/>
                      <a:pt x="46" y="106"/>
                    </a:cubicBezTo>
                    <a:cubicBezTo>
                      <a:pt x="43" y="99"/>
                      <a:pt x="42" y="91"/>
                      <a:pt x="42" y="83"/>
                    </a:cubicBezTo>
                    <a:cubicBezTo>
                      <a:pt x="71" y="83"/>
                      <a:pt x="71" y="83"/>
                      <a:pt x="71" y="83"/>
                    </a:cubicBezTo>
                    <a:lnTo>
                      <a:pt x="71" y="106"/>
                    </a:lnTo>
                    <a:close/>
                    <a:moveTo>
                      <a:pt x="50" y="118"/>
                    </a:moveTo>
                    <a:cubicBezTo>
                      <a:pt x="71" y="118"/>
                      <a:pt x="71" y="118"/>
                      <a:pt x="71" y="118"/>
                    </a:cubicBezTo>
                    <a:cubicBezTo>
                      <a:pt x="71" y="141"/>
                      <a:pt x="71" y="141"/>
                      <a:pt x="71" y="141"/>
                    </a:cubicBezTo>
                    <a:cubicBezTo>
                      <a:pt x="63" y="138"/>
                      <a:pt x="55" y="130"/>
                      <a:pt x="50" y="118"/>
                    </a:cubicBezTo>
                    <a:close/>
                    <a:moveTo>
                      <a:pt x="27" y="118"/>
                    </a:moveTo>
                    <a:cubicBezTo>
                      <a:pt x="43" y="118"/>
                      <a:pt x="43" y="118"/>
                      <a:pt x="43" y="118"/>
                    </a:cubicBezTo>
                    <a:cubicBezTo>
                      <a:pt x="47" y="127"/>
                      <a:pt x="51" y="134"/>
                      <a:pt x="57" y="139"/>
                    </a:cubicBezTo>
                    <a:cubicBezTo>
                      <a:pt x="45" y="135"/>
                      <a:pt x="35" y="128"/>
                      <a:pt x="27" y="118"/>
                    </a:cubicBezTo>
                    <a:close/>
                    <a:moveTo>
                      <a:pt x="12" y="83"/>
                    </a:moveTo>
                    <a:cubicBezTo>
                      <a:pt x="36" y="83"/>
                      <a:pt x="36" y="83"/>
                      <a:pt x="36" y="83"/>
                    </a:cubicBezTo>
                    <a:cubicBezTo>
                      <a:pt x="36" y="91"/>
                      <a:pt x="37" y="99"/>
                      <a:pt x="39" y="106"/>
                    </a:cubicBezTo>
                    <a:cubicBezTo>
                      <a:pt x="19" y="106"/>
                      <a:pt x="19" y="106"/>
                      <a:pt x="19" y="106"/>
                    </a:cubicBezTo>
                    <a:cubicBezTo>
                      <a:pt x="15" y="99"/>
                      <a:pt x="13" y="91"/>
                      <a:pt x="12"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sp>
            <p:nvSpPr>
              <p:cNvPr id="300" name="Freeform 6">
                <a:extLst>
                  <a:ext uri="{FF2B5EF4-FFF2-40B4-BE49-F238E27FC236}">
                    <a16:creationId xmlns:a16="http://schemas.microsoft.com/office/drawing/2014/main" id="{05A1FB3E-A819-465F-A4F4-C0465927A31A}"/>
                  </a:ext>
                </a:extLst>
              </p:cNvPr>
              <p:cNvSpPr>
                <a:spLocks noEditPoints="1"/>
              </p:cNvSpPr>
              <p:nvPr userDrawn="1"/>
            </p:nvSpPr>
            <p:spPr bwMode="auto">
              <a:xfrm>
                <a:off x="4795136" y="774532"/>
                <a:ext cx="207963" cy="206375"/>
              </a:xfrm>
              <a:custGeom>
                <a:avLst/>
                <a:gdLst>
                  <a:gd name="T0" fmla="*/ 82 w 94"/>
                  <a:gd name="T1" fmla="*/ 0 h 94"/>
                  <a:gd name="T2" fmla="*/ 11 w 94"/>
                  <a:gd name="T3" fmla="*/ 0 h 94"/>
                  <a:gd name="T4" fmla="*/ 0 w 94"/>
                  <a:gd name="T5" fmla="*/ 11 h 94"/>
                  <a:gd name="T6" fmla="*/ 0 w 94"/>
                  <a:gd name="T7" fmla="*/ 82 h 94"/>
                  <a:gd name="T8" fmla="*/ 11 w 94"/>
                  <a:gd name="T9" fmla="*/ 94 h 94"/>
                  <a:gd name="T10" fmla="*/ 82 w 94"/>
                  <a:gd name="T11" fmla="*/ 94 h 94"/>
                  <a:gd name="T12" fmla="*/ 94 w 94"/>
                  <a:gd name="T13" fmla="*/ 82 h 94"/>
                  <a:gd name="T14" fmla="*/ 94 w 94"/>
                  <a:gd name="T15" fmla="*/ 11 h 94"/>
                  <a:gd name="T16" fmla="*/ 82 w 94"/>
                  <a:gd name="T17" fmla="*/ 0 h 94"/>
                  <a:gd name="T18" fmla="*/ 11 w 94"/>
                  <a:gd name="T19" fmla="*/ 82 h 94"/>
                  <a:gd name="T20" fmla="*/ 23 w 94"/>
                  <a:gd name="T21" fmla="*/ 67 h 94"/>
                  <a:gd name="T22" fmla="*/ 32 w 94"/>
                  <a:gd name="T23" fmla="*/ 65 h 94"/>
                  <a:gd name="T24" fmla="*/ 37 w 94"/>
                  <a:gd name="T25" fmla="*/ 59 h 94"/>
                  <a:gd name="T26" fmla="*/ 37 w 94"/>
                  <a:gd name="T27" fmla="*/ 59 h 94"/>
                  <a:gd name="T28" fmla="*/ 37 w 94"/>
                  <a:gd name="T29" fmla="*/ 56 h 94"/>
                  <a:gd name="T30" fmla="*/ 33 w 94"/>
                  <a:gd name="T31" fmla="*/ 46 h 94"/>
                  <a:gd name="T32" fmla="*/ 28 w 94"/>
                  <a:gd name="T33" fmla="*/ 39 h 94"/>
                  <a:gd name="T34" fmla="*/ 29 w 94"/>
                  <a:gd name="T35" fmla="*/ 35 h 94"/>
                  <a:gd name="T36" fmla="*/ 29 w 94"/>
                  <a:gd name="T37" fmla="*/ 29 h 94"/>
                  <a:gd name="T38" fmla="*/ 47 w 94"/>
                  <a:gd name="T39" fmla="*/ 11 h 94"/>
                  <a:gd name="T40" fmla="*/ 65 w 94"/>
                  <a:gd name="T41" fmla="*/ 29 h 94"/>
                  <a:gd name="T42" fmla="*/ 65 w 94"/>
                  <a:gd name="T43" fmla="*/ 35 h 94"/>
                  <a:gd name="T44" fmla="*/ 66 w 94"/>
                  <a:gd name="T45" fmla="*/ 39 h 94"/>
                  <a:gd name="T46" fmla="*/ 61 w 94"/>
                  <a:gd name="T47" fmla="*/ 46 h 94"/>
                  <a:gd name="T48" fmla="*/ 56 w 94"/>
                  <a:gd name="T49" fmla="*/ 56 h 94"/>
                  <a:gd name="T50" fmla="*/ 56 w 94"/>
                  <a:gd name="T51" fmla="*/ 59 h 94"/>
                  <a:gd name="T52" fmla="*/ 56 w 94"/>
                  <a:gd name="T53" fmla="*/ 59 h 94"/>
                  <a:gd name="T54" fmla="*/ 62 w 94"/>
                  <a:gd name="T55" fmla="*/ 65 h 94"/>
                  <a:gd name="T56" fmla="*/ 71 w 94"/>
                  <a:gd name="T57" fmla="*/ 67 h 94"/>
                  <a:gd name="T58" fmla="*/ 82 w 94"/>
                  <a:gd name="T59" fmla="*/ 82 h 94"/>
                  <a:gd name="T60" fmla="*/ 11 w 94"/>
                  <a:gd name="T61"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4" h="94">
                    <a:moveTo>
                      <a:pt x="82" y="0"/>
                    </a:moveTo>
                    <a:cubicBezTo>
                      <a:pt x="11" y="0"/>
                      <a:pt x="11" y="0"/>
                      <a:pt x="11" y="0"/>
                    </a:cubicBezTo>
                    <a:cubicBezTo>
                      <a:pt x="5" y="0"/>
                      <a:pt x="0" y="5"/>
                      <a:pt x="0" y="11"/>
                    </a:cubicBezTo>
                    <a:cubicBezTo>
                      <a:pt x="0" y="82"/>
                      <a:pt x="0" y="82"/>
                      <a:pt x="0" y="82"/>
                    </a:cubicBezTo>
                    <a:cubicBezTo>
                      <a:pt x="0" y="89"/>
                      <a:pt x="5" y="94"/>
                      <a:pt x="11" y="94"/>
                    </a:cubicBezTo>
                    <a:cubicBezTo>
                      <a:pt x="82" y="94"/>
                      <a:pt x="82" y="94"/>
                      <a:pt x="82" y="94"/>
                    </a:cubicBezTo>
                    <a:cubicBezTo>
                      <a:pt x="89" y="94"/>
                      <a:pt x="94" y="89"/>
                      <a:pt x="94" y="82"/>
                    </a:cubicBezTo>
                    <a:cubicBezTo>
                      <a:pt x="94" y="11"/>
                      <a:pt x="94" y="11"/>
                      <a:pt x="94" y="11"/>
                    </a:cubicBezTo>
                    <a:cubicBezTo>
                      <a:pt x="94" y="5"/>
                      <a:pt x="89" y="0"/>
                      <a:pt x="82" y="0"/>
                    </a:cubicBezTo>
                    <a:close/>
                    <a:moveTo>
                      <a:pt x="11" y="82"/>
                    </a:moveTo>
                    <a:cubicBezTo>
                      <a:pt x="11" y="75"/>
                      <a:pt x="16" y="69"/>
                      <a:pt x="23" y="67"/>
                    </a:cubicBezTo>
                    <a:cubicBezTo>
                      <a:pt x="25" y="67"/>
                      <a:pt x="32" y="65"/>
                      <a:pt x="32" y="65"/>
                    </a:cubicBezTo>
                    <a:cubicBezTo>
                      <a:pt x="35" y="64"/>
                      <a:pt x="37" y="63"/>
                      <a:pt x="37" y="59"/>
                    </a:cubicBezTo>
                    <a:cubicBezTo>
                      <a:pt x="37" y="59"/>
                      <a:pt x="37" y="59"/>
                      <a:pt x="37" y="59"/>
                    </a:cubicBezTo>
                    <a:cubicBezTo>
                      <a:pt x="37" y="58"/>
                      <a:pt x="37" y="57"/>
                      <a:pt x="37" y="56"/>
                    </a:cubicBezTo>
                    <a:cubicBezTo>
                      <a:pt x="36" y="53"/>
                      <a:pt x="34" y="50"/>
                      <a:pt x="33" y="46"/>
                    </a:cubicBezTo>
                    <a:cubicBezTo>
                      <a:pt x="30" y="45"/>
                      <a:pt x="28" y="42"/>
                      <a:pt x="28" y="39"/>
                    </a:cubicBezTo>
                    <a:cubicBezTo>
                      <a:pt x="28" y="38"/>
                      <a:pt x="28" y="36"/>
                      <a:pt x="29" y="35"/>
                    </a:cubicBezTo>
                    <a:cubicBezTo>
                      <a:pt x="29" y="29"/>
                      <a:pt x="29" y="29"/>
                      <a:pt x="29" y="29"/>
                    </a:cubicBezTo>
                    <a:cubicBezTo>
                      <a:pt x="29" y="19"/>
                      <a:pt x="37" y="11"/>
                      <a:pt x="47" y="11"/>
                    </a:cubicBezTo>
                    <a:cubicBezTo>
                      <a:pt x="57" y="11"/>
                      <a:pt x="65" y="19"/>
                      <a:pt x="65" y="29"/>
                    </a:cubicBezTo>
                    <a:cubicBezTo>
                      <a:pt x="65" y="35"/>
                      <a:pt x="65" y="35"/>
                      <a:pt x="65" y="35"/>
                    </a:cubicBezTo>
                    <a:cubicBezTo>
                      <a:pt x="66" y="36"/>
                      <a:pt x="66" y="38"/>
                      <a:pt x="66" y="39"/>
                    </a:cubicBezTo>
                    <a:cubicBezTo>
                      <a:pt x="66" y="42"/>
                      <a:pt x="64" y="45"/>
                      <a:pt x="61" y="46"/>
                    </a:cubicBezTo>
                    <a:cubicBezTo>
                      <a:pt x="60" y="50"/>
                      <a:pt x="58" y="53"/>
                      <a:pt x="56" y="56"/>
                    </a:cubicBezTo>
                    <a:cubicBezTo>
                      <a:pt x="56" y="57"/>
                      <a:pt x="56" y="58"/>
                      <a:pt x="56" y="59"/>
                    </a:cubicBezTo>
                    <a:cubicBezTo>
                      <a:pt x="56" y="59"/>
                      <a:pt x="56" y="59"/>
                      <a:pt x="56" y="59"/>
                    </a:cubicBezTo>
                    <a:cubicBezTo>
                      <a:pt x="56" y="63"/>
                      <a:pt x="59" y="64"/>
                      <a:pt x="62" y="65"/>
                    </a:cubicBezTo>
                    <a:cubicBezTo>
                      <a:pt x="62" y="65"/>
                      <a:pt x="69" y="67"/>
                      <a:pt x="71" y="67"/>
                    </a:cubicBezTo>
                    <a:cubicBezTo>
                      <a:pt x="77" y="69"/>
                      <a:pt x="82" y="75"/>
                      <a:pt x="82" y="82"/>
                    </a:cubicBezTo>
                    <a:lnTo>
                      <a:pt x="11"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endParaRPr>
              </a:p>
            </p:txBody>
          </p:sp>
        </p:grpSp>
        <p:grpSp>
          <p:nvGrpSpPr>
            <p:cNvPr id="302" name="Group 301">
              <a:extLst>
                <a:ext uri="{FF2B5EF4-FFF2-40B4-BE49-F238E27FC236}">
                  <a16:creationId xmlns:a16="http://schemas.microsoft.com/office/drawing/2014/main" id="{ADE6D9CD-E218-414C-8C62-B8FEB83010EF}"/>
                </a:ext>
              </a:extLst>
            </p:cNvPr>
            <p:cNvGrpSpPr/>
            <p:nvPr userDrawn="1"/>
          </p:nvGrpSpPr>
          <p:grpSpPr>
            <a:xfrm>
              <a:off x="10033765" y="1637363"/>
              <a:ext cx="279472" cy="288497"/>
              <a:chOff x="1863725" y="5104279"/>
              <a:chExt cx="777876" cy="771526"/>
            </a:xfrm>
            <a:solidFill>
              <a:sysClr val="window" lastClr="FFFFFF"/>
            </a:solidFill>
          </p:grpSpPr>
          <p:sp>
            <p:nvSpPr>
              <p:cNvPr id="303" name="Freeform 167">
                <a:extLst>
                  <a:ext uri="{FF2B5EF4-FFF2-40B4-BE49-F238E27FC236}">
                    <a16:creationId xmlns:a16="http://schemas.microsoft.com/office/drawing/2014/main" id="{5F9C6BBB-082C-4B08-B33F-7F4C174D3D63}"/>
                  </a:ext>
                </a:extLst>
              </p:cNvPr>
              <p:cNvSpPr>
                <a:spLocks/>
              </p:cNvSpPr>
              <p:nvPr/>
            </p:nvSpPr>
            <p:spPr bwMode="auto">
              <a:xfrm>
                <a:off x="2166938" y="5215404"/>
                <a:ext cx="361950" cy="358775"/>
              </a:xfrm>
              <a:custGeom>
                <a:avLst/>
                <a:gdLst>
                  <a:gd name="T0" fmla="*/ 10 w 228"/>
                  <a:gd name="T1" fmla="*/ 226 h 226"/>
                  <a:gd name="T2" fmla="*/ 0 w 228"/>
                  <a:gd name="T3" fmla="*/ 215 h 226"/>
                  <a:gd name="T4" fmla="*/ 219 w 228"/>
                  <a:gd name="T5" fmla="*/ 0 h 226"/>
                  <a:gd name="T6" fmla="*/ 228 w 228"/>
                  <a:gd name="T7" fmla="*/ 9 h 226"/>
                  <a:gd name="T8" fmla="*/ 10 w 228"/>
                  <a:gd name="T9" fmla="*/ 226 h 226"/>
                </a:gdLst>
                <a:ahLst/>
                <a:cxnLst>
                  <a:cxn ang="0">
                    <a:pos x="T0" y="T1"/>
                  </a:cxn>
                  <a:cxn ang="0">
                    <a:pos x="T2" y="T3"/>
                  </a:cxn>
                  <a:cxn ang="0">
                    <a:pos x="T4" y="T5"/>
                  </a:cxn>
                  <a:cxn ang="0">
                    <a:pos x="T6" y="T7"/>
                  </a:cxn>
                  <a:cxn ang="0">
                    <a:pos x="T8" y="T9"/>
                  </a:cxn>
                </a:cxnLst>
                <a:rect l="0" t="0" r="r" b="b"/>
                <a:pathLst>
                  <a:path w="228" h="226">
                    <a:moveTo>
                      <a:pt x="10" y="226"/>
                    </a:moveTo>
                    <a:lnTo>
                      <a:pt x="0" y="215"/>
                    </a:lnTo>
                    <a:lnTo>
                      <a:pt x="219" y="0"/>
                    </a:lnTo>
                    <a:lnTo>
                      <a:pt x="228" y="9"/>
                    </a:lnTo>
                    <a:lnTo>
                      <a:pt x="10" y="226"/>
                    </a:lnTo>
                    <a:close/>
                  </a:path>
                </a:pathLst>
              </a:custGeom>
              <a:grp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4" name="Freeform 168">
                <a:extLst>
                  <a:ext uri="{FF2B5EF4-FFF2-40B4-BE49-F238E27FC236}">
                    <a16:creationId xmlns:a16="http://schemas.microsoft.com/office/drawing/2014/main" id="{59E16916-6940-4BDA-A5E2-0DDC89F44F4F}"/>
                  </a:ext>
                </a:extLst>
              </p:cNvPr>
              <p:cNvSpPr>
                <a:spLocks noEditPoints="1"/>
              </p:cNvSpPr>
              <p:nvPr/>
            </p:nvSpPr>
            <p:spPr bwMode="auto">
              <a:xfrm>
                <a:off x="2398713" y="5104279"/>
                <a:ext cx="242888" cy="239713"/>
              </a:xfrm>
              <a:custGeom>
                <a:avLst/>
                <a:gdLst>
                  <a:gd name="T0" fmla="*/ 72 w 153"/>
                  <a:gd name="T1" fmla="*/ 151 h 151"/>
                  <a:gd name="T2" fmla="*/ 2 w 153"/>
                  <a:gd name="T3" fmla="*/ 149 h 151"/>
                  <a:gd name="T4" fmla="*/ 0 w 153"/>
                  <a:gd name="T5" fmla="*/ 80 h 151"/>
                  <a:gd name="T6" fmla="*/ 81 w 153"/>
                  <a:gd name="T7" fmla="*/ 0 h 151"/>
                  <a:gd name="T8" fmla="*/ 83 w 153"/>
                  <a:gd name="T9" fmla="*/ 69 h 151"/>
                  <a:gd name="T10" fmla="*/ 153 w 153"/>
                  <a:gd name="T11" fmla="*/ 71 h 151"/>
                  <a:gd name="T12" fmla="*/ 72 w 153"/>
                  <a:gd name="T13" fmla="*/ 151 h 151"/>
                  <a:gd name="T14" fmla="*/ 16 w 153"/>
                  <a:gd name="T15" fmla="*/ 135 h 151"/>
                  <a:gd name="T16" fmla="*/ 66 w 153"/>
                  <a:gd name="T17" fmla="*/ 137 h 151"/>
                  <a:gd name="T18" fmla="*/ 119 w 153"/>
                  <a:gd name="T19" fmla="*/ 84 h 151"/>
                  <a:gd name="T20" fmla="*/ 69 w 153"/>
                  <a:gd name="T21" fmla="*/ 83 h 151"/>
                  <a:gd name="T22" fmla="*/ 68 w 153"/>
                  <a:gd name="T23" fmla="*/ 32 h 151"/>
                  <a:gd name="T24" fmla="*/ 14 w 153"/>
                  <a:gd name="T25" fmla="*/ 86 h 151"/>
                  <a:gd name="T26" fmla="*/ 16 w 153"/>
                  <a:gd name="T27" fmla="*/ 1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151">
                    <a:moveTo>
                      <a:pt x="72" y="151"/>
                    </a:moveTo>
                    <a:lnTo>
                      <a:pt x="2" y="149"/>
                    </a:lnTo>
                    <a:lnTo>
                      <a:pt x="0" y="80"/>
                    </a:lnTo>
                    <a:lnTo>
                      <a:pt x="81" y="0"/>
                    </a:lnTo>
                    <a:lnTo>
                      <a:pt x="83" y="69"/>
                    </a:lnTo>
                    <a:lnTo>
                      <a:pt x="153" y="71"/>
                    </a:lnTo>
                    <a:lnTo>
                      <a:pt x="72" y="151"/>
                    </a:lnTo>
                    <a:close/>
                    <a:moveTo>
                      <a:pt x="16" y="135"/>
                    </a:moveTo>
                    <a:lnTo>
                      <a:pt x="66" y="137"/>
                    </a:lnTo>
                    <a:lnTo>
                      <a:pt x="119" y="84"/>
                    </a:lnTo>
                    <a:lnTo>
                      <a:pt x="69" y="83"/>
                    </a:lnTo>
                    <a:lnTo>
                      <a:pt x="68" y="32"/>
                    </a:lnTo>
                    <a:lnTo>
                      <a:pt x="14" y="86"/>
                    </a:lnTo>
                    <a:lnTo>
                      <a:pt x="16" y="135"/>
                    </a:lnTo>
                    <a:close/>
                  </a:path>
                </a:pathLst>
              </a:custGeom>
              <a:grp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5" name="Freeform 169">
                <a:extLst>
                  <a:ext uri="{FF2B5EF4-FFF2-40B4-BE49-F238E27FC236}">
                    <a16:creationId xmlns:a16="http://schemas.microsoft.com/office/drawing/2014/main" id="{CAB786B6-72C7-43FD-AD6C-C5A854D8C3CA}"/>
                  </a:ext>
                </a:extLst>
              </p:cNvPr>
              <p:cNvSpPr>
                <a:spLocks noEditPoints="1"/>
              </p:cNvSpPr>
              <p:nvPr/>
            </p:nvSpPr>
            <p:spPr bwMode="auto">
              <a:xfrm>
                <a:off x="2119313" y="5509092"/>
                <a:ext cx="112713" cy="112713"/>
              </a:xfrm>
              <a:custGeom>
                <a:avLst/>
                <a:gdLst>
                  <a:gd name="T0" fmla="*/ 33 w 66"/>
                  <a:gd name="T1" fmla="*/ 66 h 66"/>
                  <a:gd name="T2" fmla="*/ 0 w 66"/>
                  <a:gd name="T3" fmla="*/ 33 h 66"/>
                  <a:gd name="T4" fmla="*/ 33 w 66"/>
                  <a:gd name="T5" fmla="*/ 0 h 66"/>
                  <a:gd name="T6" fmla="*/ 66 w 66"/>
                  <a:gd name="T7" fmla="*/ 33 h 66"/>
                  <a:gd name="T8" fmla="*/ 33 w 66"/>
                  <a:gd name="T9" fmla="*/ 66 h 66"/>
                  <a:gd name="T10" fmla="*/ 33 w 66"/>
                  <a:gd name="T11" fmla="*/ 13 h 66"/>
                  <a:gd name="T12" fmla="*/ 13 w 66"/>
                  <a:gd name="T13" fmla="*/ 33 h 66"/>
                  <a:gd name="T14" fmla="*/ 33 w 66"/>
                  <a:gd name="T15" fmla="*/ 53 h 66"/>
                  <a:gd name="T16" fmla="*/ 53 w 66"/>
                  <a:gd name="T17" fmla="*/ 33 h 66"/>
                  <a:gd name="T18" fmla="*/ 33 w 66"/>
                  <a:gd name="T19" fmla="*/ 1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33" y="66"/>
                    </a:moveTo>
                    <a:cubicBezTo>
                      <a:pt x="15" y="66"/>
                      <a:pt x="0" y="51"/>
                      <a:pt x="0" y="33"/>
                    </a:cubicBezTo>
                    <a:cubicBezTo>
                      <a:pt x="0" y="15"/>
                      <a:pt x="15" y="0"/>
                      <a:pt x="33" y="0"/>
                    </a:cubicBezTo>
                    <a:cubicBezTo>
                      <a:pt x="51" y="0"/>
                      <a:pt x="66" y="15"/>
                      <a:pt x="66" y="33"/>
                    </a:cubicBezTo>
                    <a:cubicBezTo>
                      <a:pt x="66" y="51"/>
                      <a:pt x="51" y="66"/>
                      <a:pt x="33" y="66"/>
                    </a:cubicBezTo>
                    <a:close/>
                    <a:moveTo>
                      <a:pt x="33" y="13"/>
                    </a:moveTo>
                    <a:cubicBezTo>
                      <a:pt x="22" y="13"/>
                      <a:pt x="13" y="22"/>
                      <a:pt x="13" y="33"/>
                    </a:cubicBezTo>
                    <a:cubicBezTo>
                      <a:pt x="13" y="44"/>
                      <a:pt x="22" y="53"/>
                      <a:pt x="33" y="53"/>
                    </a:cubicBezTo>
                    <a:cubicBezTo>
                      <a:pt x="44" y="53"/>
                      <a:pt x="53" y="44"/>
                      <a:pt x="53" y="33"/>
                    </a:cubicBezTo>
                    <a:cubicBezTo>
                      <a:pt x="53" y="22"/>
                      <a:pt x="44" y="13"/>
                      <a:pt x="33" y="13"/>
                    </a:cubicBezTo>
                    <a:close/>
                  </a:path>
                </a:pathLst>
              </a:custGeom>
              <a:grp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6" name="Freeform 170">
                <a:extLst>
                  <a:ext uri="{FF2B5EF4-FFF2-40B4-BE49-F238E27FC236}">
                    <a16:creationId xmlns:a16="http://schemas.microsoft.com/office/drawing/2014/main" id="{74F91B58-5131-4DCD-9186-8125230BDFED}"/>
                  </a:ext>
                </a:extLst>
              </p:cNvPr>
              <p:cNvSpPr>
                <a:spLocks noEditPoints="1"/>
              </p:cNvSpPr>
              <p:nvPr/>
            </p:nvSpPr>
            <p:spPr bwMode="auto">
              <a:xfrm>
                <a:off x="2033588" y="5424954"/>
                <a:ext cx="282575" cy="282575"/>
              </a:xfrm>
              <a:custGeom>
                <a:avLst/>
                <a:gdLst>
                  <a:gd name="T0" fmla="*/ 83 w 165"/>
                  <a:gd name="T1" fmla="*/ 166 h 166"/>
                  <a:gd name="T2" fmla="*/ 0 w 165"/>
                  <a:gd name="T3" fmla="*/ 83 h 166"/>
                  <a:gd name="T4" fmla="*/ 83 w 165"/>
                  <a:gd name="T5" fmla="*/ 0 h 166"/>
                  <a:gd name="T6" fmla="*/ 165 w 165"/>
                  <a:gd name="T7" fmla="*/ 83 h 166"/>
                  <a:gd name="T8" fmla="*/ 83 w 165"/>
                  <a:gd name="T9" fmla="*/ 166 h 166"/>
                  <a:gd name="T10" fmla="*/ 83 w 165"/>
                  <a:gd name="T11" fmla="*/ 13 h 166"/>
                  <a:gd name="T12" fmla="*/ 13 w 165"/>
                  <a:gd name="T13" fmla="*/ 83 h 166"/>
                  <a:gd name="T14" fmla="*/ 83 w 165"/>
                  <a:gd name="T15" fmla="*/ 153 h 166"/>
                  <a:gd name="T16" fmla="*/ 152 w 165"/>
                  <a:gd name="T17" fmla="*/ 83 h 166"/>
                  <a:gd name="T18" fmla="*/ 83 w 165"/>
                  <a:gd name="T19" fmla="*/ 1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6">
                    <a:moveTo>
                      <a:pt x="83" y="166"/>
                    </a:moveTo>
                    <a:cubicBezTo>
                      <a:pt x="37" y="166"/>
                      <a:pt x="0" y="129"/>
                      <a:pt x="0" y="83"/>
                    </a:cubicBezTo>
                    <a:cubicBezTo>
                      <a:pt x="0" y="37"/>
                      <a:pt x="37" y="0"/>
                      <a:pt x="83" y="0"/>
                    </a:cubicBezTo>
                    <a:cubicBezTo>
                      <a:pt x="128" y="0"/>
                      <a:pt x="165" y="37"/>
                      <a:pt x="165" y="83"/>
                    </a:cubicBezTo>
                    <a:cubicBezTo>
                      <a:pt x="165" y="129"/>
                      <a:pt x="128" y="166"/>
                      <a:pt x="83" y="166"/>
                    </a:cubicBezTo>
                    <a:close/>
                    <a:moveTo>
                      <a:pt x="83" y="13"/>
                    </a:moveTo>
                    <a:cubicBezTo>
                      <a:pt x="44" y="13"/>
                      <a:pt x="13" y="45"/>
                      <a:pt x="13" y="83"/>
                    </a:cubicBezTo>
                    <a:cubicBezTo>
                      <a:pt x="13" y="122"/>
                      <a:pt x="44" y="153"/>
                      <a:pt x="83" y="153"/>
                    </a:cubicBezTo>
                    <a:cubicBezTo>
                      <a:pt x="121" y="153"/>
                      <a:pt x="152" y="122"/>
                      <a:pt x="152" y="83"/>
                    </a:cubicBezTo>
                    <a:cubicBezTo>
                      <a:pt x="152" y="45"/>
                      <a:pt x="121" y="13"/>
                      <a:pt x="83" y="13"/>
                    </a:cubicBezTo>
                    <a:close/>
                  </a:path>
                </a:pathLst>
              </a:custGeom>
              <a:grp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7" name="Freeform 171">
                <a:extLst>
                  <a:ext uri="{FF2B5EF4-FFF2-40B4-BE49-F238E27FC236}">
                    <a16:creationId xmlns:a16="http://schemas.microsoft.com/office/drawing/2014/main" id="{8F56AF5D-08DB-4E8E-8E17-3784A53D194B}"/>
                  </a:ext>
                </a:extLst>
              </p:cNvPr>
              <p:cNvSpPr>
                <a:spLocks noEditPoints="1"/>
              </p:cNvSpPr>
              <p:nvPr/>
            </p:nvSpPr>
            <p:spPr bwMode="auto">
              <a:xfrm>
                <a:off x="1947863" y="5340817"/>
                <a:ext cx="454025" cy="449263"/>
              </a:xfrm>
              <a:custGeom>
                <a:avLst/>
                <a:gdLst>
                  <a:gd name="T0" fmla="*/ 133 w 265"/>
                  <a:gd name="T1" fmla="*/ 264 h 264"/>
                  <a:gd name="T2" fmla="*/ 0 w 265"/>
                  <a:gd name="T3" fmla="*/ 132 h 264"/>
                  <a:gd name="T4" fmla="*/ 133 w 265"/>
                  <a:gd name="T5" fmla="*/ 0 h 264"/>
                  <a:gd name="T6" fmla="*/ 265 w 265"/>
                  <a:gd name="T7" fmla="*/ 132 h 264"/>
                  <a:gd name="T8" fmla="*/ 133 w 265"/>
                  <a:gd name="T9" fmla="*/ 264 h 264"/>
                  <a:gd name="T10" fmla="*/ 133 w 265"/>
                  <a:gd name="T11" fmla="*/ 13 h 264"/>
                  <a:gd name="T12" fmla="*/ 13 w 265"/>
                  <a:gd name="T13" fmla="*/ 132 h 264"/>
                  <a:gd name="T14" fmla="*/ 133 w 265"/>
                  <a:gd name="T15" fmla="*/ 252 h 264"/>
                  <a:gd name="T16" fmla="*/ 252 w 265"/>
                  <a:gd name="T17" fmla="*/ 132 h 264"/>
                  <a:gd name="T18" fmla="*/ 133 w 265"/>
                  <a:gd name="T19" fmla="*/ 1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264">
                    <a:moveTo>
                      <a:pt x="133" y="264"/>
                    </a:moveTo>
                    <a:cubicBezTo>
                      <a:pt x="60" y="264"/>
                      <a:pt x="0" y="205"/>
                      <a:pt x="0" y="132"/>
                    </a:cubicBezTo>
                    <a:cubicBezTo>
                      <a:pt x="0" y="59"/>
                      <a:pt x="60" y="0"/>
                      <a:pt x="133" y="0"/>
                    </a:cubicBezTo>
                    <a:cubicBezTo>
                      <a:pt x="206" y="0"/>
                      <a:pt x="265" y="59"/>
                      <a:pt x="265" y="132"/>
                    </a:cubicBezTo>
                    <a:cubicBezTo>
                      <a:pt x="265" y="205"/>
                      <a:pt x="206" y="264"/>
                      <a:pt x="133" y="264"/>
                    </a:cubicBezTo>
                    <a:close/>
                    <a:moveTo>
                      <a:pt x="133" y="13"/>
                    </a:moveTo>
                    <a:cubicBezTo>
                      <a:pt x="67" y="13"/>
                      <a:pt x="13" y="66"/>
                      <a:pt x="13" y="132"/>
                    </a:cubicBezTo>
                    <a:cubicBezTo>
                      <a:pt x="13" y="198"/>
                      <a:pt x="67" y="252"/>
                      <a:pt x="133" y="252"/>
                    </a:cubicBezTo>
                    <a:cubicBezTo>
                      <a:pt x="199" y="252"/>
                      <a:pt x="252" y="198"/>
                      <a:pt x="252" y="132"/>
                    </a:cubicBezTo>
                    <a:cubicBezTo>
                      <a:pt x="252" y="66"/>
                      <a:pt x="199" y="13"/>
                      <a:pt x="133" y="13"/>
                    </a:cubicBezTo>
                    <a:close/>
                  </a:path>
                </a:pathLst>
              </a:custGeom>
              <a:grp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8" name="Freeform 172">
                <a:extLst>
                  <a:ext uri="{FF2B5EF4-FFF2-40B4-BE49-F238E27FC236}">
                    <a16:creationId xmlns:a16="http://schemas.microsoft.com/office/drawing/2014/main" id="{B657BFC7-28A5-4A99-86D0-B922074B1624}"/>
                  </a:ext>
                </a:extLst>
              </p:cNvPr>
              <p:cNvSpPr>
                <a:spLocks noEditPoints="1"/>
              </p:cNvSpPr>
              <p:nvPr/>
            </p:nvSpPr>
            <p:spPr bwMode="auto">
              <a:xfrm>
                <a:off x="1863725" y="5255092"/>
                <a:ext cx="623888" cy="620713"/>
              </a:xfrm>
              <a:custGeom>
                <a:avLst/>
                <a:gdLst>
                  <a:gd name="T0" fmla="*/ 182 w 364"/>
                  <a:gd name="T1" fmla="*/ 364 h 364"/>
                  <a:gd name="T2" fmla="*/ 0 w 364"/>
                  <a:gd name="T3" fmla="*/ 182 h 364"/>
                  <a:gd name="T4" fmla="*/ 182 w 364"/>
                  <a:gd name="T5" fmla="*/ 0 h 364"/>
                  <a:gd name="T6" fmla="*/ 364 w 364"/>
                  <a:gd name="T7" fmla="*/ 182 h 364"/>
                  <a:gd name="T8" fmla="*/ 182 w 364"/>
                  <a:gd name="T9" fmla="*/ 364 h 364"/>
                  <a:gd name="T10" fmla="*/ 182 w 364"/>
                  <a:gd name="T11" fmla="*/ 13 h 364"/>
                  <a:gd name="T12" fmla="*/ 12 w 364"/>
                  <a:gd name="T13" fmla="*/ 182 h 364"/>
                  <a:gd name="T14" fmla="*/ 182 w 364"/>
                  <a:gd name="T15" fmla="*/ 351 h 364"/>
                  <a:gd name="T16" fmla="*/ 351 w 364"/>
                  <a:gd name="T17" fmla="*/ 182 h 364"/>
                  <a:gd name="T18" fmla="*/ 182 w 364"/>
                  <a:gd name="T19" fmla="*/ 1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4" h="364">
                    <a:moveTo>
                      <a:pt x="182" y="364"/>
                    </a:moveTo>
                    <a:cubicBezTo>
                      <a:pt x="81" y="364"/>
                      <a:pt x="0" y="282"/>
                      <a:pt x="0" y="182"/>
                    </a:cubicBezTo>
                    <a:cubicBezTo>
                      <a:pt x="0" y="82"/>
                      <a:pt x="81" y="0"/>
                      <a:pt x="182" y="0"/>
                    </a:cubicBezTo>
                    <a:cubicBezTo>
                      <a:pt x="282" y="0"/>
                      <a:pt x="364" y="82"/>
                      <a:pt x="364" y="182"/>
                    </a:cubicBezTo>
                    <a:cubicBezTo>
                      <a:pt x="364" y="282"/>
                      <a:pt x="282" y="364"/>
                      <a:pt x="182" y="364"/>
                    </a:cubicBezTo>
                    <a:close/>
                    <a:moveTo>
                      <a:pt x="182" y="13"/>
                    </a:moveTo>
                    <a:cubicBezTo>
                      <a:pt x="88" y="13"/>
                      <a:pt x="12" y="89"/>
                      <a:pt x="12" y="182"/>
                    </a:cubicBezTo>
                    <a:cubicBezTo>
                      <a:pt x="12" y="275"/>
                      <a:pt x="88" y="351"/>
                      <a:pt x="182" y="351"/>
                    </a:cubicBezTo>
                    <a:cubicBezTo>
                      <a:pt x="275" y="351"/>
                      <a:pt x="351" y="275"/>
                      <a:pt x="351" y="182"/>
                    </a:cubicBezTo>
                    <a:cubicBezTo>
                      <a:pt x="351" y="89"/>
                      <a:pt x="275" y="13"/>
                      <a:pt x="182" y="13"/>
                    </a:cubicBezTo>
                    <a:close/>
                  </a:path>
                </a:pathLst>
              </a:custGeom>
              <a:grp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11" name="Group 1">
              <a:extLst>
                <a:ext uri="{FF2B5EF4-FFF2-40B4-BE49-F238E27FC236}">
                  <a16:creationId xmlns:a16="http://schemas.microsoft.com/office/drawing/2014/main" id="{0F38D699-5DDD-4A94-960C-ACA2C53A88C6}"/>
                </a:ext>
              </a:extLst>
            </p:cNvPr>
            <p:cNvGrpSpPr/>
            <p:nvPr/>
          </p:nvGrpSpPr>
          <p:grpSpPr>
            <a:xfrm>
              <a:off x="8795503" y="1285878"/>
              <a:ext cx="604212" cy="505673"/>
              <a:chOff x="5644099" y="2044776"/>
              <a:chExt cx="868216" cy="850824"/>
            </a:xfrm>
          </p:grpSpPr>
          <p:grpSp>
            <p:nvGrpSpPr>
              <p:cNvPr id="312" name="Group 2">
                <a:extLst>
                  <a:ext uri="{FF2B5EF4-FFF2-40B4-BE49-F238E27FC236}">
                    <a16:creationId xmlns:a16="http://schemas.microsoft.com/office/drawing/2014/main" id="{EFA83001-7523-484C-A73A-C5E3065F9ED2}"/>
                  </a:ext>
                </a:extLst>
              </p:cNvPr>
              <p:cNvGrpSpPr/>
              <p:nvPr/>
            </p:nvGrpSpPr>
            <p:grpSpPr>
              <a:xfrm>
                <a:off x="5644099" y="2044776"/>
                <a:ext cx="868216" cy="850824"/>
                <a:chOff x="5600700" y="1970088"/>
                <a:chExt cx="955040" cy="935906"/>
              </a:xfrm>
            </p:grpSpPr>
            <p:sp>
              <p:nvSpPr>
                <p:cNvPr id="314" name="Freeform 10">
                  <a:extLst>
                    <a:ext uri="{FF2B5EF4-FFF2-40B4-BE49-F238E27FC236}">
                      <a16:creationId xmlns:a16="http://schemas.microsoft.com/office/drawing/2014/main" id="{03526098-BE3E-456B-B572-B323DD7D3801}"/>
                    </a:ext>
                  </a:extLst>
                </p:cNvPr>
                <p:cNvSpPr>
                  <a:spLocks/>
                </p:cNvSpPr>
                <p:nvPr/>
              </p:nvSpPr>
              <p:spPr bwMode="auto">
                <a:xfrm>
                  <a:off x="5911850" y="2266949"/>
                  <a:ext cx="163512" cy="490537"/>
                </a:xfrm>
                <a:custGeom>
                  <a:avLst/>
                  <a:gdLst>
                    <a:gd name="T0" fmla="*/ 0 w 43"/>
                    <a:gd name="T1" fmla="*/ 14 h 129"/>
                    <a:gd name="T2" fmla="*/ 29 w 43"/>
                    <a:gd name="T3" fmla="*/ 6 h 129"/>
                    <a:gd name="T4" fmla="*/ 43 w 43"/>
                    <a:gd name="T5" fmla="*/ 0 h 129"/>
                    <a:gd name="T6" fmla="*/ 43 w 43"/>
                    <a:gd name="T7" fmla="*/ 129 h 129"/>
                    <a:gd name="T8" fmla="*/ 0 w 43"/>
                    <a:gd name="T9" fmla="*/ 129 h 129"/>
                    <a:gd name="T10" fmla="*/ 0 w 43"/>
                    <a:gd name="T11" fmla="*/ 14 h 129"/>
                    <a:gd name="T12" fmla="*/ 0 w 43"/>
                    <a:gd name="T13" fmla="*/ 14 h 129"/>
                  </a:gdLst>
                  <a:ahLst/>
                  <a:cxnLst>
                    <a:cxn ang="0">
                      <a:pos x="T0" y="T1"/>
                    </a:cxn>
                    <a:cxn ang="0">
                      <a:pos x="T2" y="T3"/>
                    </a:cxn>
                    <a:cxn ang="0">
                      <a:pos x="T4" y="T5"/>
                    </a:cxn>
                    <a:cxn ang="0">
                      <a:pos x="T6" y="T7"/>
                    </a:cxn>
                    <a:cxn ang="0">
                      <a:pos x="T8" y="T9"/>
                    </a:cxn>
                    <a:cxn ang="0">
                      <a:pos x="T10" y="T11"/>
                    </a:cxn>
                    <a:cxn ang="0">
                      <a:pos x="T12" y="T13"/>
                    </a:cxn>
                  </a:cxnLst>
                  <a:rect l="0" t="0" r="r" b="b"/>
                  <a:pathLst>
                    <a:path w="43" h="129">
                      <a:moveTo>
                        <a:pt x="0" y="14"/>
                      </a:moveTo>
                      <a:cubicBezTo>
                        <a:pt x="0" y="5"/>
                        <a:pt x="16" y="8"/>
                        <a:pt x="29" y="6"/>
                      </a:cubicBezTo>
                      <a:cubicBezTo>
                        <a:pt x="36" y="6"/>
                        <a:pt x="43" y="0"/>
                        <a:pt x="43" y="0"/>
                      </a:cubicBezTo>
                      <a:cubicBezTo>
                        <a:pt x="43" y="129"/>
                        <a:pt x="43" y="129"/>
                        <a:pt x="43" y="129"/>
                      </a:cubicBezTo>
                      <a:cubicBezTo>
                        <a:pt x="0" y="129"/>
                        <a:pt x="0" y="129"/>
                        <a:pt x="0" y="129"/>
                      </a:cubicBezTo>
                      <a:cubicBezTo>
                        <a:pt x="0" y="14"/>
                        <a:pt x="0" y="14"/>
                        <a:pt x="0" y="14"/>
                      </a:cubicBezTo>
                      <a:cubicBezTo>
                        <a:pt x="0" y="14"/>
                        <a:pt x="1" y="41"/>
                        <a:pt x="0" y="1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108821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Franklin Gothic Book" panose="020B0503020102020204" pitchFamily="34" charset="0"/>
                  </a:endParaRPr>
                </a:p>
              </p:txBody>
            </p:sp>
            <p:sp>
              <p:nvSpPr>
                <p:cNvPr id="315" name="Freeform 11">
                  <a:extLst>
                    <a:ext uri="{FF2B5EF4-FFF2-40B4-BE49-F238E27FC236}">
                      <a16:creationId xmlns:a16="http://schemas.microsoft.com/office/drawing/2014/main" id="{6E9AAAED-EEC7-4976-8EC0-2037652CED0E}"/>
                    </a:ext>
                  </a:extLst>
                </p:cNvPr>
                <p:cNvSpPr>
                  <a:spLocks/>
                </p:cNvSpPr>
                <p:nvPr/>
              </p:nvSpPr>
              <p:spPr bwMode="auto">
                <a:xfrm>
                  <a:off x="6154738" y="1970088"/>
                  <a:ext cx="171450" cy="787400"/>
                </a:xfrm>
                <a:custGeom>
                  <a:avLst/>
                  <a:gdLst>
                    <a:gd name="T0" fmla="*/ 45 w 45"/>
                    <a:gd name="T1" fmla="*/ 161 h 207"/>
                    <a:gd name="T2" fmla="*/ 45 w 45"/>
                    <a:gd name="T3" fmla="*/ 12 h 207"/>
                    <a:gd name="T4" fmla="*/ 0 w 45"/>
                    <a:gd name="T5" fmla="*/ 26 h 207"/>
                    <a:gd name="T6" fmla="*/ 2 w 45"/>
                    <a:gd name="T7" fmla="*/ 207 h 207"/>
                    <a:gd name="T8" fmla="*/ 21 w 45"/>
                    <a:gd name="T9" fmla="*/ 207 h 207"/>
                  </a:gdLst>
                  <a:ahLst/>
                  <a:cxnLst>
                    <a:cxn ang="0">
                      <a:pos x="T0" y="T1"/>
                    </a:cxn>
                    <a:cxn ang="0">
                      <a:pos x="T2" y="T3"/>
                    </a:cxn>
                    <a:cxn ang="0">
                      <a:pos x="T4" y="T5"/>
                    </a:cxn>
                    <a:cxn ang="0">
                      <a:pos x="T6" y="T7"/>
                    </a:cxn>
                    <a:cxn ang="0">
                      <a:pos x="T8" y="T9"/>
                    </a:cxn>
                  </a:cxnLst>
                  <a:rect l="0" t="0" r="r" b="b"/>
                  <a:pathLst>
                    <a:path w="45" h="207">
                      <a:moveTo>
                        <a:pt x="45" y="161"/>
                      </a:moveTo>
                      <a:cubicBezTo>
                        <a:pt x="45" y="12"/>
                        <a:pt x="45" y="12"/>
                        <a:pt x="45" y="12"/>
                      </a:cubicBezTo>
                      <a:cubicBezTo>
                        <a:pt x="45" y="12"/>
                        <a:pt x="0" y="0"/>
                        <a:pt x="0" y="26"/>
                      </a:cubicBezTo>
                      <a:cubicBezTo>
                        <a:pt x="1" y="41"/>
                        <a:pt x="2" y="207"/>
                        <a:pt x="2" y="207"/>
                      </a:cubicBezTo>
                      <a:cubicBezTo>
                        <a:pt x="21" y="207"/>
                        <a:pt x="21" y="207"/>
                        <a:pt x="21" y="207"/>
                      </a:cubicBezTo>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108821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Franklin Gothic Book" panose="020B0503020102020204" pitchFamily="34" charset="0"/>
                  </a:endParaRPr>
                </a:p>
              </p:txBody>
            </p:sp>
            <p:sp>
              <p:nvSpPr>
                <p:cNvPr id="316" name="Freeform 12">
                  <a:extLst>
                    <a:ext uri="{FF2B5EF4-FFF2-40B4-BE49-F238E27FC236}">
                      <a16:creationId xmlns:a16="http://schemas.microsoft.com/office/drawing/2014/main" id="{9A6531A9-2682-4942-92CB-59839F939840}"/>
                    </a:ext>
                  </a:extLst>
                </p:cNvPr>
                <p:cNvSpPr>
                  <a:spLocks/>
                </p:cNvSpPr>
                <p:nvPr/>
              </p:nvSpPr>
              <p:spPr bwMode="auto">
                <a:xfrm>
                  <a:off x="5662613" y="2468563"/>
                  <a:ext cx="161925" cy="288925"/>
                </a:xfrm>
                <a:custGeom>
                  <a:avLst/>
                  <a:gdLst>
                    <a:gd name="T0" fmla="*/ 0 w 43"/>
                    <a:gd name="T1" fmla="*/ 20 h 76"/>
                    <a:gd name="T2" fmla="*/ 31 w 43"/>
                    <a:gd name="T3" fmla="*/ 6 h 76"/>
                    <a:gd name="T4" fmla="*/ 43 w 43"/>
                    <a:gd name="T5" fmla="*/ 0 h 76"/>
                    <a:gd name="T6" fmla="*/ 43 w 43"/>
                    <a:gd name="T7" fmla="*/ 76 h 76"/>
                    <a:gd name="T8" fmla="*/ 0 w 43"/>
                    <a:gd name="T9" fmla="*/ 76 h 76"/>
                    <a:gd name="T10" fmla="*/ 0 w 43"/>
                    <a:gd name="T11" fmla="*/ 32 h 76"/>
                    <a:gd name="T12" fmla="*/ 0 w 43"/>
                    <a:gd name="T13" fmla="*/ 20 h 76"/>
                  </a:gdLst>
                  <a:ahLst/>
                  <a:cxnLst>
                    <a:cxn ang="0">
                      <a:pos x="T0" y="T1"/>
                    </a:cxn>
                    <a:cxn ang="0">
                      <a:pos x="T2" y="T3"/>
                    </a:cxn>
                    <a:cxn ang="0">
                      <a:pos x="T4" y="T5"/>
                    </a:cxn>
                    <a:cxn ang="0">
                      <a:pos x="T6" y="T7"/>
                    </a:cxn>
                    <a:cxn ang="0">
                      <a:pos x="T8" y="T9"/>
                    </a:cxn>
                    <a:cxn ang="0">
                      <a:pos x="T10" y="T11"/>
                    </a:cxn>
                    <a:cxn ang="0">
                      <a:pos x="T12" y="T13"/>
                    </a:cxn>
                  </a:cxnLst>
                  <a:rect l="0" t="0" r="r" b="b"/>
                  <a:pathLst>
                    <a:path w="43" h="76">
                      <a:moveTo>
                        <a:pt x="0" y="20"/>
                      </a:moveTo>
                      <a:cubicBezTo>
                        <a:pt x="0" y="9"/>
                        <a:pt x="18" y="6"/>
                        <a:pt x="31" y="6"/>
                      </a:cubicBezTo>
                      <a:cubicBezTo>
                        <a:pt x="39" y="5"/>
                        <a:pt x="43" y="0"/>
                        <a:pt x="43" y="0"/>
                      </a:cubicBezTo>
                      <a:cubicBezTo>
                        <a:pt x="43" y="76"/>
                        <a:pt x="43" y="76"/>
                        <a:pt x="43" y="76"/>
                      </a:cubicBezTo>
                      <a:cubicBezTo>
                        <a:pt x="0" y="76"/>
                        <a:pt x="0" y="76"/>
                        <a:pt x="0" y="76"/>
                      </a:cubicBezTo>
                      <a:cubicBezTo>
                        <a:pt x="0" y="32"/>
                        <a:pt x="0" y="32"/>
                        <a:pt x="0" y="32"/>
                      </a:cubicBezTo>
                      <a:cubicBezTo>
                        <a:pt x="0" y="32"/>
                        <a:pt x="1" y="34"/>
                        <a:pt x="0"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108821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Franklin Gothic Book" panose="020B0503020102020204" pitchFamily="34" charset="0"/>
                  </a:endParaRPr>
                </a:p>
              </p:txBody>
            </p:sp>
            <p:sp>
              <p:nvSpPr>
                <p:cNvPr id="317" name="Rectangle 13">
                  <a:extLst>
                    <a:ext uri="{FF2B5EF4-FFF2-40B4-BE49-F238E27FC236}">
                      <a16:creationId xmlns:a16="http://schemas.microsoft.com/office/drawing/2014/main" id="{4C00345A-9C27-4283-BB0F-14085856DE10}"/>
                    </a:ext>
                  </a:extLst>
                </p:cNvPr>
                <p:cNvSpPr>
                  <a:spLocks noChangeArrowheads="1"/>
                </p:cNvSpPr>
                <p:nvPr/>
              </p:nvSpPr>
              <p:spPr bwMode="auto">
                <a:xfrm>
                  <a:off x="5600700" y="2719388"/>
                  <a:ext cx="638175" cy="76200"/>
                </a:xfrm>
                <a:prstGeom prst="rect">
                  <a:avLst/>
                </a:prstGeom>
                <a:solidFill>
                  <a:srgbClr val="8EC63E"/>
                </a:solidFill>
                <a:ln>
                  <a:noFill/>
                </a:ln>
              </p:spPr>
              <p:txBody>
                <a:bodyPr vert="horz" wrap="square" lIns="91440" tIns="45720" rIns="91440" bIns="45720" numCol="1" anchor="t" anchorCtr="0" compatLnSpc="1">
                  <a:prstTxWarp prst="textNoShape">
                    <a:avLst/>
                  </a:prstTxWarp>
                </a:bodyPr>
                <a:lstStyle/>
                <a:p>
                  <a:pPr marL="0" marR="0" lvl="0" indent="0" defTabSz="108821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Franklin Gothic Book" panose="020B0503020102020204" pitchFamily="34" charset="0"/>
                  </a:endParaRPr>
                </a:p>
              </p:txBody>
            </p:sp>
            <p:sp>
              <p:nvSpPr>
                <p:cNvPr id="318" name="Oval 14">
                  <a:extLst>
                    <a:ext uri="{FF2B5EF4-FFF2-40B4-BE49-F238E27FC236}">
                      <a16:creationId xmlns:a16="http://schemas.microsoft.com/office/drawing/2014/main" id="{5CA54317-48F9-426F-9F06-53B12EE25F13}"/>
                    </a:ext>
                  </a:extLst>
                </p:cNvPr>
                <p:cNvSpPr>
                  <a:spLocks noChangeArrowheads="1"/>
                </p:cNvSpPr>
                <p:nvPr/>
              </p:nvSpPr>
              <p:spPr bwMode="auto">
                <a:xfrm>
                  <a:off x="6198236" y="2550244"/>
                  <a:ext cx="357504" cy="355750"/>
                </a:xfrm>
                <a:prstGeom prst="ellipse">
                  <a:avLst/>
                </a:pr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8821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Franklin Gothic Book" panose="020B0503020102020204" pitchFamily="34" charset="0"/>
                  </a:endParaRPr>
                </a:p>
              </p:txBody>
            </p:sp>
          </p:grpSp>
          <p:sp>
            <p:nvSpPr>
              <p:cNvPr id="313" name="Freeform 15">
                <a:extLst>
                  <a:ext uri="{FF2B5EF4-FFF2-40B4-BE49-F238E27FC236}">
                    <a16:creationId xmlns:a16="http://schemas.microsoft.com/office/drawing/2014/main" id="{3B04C964-CC6B-4040-A2C5-F506067E5C7F}"/>
                  </a:ext>
                </a:extLst>
              </p:cNvPr>
              <p:cNvSpPr>
                <a:spLocks/>
              </p:cNvSpPr>
              <p:nvPr/>
            </p:nvSpPr>
            <p:spPr bwMode="auto">
              <a:xfrm>
                <a:off x="6251575" y="2646363"/>
                <a:ext cx="188913" cy="182562"/>
              </a:xfrm>
              <a:custGeom>
                <a:avLst/>
                <a:gdLst>
                  <a:gd name="T0" fmla="*/ 33 w 119"/>
                  <a:gd name="T1" fmla="*/ 0 h 115"/>
                  <a:gd name="T2" fmla="*/ 33 w 119"/>
                  <a:gd name="T3" fmla="*/ 39 h 115"/>
                  <a:gd name="T4" fmla="*/ 52 w 119"/>
                  <a:gd name="T5" fmla="*/ 39 h 115"/>
                  <a:gd name="T6" fmla="*/ 0 w 119"/>
                  <a:gd name="T7" fmla="*/ 89 h 115"/>
                  <a:gd name="T8" fmla="*/ 28 w 119"/>
                  <a:gd name="T9" fmla="*/ 115 h 115"/>
                  <a:gd name="T10" fmla="*/ 81 w 119"/>
                  <a:gd name="T11" fmla="*/ 62 h 115"/>
                  <a:gd name="T12" fmla="*/ 81 w 119"/>
                  <a:gd name="T13" fmla="*/ 84 h 115"/>
                  <a:gd name="T14" fmla="*/ 119 w 119"/>
                  <a:gd name="T15" fmla="*/ 84 h 115"/>
                  <a:gd name="T16" fmla="*/ 119 w 119"/>
                  <a:gd name="T17" fmla="*/ 0 h 115"/>
                  <a:gd name="T18" fmla="*/ 33 w 119"/>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15">
                    <a:moveTo>
                      <a:pt x="33" y="0"/>
                    </a:moveTo>
                    <a:lnTo>
                      <a:pt x="33" y="39"/>
                    </a:lnTo>
                    <a:lnTo>
                      <a:pt x="52" y="39"/>
                    </a:lnTo>
                    <a:lnTo>
                      <a:pt x="0" y="89"/>
                    </a:lnTo>
                    <a:lnTo>
                      <a:pt x="28" y="115"/>
                    </a:lnTo>
                    <a:lnTo>
                      <a:pt x="81" y="62"/>
                    </a:lnTo>
                    <a:lnTo>
                      <a:pt x="81" y="84"/>
                    </a:lnTo>
                    <a:lnTo>
                      <a:pt x="119" y="84"/>
                    </a:lnTo>
                    <a:lnTo>
                      <a:pt x="119" y="0"/>
                    </a:lnTo>
                    <a:lnTo>
                      <a:pt x="33" y="0"/>
                    </a:lnTo>
                    <a:close/>
                  </a:path>
                </a:pathLst>
              </a:custGeom>
              <a:solidFill>
                <a:srgbClr val="8EC63E"/>
              </a:solidFill>
              <a:ln>
                <a:noFill/>
              </a:ln>
            </p:spPr>
            <p:txBody>
              <a:bodyPr vert="horz" wrap="square" lIns="91440" tIns="45720" rIns="91440" bIns="45720" numCol="1" anchor="t" anchorCtr="0" compatLnSpc="1">
                <a:prstTxWarp prst="textNoShape">
                  <a:avLst/>
                </a:prstTxWarp>
              </a:bodyPr>
              <a:lstStyle/>
              <a:p>
                <a:pPr marL="0" marR="0" lvl="0" indent="0" defTabSz="108821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Franklin Gothic Book" panose="020B0503020102020204" pitchFamily="34" charset="0"/>
                </a:endParaRPr>
              </a:p>
            </p:txBody>
          </p:sp>
        </p:grpSp>
        <p:sp>
          <p:nvSpPr>
            <p:cNvPr id="319" name="Freeform 5">
              <a:extLst>
                <a:ext uri="{FF2B5EF4-FFF2-40B4-BE49-F238E27FC236}">
                  <a16:creationId xmlns:a16="http://schemas.microsoft.com/office/drawing/2014/main" id="{CF91743E-9079-4DB7-8E1E-70AE4ED6FF62}"/>
                </a:ext>
              </a:extLst>
            </p:cNvPr>
            <p:cNvSpPr>
              <a:spLocks noEditPoints="1"/>
            </p:cNvSpPr>
            <p:nvPr userDrawn="1"/>
          </p:nvSpPr>
          <p:spPr bwMode="auto">
            <a:xfrm>
              <a:off x="9859669" y="942012"/>
              <a:ext cx="376402" cy="327478"/>
            </a:xfrm>
            <a:custGeom>
              <a:avLst/>
              <a:gdLst>
                <a:gd name="T0" fmla="*/ 1553 w 3431"/>
                <a:gd name="T1" fmla="*/ 1720 h 2447"/>
                <a:gd name="T2" fmla="*/ 1958 w 3431"/>
                <a:gd name="T3" fmla="*/ 726 h 2447"/>
                <a:gd name="T4" fmla="*/ 1449 w 3431"/>
                <a:gd name="T5" fmla="*/ 946 h 2447"/>
                <a:gd name="T6" fmla="*/ 2062 w 3431"/>
                <a:gd name="T7" fmla="*/ 430 h 2447"/>
                <a:gd name="T8" fmla="*/ 2834 w 3431"/>
                <a:gd name="T9" fmla="*/ 660 h 2447"/>
                <a:gd name="T10" fmla="*/ 3317 w 3431"/>
                <a:gd name="T11" fmla="*/ 407 h 2447"/>
                <a:gd name="T12" fmla="*/ 3382 w 3431"/>
                <a:gd name="T13" fmla="*/ 640 h 2447"/>
                <a:gd name="T14" fmla="*/ 2747 w 3431"/>
                <a:gd name="T15" fmla="*/ 973 h 2447"/>
                <a:gd name="T16" fmla="*/ 2533 w 3431"/>
                <a:gd name="T17" fmla="*/ 1023 h 2447"/>
                <a:gd name="T18" fmla="*/ 2580 w 3431"/>
                <a:gd name="T19" fmla="*/ 1592 h 2447"/>
                <a:gd name="T20" fmla="*/ 2708 w 3431"/>
                <a:gd name="T21" fmla="*/ 1850 h 2447"/>
                <a:gd name="T22" fmla="*/ 1925 w 3431"/>
                <a:gd name="T23" fmla="*/ 2238 h 2447"/>
                <a:gd name="T24" fmla="*/ 1910 w 3431"/>
                <a:gd name="T25" fmla="*/ 2021 h 2447"/>
                <a:gd name="T26" fmla="*/ 2119 w 3431"/>
                <a:gd name="T27" fmla="*/ 1718 h 2447"/>
                <a:gd name="T28" fmla="*/ 1900 w 3431"/>
                <a:gd name="T29" fmla="*/ 1734 h 2447"/>
                <a:gd name="T30" fmla="*/ 1838 w 3431"/>
                <a:gd name="T31" fmla="*/ 1835 h 2447"/>
                <a:gd name="T32" fmla="*/ 1312 w 3431"/>
                <a:gd name="T33" fmla="*/ 2396 h 2447"/>
                <a:gd name="T34" fmla="*/ 675 w 3431"/>
                <a:gd name="T35" fmla="*/ 2108 h 2447"/>
                <a:gd name="T36" fmla="*/ 14 w 3431"/>
                <a:gd name="T37" fmla="*/ 2045 h 2447"/>
                <a:gd name="T38" fmla="*/ 185 w 3431"/>
                <a:gd name="T39" fmla="*/ 2011 h 2447"/>
                <a:gd name="T40" fmla="*/ 1045 w 3431"/>
                <a:gd name="T41" fmla="*/ 1950 h 2447"/>
                <a:gd name="T42" fmla="*/ 888 w 3431"/>
                <a:gd name="T43" fmla="*/ 2132 h 2447"/>
                <a:gd name="T44" fmla="*/ 993 w 3431"/>
                <a:gd name="T45" fmla="*/ 1776 h 2447"/>
                <a:gd name="T46" fmla="*/ 425 w 3431"/>
                <a:gd name="T47" fmla="*/ 1718 h 2447"/>
                <a:gd name="T48" fmla="*/ 531 w 3431"/>
                <a:gd name="T49" fmla="*/ 1651 h 2447"/>
                <a:gd name="T50" fmla="*/ 1245 w 3431"/>
                <a:gd name="T51" fmla="*/ 1618 h 2447"/>
                <a:gd name="T52" fmla="*/ 1156 w 3431"/>
                <a:gd name="T53" fmla="*/ 1795 h 2447"/>
                <a:gd name="T54" fmla="*/ 1275 w 3431"/>
                <a:gd name="T55" fmla="*/ 1469 h 2447"/>
                <a:gd name="T56" fmla="*/ 610 w 3431"/>
                <a:gd name="T57" fmla="*/ 1400 h 2447"/>
                <a:gd name="T58" fmla="*/ 400 w 3431"/>
                <a:gd name="T59" fmla="*/ 1370 h 2447"/>
                <a:gd name="T60" fmla="*/ 697 w 3431"/>
                <a:gd name="T61" fmla="*/ 1338 h 2447"/>
                <a:gd name="T62" fmla="*/ 1417 w 3431"/>
                <a:gd name="T63" fmla="*/ 1468 h 2447"/>
                <a:gd name="T64" fmla="*/ 2544 w 3431"/>
                <a:gd name="T65" fmla="*/ 533 h 2447"/>
                <a:gd name="T66" fmla="*/ 2407 w 3431"/>
                <a:gd name="T67" fmla="*/ 218 h 2447"/>
                <a:gd name="T68" fmla="*/ 2882 w 3431"/>
                <a:gd name="T69" fmla="*/ 396 h 2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1" h="2447">
                  <a:moveTo>
                    <a:pt x="1312" y="2396"/>
                  </a:moveTo>
                  <a:cubicBezTo>
                    <a:pt x="1239" y="2323"/>
                    <a:pt x="1259" y="2270"/>
                    <a:pt x="1553" y="1720"/>
                  </a:cubicBezTo>
                  <a:cubicBezTo>
                    <a:pt x="2000" y="887"/>
                    <a:pt x="2071" y="748"/>
                    <a:pt x="2058" y="736"/>
                  </a:cubicBezTo>
                  <a:cubicBezTo>
                    <a:pt x="2053" y="730"/>
                    <a:pt x="2008" y="726"/>
                    <a:pt x="1958" y="726"/>
                  </a:cubicBezTo>
                  <a:cubicBezTo>
                    <a:pt x="1841" y="727"/>
                    <a:pt x="1790" y="754"/>
                    <a:pt x="1664" y="883"/>
                  </a:cubicBezTo>
                  <a:cubicBezTo>
                    <a:pt x="1551" y="999"/>
                    <a:pt x="1513" y="1010"/>
                    <a:pt x="1449" y="946"/>
                  </a:cubicBezTo>
                  <a:cubicBezTo>
                    <a:pt x="1379" y="875"/>
                    <a:pt x="1418" y="763"/>
                    <a:pt x="1563" y="627"/>
                  </a:cubicBezTo>
                  <a:cubicBezTo>
                    <a:pt x="1707" y="492"/>
                    <a:pt x="1863" y="430"/>
                    <a:pt x="2062" y="430"/>
                  </a:cubicBezTo>
                  <a:cubicBezTo>
                    <a:pt x="2222" y="431"/>
                    <a:pt x="2280" y="449"/>
                    <a:pt x="2531" y="579"/>
                  </a:cubicBezTo>
                  <a:cubicBezTo>
                    <a:pt x="2653" y="642"/>
                    <a:pt x="2722" y="660"/>
                    <a:pt x="2834" y="660"/>
                  </a:cubicBezTo>
                  <a:cubicBezTo>
                    <a:pt x="2973" y="660"/>
                    <a:pt x="3049" y="624"/>
                    <a:pt x="3177" y="500"/>
                  </a:cubicBezTo>
                  <a:cubicBezTo>
                    <a:pt x="3259" y="420"/>
                    <a:pt x="3278" y="407"/>
                    <a:pt x="3317" y="407"/>
                  </a:cubicBezTo>
                  <a:cubicBezTo>
                    <a:pt x="3382" y="407"/>
                    <a:pt x="3428" y="451"/>
                    <a:pt x="3430" y="515"/>
                  </a:cubicBezTo>
                  <a:cubicBezTo>
                    <a:pt x="3431" y="555"/>
                    <a:pt x="3420" y="583"/>
                    <a:pt x="3382" y="640"/>
                  </a:cubicBezTo>
                  <a:cubicBezTo>
                    <a:pt x="3284" y="788"/>
                    <a:pt x="3146" y="896"/>
                    <a:pt x="2984" y="953"/>
                  </a:cubicBezTo>
                  <a:cubicBezTo>
                    <a:pt x="2932" y="971"/>
                    <a:pt x="2885" y="975"/>
                    <a:pt x="2747" y="973"/>
                  </a:cubicBezTo>
                  <a:lnTo>
                    <a:pt x="2576" y="971"/>
                  </a:lnTo>
                  <a:lnTo>
                    <a:pt x="2533" y="1023"/>
                  </a:lnTo>
                  <a:cubicBezTo>
                    <a:pt x="2448" y="1126"/>
                    <a:pt x="2368" y="1329"/>
                    <a:pt x="2381" y="1404"/>
                  </a:cubicBezTo>
                  <a:cubicBezTo>
                    <a:pt x="2391" y="1459"/>
                    <a:pt x="2448" y="1512"/>
                    <a:pt x="2580" y="1592"/>
                  </a:cubicBezTo>
                  <a:cubicBezTo>
                    <a:pt x="2704" y="1668"/>
                    <a:pt x="2742" y="1715"/>
                    <a:pt x="2733" y="1780"/>
                  </a:cubicBezTo>
                  <a:cubicBezTo>
                    <a:pt x="2729" y="1803"/>
                    <a:pt x="2718" y="1835"/>
                    <a:pt x="2708" y="1850"/>
                  </a:cubicBezTo>
                  <a:cubicBezTo>
                    <a:pt x="2670" y="1907"/>
                    <a:pt x="2214" y="2187"/>
                    <a:pt x="2082" y="2233"/>
                  </a:cubicBezTo>
                  <a:cubicBezTo>
                    <a:pt x="1999" y="2262"/>
                    <a:pt x="1973" y="2263"/>
                    <a:pt x="1925" y="2238"/>
                  </a:cubicBezTo>
                  <a:cubicBezTo>
                    <a:pt x="1878" y="2214"/>
                    <a:pt x="1863" y="2184"/>
                    <a:pt x="1863" y="2119"/>
                  </a:cubicBezTo>
                  <a:cubicBezTo>
                    <a:pt x="1863" y="2075"/>
                    <a:pt x="1870" y="2060"/>
                    <a:pt x="1910" y="2021"/>
                  </a:cubicBezTo>
                  <a:cubicBezTo>
                    <a:pt x="1936" y="1996"/>
                    <a:pt x="2015" y="1939"/>
                    <a:pt x="2086" y="1895"/>
                  </a:cubicBezTo>
                  <a:cubicBezTo>
                    <a:pt x="2243" y="1796"/>
                    <a:pt x="2245" y="1783"/>
                    <a:pt x="2119" y="1718"/>
                  </a:cubicBezTo>
                  <a:cubicBezTo>
                    <a:pt x="2071" y="1693"/>
                    <a:pt x="2017" y="1671"/>
                    <a:pt x="1999" y="1671"/>
                  </a:cubicBezTo>
                  <a:cubicBezTo>
                    <a:pt x="1965" y="1670"/>
                    <a:pt x="1900" y="1711"/>
                    <a:pt x="1900" y="1734"/>
                  </a:cubicBezTo>
                  <a:cubicBezTo>
                    <a:pt x="1900" y="1741"/>
                    <a:pt x="1886" y="1765"/>
                    <a:pt x="1869" y="1787"/>
                  </a:cubicBezTo>
                  <a:cubicBezTo>
                    <a:pt x="1852" y="1810"/>
                    <a:pt x="1838" y="1831"/>
                    <a:pt x="1838" y="1835"/>
                  </a:cubicBezTo>
                  <a:cubicBezTo>
                    <a:pt x="1838" y="1858"/>
                    <a:pt x="1530" y="2369"/>
                    <a:pt x="1499" y="2398"/>
                  </a:cubicBezTo>
                  <a:cubicBezTo>
                    <a:pt x="1446" y="2447"/>
                    <a:pt x="1363" y="2446"/>
                    <a:pt x="1312" y="2396"/>
                  </a:cubicBezTo>
                  <a:close/>
                  <a:moveTo>
                    <a:pt x="888" y="2132"/>
                  </a:moveTo>
                  <a:cubicBezTo>
                    <a:pt x="850" y="2126"/>
                    <a:pt x="754" y="2116"/>
                    <a:pt x="675" y="2108"/>
                  </a:cubicBezTo>
                  <a:cubicBezTo>
                    <a:pt x="596" y="2101"/>
                    <a:pt x="419" y="2084"/>
                    <a:pt x="281" y="2070"/>
                  </a:cubicBezTo>
                  <a:cubicBezTo>
                    <a:pt x="144" y="2056"/>
                    <a:pt x="23" y="2045"/>
                    <a:pt x="14" y="2045"/>
                  </a:cubicBezTo>
                  <a:cubicBezTo>
                    <a:pt x="4" y="2045"/>
                    <a:pt x="0" y="2040"/>
                    <a:pt x="5" y="2035"/>
                  </a:cubicBezTo>
                  <a:cubicBezTo>
                    <a:pt x="10" y="2030"/>
                    <a:pt x="92" y="2019"/>
                    <a:pt x="185" y="2011"/>
                  </a:cubicBezTo>
                  <a:cubicBezTo>
                    <a:pt x="279" y="2004"/>
                    <a:pt x="504" y="1982"/>
                    <a:pt x="685" y="1964"/>
                  </a:cubicBezTo>
                  <a:cubicBezTo>
                    <a:pt x="992" y="1932"/>
                    <a:pt x="1016" y="1932"/>
                    <a:pt x="1045" y="1950"/>
                  </a:cubicBezTo>
                  <a:cubicBezTo>
                    <a:pt x="1113" y="1995"/>
                    <a:pt x="1108" y="2089"/>
                    <a:pt x="1036" y="2126"/>
                  </a:cubicBezTo>
                  <a:cubicBezTo>
                    <a:pt x="998" y="2146"/>
                    <a:pt x="990" y="2146"/>
                    <a:pt x="888" y="2132"/>
                  </a:cubicBezTo>
                  <a:close/>
                  <a:moveTo>
                    <a:pt x="1086" y="1789"/>
                  </a:moveTo>
                  <a:cubicBezTo>
                    <a:pt x="1083" y="1786"/>
                    <a:pt x="1041" y="1780"/>
                    <a:pt x="993" y="1776"/>
                  </a:cubicBezTo>
                  <a:cubicBezTo>
                    <a:pt x="861" y="1766"/>
                    <a:pt x="765" y="1757"/>
                    <a:pt x="675" y="1744"/>
                  </a:cubicBezTo>
                  <a:cubicBezTo>
                    <a:pt x="630" y="1738"/>
                    <a:pt x="518" y="1727"/>
                    <a:pt x="425" y="1718"/>
                  </a:cubicBezTo>
                  <a:cubicBezTo>
                    <a:pt x="332" y="1710"/>
                    <a:pt x="245" y="1699"/>
                    <a:pt x="231" y="1694"/>
                  </a:cubicBezTo>
                  <a:cubicBezTo>
                    <a:pt x="201" y="1683"/>
                    <a:pt x="234" y="1678"/>
                    <a:pt x="531" y="1651"/>
                  </a:cubicBezTo>
                  <a:cubicBezTo>
                    <a:pt x="648" y="1640"/>
                    <a:pt x="820" y="1623"/>
                    <a:pt x="913" y="1613"/>
                  </a:cubicBezTo>
                  <a:cubicBezTo>
                    <a:pt x="1220" y="1581"/>
                    <a:pt x="1211" y="1581"/>
                    <a:pt x="1245" y="1618"/>
                  </a:cubicBezTo>
                  <a:cubicBezTo>
                    <a:pt x="1283" y="1660"/>
                    <a:pt x="1285" y="1721"/>
                    <a:pt x="1248" y="1763"/>
                  </a:cubicBezTo>
                  <a:cubicBezTo>
                    <a:pt x="1225" y="1789"/>
                    <a:pt x="1209" y="1795"/>
                    <a:pt x="1156" y="1795"/>
                  </a:cubicBezTo>
                  <a:cubicBezTo>
                    <a:pt x="1121" y="1795"/>
                    <a:pt x="1089" y="1792"/>
                    <a:pt x="1086" y="1789"/>
                  </a:cubicBezTo>
                  <a:close/>
                  <a:moveTo>
                    <a:pt x="1275" y="1469"/>
                  </a:moveTo>
                  <a:cubicBezTo>
                    <a:pt x="1237" y="1464"/>
                    <a:pt x="1111" y="1450"/>
                    <a:pt x="994" y="1439"/>
                  </a:cubicBezTo>
                  <a:cubicBezTo>
                    <a:pt x="877" y="1427"/>
                    <a:pt x="704" y="1410"/>
                    <a:pt x="610" y="1400"/>
                  </a:cubicBezTo>
                  <a:cubicBezTo>
                    <a:pt x="516" y="1390"/>
                    <a:pt x="430" y="1382"/>
                    <a:pt x="419" y="1382"/>
                  </a:cubicBezTo>
                  <a:cubicBezTo>
                    <a:pt x="409" y="1382"/>
                    <a:pt x="400" y="1376"/>
                    <a:pt x="400" y="1370"/>
                  </a:cubicBezTo>
                  <a:cubicBezTo>
                    <a:pt x="400" y="1363"/>
                    <a:pt x="425" y="1357"/>
                    <a:pt x="456" y="1357"/>
                  </a:cubicBezTo>
                  <a:cubicBezTo>
                    <a:pt x="487" y="1357"/>
                    <a:pt x="596" y="1348"/>
                    <a:pt x="697" y="1338"/>
                  </a:cubicBezTo>
                  <a:cubicBezTo>
                    <a:pt x="1453" y="1260"/>
                    <a:pt x="1401" y="1263"/>
                    <a:pt x="1441" y="1294"/>
                  </a:cubicBezTo>
                  <a:cubicBezTo>
                    <a:pt x="1498" y="1339"/>
                    <a:pt x="1485" y="1431"/>
                    <a:pt x="1417" y="1468"/>
                  </a:cubicBezTo>
                  <a:cubicBezTo>
                    <a:pt x="1387" y="1483"/>
                    <a:pt x="1376" y="1484"/>
                    <a:pt x="1275" y="1469"/>
                  </a:cubicBezTo>
                  <a:close/>
                  <a:moveTo>
                    <a:pt x="2544" y="533"/>
                  </a:moveTo>
                  <a:cubicBezTo>
                    <a:pt x="2478" y="503"/>
                    <a:pt x="2431" y="451"/>
                    <a:pt x="2407" y="383"/>
                  </a:cubicBezTo>
                  <a:cubicBezTo>
                    <a:pt x="2383" y="315"/>
                    <a:pt x="2383" y="287"/>
                    <a:pt x="2407" y="218"/>
                  </a:cubicBezTo>
                  <a:cubicBezTo>
                    <a:pt x="2463" y="60"/>
                    <a:pt x="2639" y="0"/>
                    <a:pt x="2784" y="90"/>
                  </a:cubicBezTo>
                  <a:cubicBezTo>
                    <a:pt x="2885" y="152"/>
                    <a:pt x="2928" y="287"/>
                    <a:pt x="2882" y="396"/>
                  </a:cubicBezTo>
                  <a:cubicBezTo>
                    <a:pt x="2828" y="527"/>
                    <a:pt x="2669" y="591"/>
                    <a:pt x="2544" y="53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0" name="Freeform 21">
            <a:extLst>
              <a:ext uri="{FF2B5EF4-FFF2-40B4-BE49-F238E27FC236}">
                <a16:creationId xmlns:a16="http://schemas.microsoft.com/office/drawing/2014/main" id="{099CE3F6-7891-44F9-9026-598C77A6B9C2}"/>
              </a:ext>
            </a:extLst>
          </p:cNvPr>
          <p:cNvSpPr>
            <a:spLocks/>
          </p:cNvSpPr>
          <p:nvPr userDrawn="1"/>
        </p:nvSpPr>
        <p:spPr bwMode="auto">
          <a:xfrm rot="5400000" flipV="1">
            <a:off x="7584471" y="2240535"/>
            <a:ext cx="3138938" cy="6095998"/>
          </a:xfrm>
          <a:custGeom>
            <a:avLst/>
            <a:gdLst>
              <a:gd name="T0" fmla="*/ 695 w 1228"/>
              <a:gd name="T1" fmla="*/ 10 h 1472"/>
              <a:gd name="T2" fmla="*/ 1228 w 1228"/>
              <a:gd name="T3" fmla="*/ 55 h 1472"/>
              <a:gd name="T4" fmla="*/ 1228 w 1228"/>
              <a:gd name="T5" fmla="*/ 1472 h 1472"/>
              <a:gd name="T6" fmla="*/ 322 w 1228"/>
              <a:gd name="T7" fmla="*/ 1472 h 1472"/>
              <a:gd name="T8" fmla="*/ 229 w 1228"/>
              <a:gd name="T9" fmla="*/ 1332 h 1472"/>
              <a:gd name="T10" fmla="*/ 695 w 1228"/>
              <a:gd name="T11" fmla="*/ 10 h 1472"/>
            </a:gdLst>
            <a:ahLst/>
            <a:cxnLst>
              <a:cxn ang="0">
                <a:pos x="T0" y="T1"/>
              </a:cxn>
              <a:cxn ang="0">
                <a:pos x="T2" y="T3"/>
              </a:cxn>
              <a:cxn ang="0">
                <a:pos x="T4" y="T5"/>
              </a:cxn>
              <a:cxn ang="0">
                <a:pos x="T6" y="T7"/>
              </a:cxn>
              <a:cxn ang="0">
                <a:pos x="T8" y="T9"/>
              </a:cxn>
              <a:cxn ang="0">
                <a:pos x="T10" y="T11"/>
              </a:cxn>
            </a:cxnLst>
            <a:rect l="0" t="0" r="r" b="b"/>
            <a:pathLst>
              <a:path w="1228" h="1472">
                <a:moveTo>
                  <a:pt x="695" y="10"/>
                </a:moveTo>
                <a:cubicBezTo>
                  <a:pt x="880" y="0"/>
                  <a:pt x="1062" y="13"/>
                  <a:pt x="1228" y="55"/>
                </a:cubicBezTo>
                <a:cubicBezTo>
                  <a:pt x="1228" y="1472"/>
                  <a:pt x="1228" y="1472"/>
                  <a:pt x="1228" y="1472"/>
                </a:cubicBezTo>
                <a:cubicBezTo>
                  <a:pt x="322" y="1472"/>
                  <a:pt x="322" y="1472"/>
                  <a:pt x="322" y="1472"/>
                </a:cubicBezTo>
                <a:cubicBezTo>
                  <a:pt x="285" y="1432"/>
                  <a:pt x="253" y="1385"/>
                  <a:pt x="229" y="1332"/>
                </a:cubicBezTo>
                <a:cubicBezTo>
                  <a:pt x="0" y="833"/>
                  <a:pt x="606" y="339"/>
                  <a:pt x="695" y="1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320" name="Group 319">
            <a:extLst>
              <a:ext uri="{FF2B5EF4-FFF2-40B4-BE49-F238E27FC236}">
                <a16:creationId xmlns:a16="http://schemas.microsoft.com/office/drawing/2014/main" id="{B672A3FD-89A2-4815-9920-0038380C9A7E}"/>
              </a:ext>
            </a:extLst>
          </p:cNvPr>
          <p:cNvGrpSpPr/>
          <p:nvPr userDrawn="1"/>
        </p:nvGrpSpPr>
        <p:grpSpPr>
          <a:xfrm>
            <a:off x="199410" y="194662"/>
            <a:ext cx="2746176" cy="783999"/>
            <a:chOff x="587034" y="254296"/>
            <a:chExt cx="2746176" cy="783999"/>
          </a:xfrm>
        </p:grpSpPr>
        <p:sp>
          <p:nvSpPr>
            <p:cNvPr id="321" name="Rectangle 9">
              <a:extLst>
                <a:ext uri="{FF2B5EF4-FFF2-40B4-BE49-F238E27FC236}">
                  <a16:creationId xmlns:a16="http://schemas.microsoft.com/office/drawing/2014/main" id="{3EE85DFA-CF72-45E3-8610-F03CD0682B6E}"/>
                </a:ext>
              </a:extLst>
            </p:cNvPr>
            <p:cNvSpPr/>
            <p:nvPr userDrawn="1"/>
          </p:nvSpPr>
          <p:spPr>
            <a:xfrm>
              <a:off x="587034" y="254296"/>
              <a:ext cx="2746176" cy="783999"/>
            </a:xfrm>
            <a:prstGeom prst="roundRect">
              <a:avLst>
                <a:gd name="adj" fmla="val 50000"/>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17"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9F958F">
                    <a:lumMod val="50000"/>
                  </a:srgbClr>
                </a:solidFill>
                <a:effectLst/>
                <a:uLnTx/>
                <a:uFillTx/>
                <a:latin typeface="Arial" panose="020B0604020202020204" pitchFamily="34" charset="0"/>
                <a:ea typeface="+mn-ea"/>
                <a:cs typeface="Arial" panose="020B0604020202020204" pitchFamily="34" charset="0"/>
              </a:endParaRPr>
            </a:p>
          </p:txBody>
        </p:sp>
        <p:grpSp>
          <p:nvGrpSpPr>
            <p:cNvPr id="322" name="Group 14">
              <a:extLst>
                <a:ext uri="{FF2B5EF4-FFF2-40B4-BE49-F238E27FC236}">
                  <a16:creationId xmlns:a16="http://schemas.microsoft.com/office/drawing/2014/main" id="{B6E9DB87-D4EC-449D-83DD-EB64767F26AE}"/>
                </a:ext>
              </a:extLst>
            </p:cNvPr>
            <p:cNvGrpSpPr>
              <a:grpSpLocks noChangeAspect="1"/>
            </p:cNvGrpSpPr>
            <p:nvPr userDrawn="1"/>
          </p:nvGrpSpPr>
          <p:grpSpPr>
            <a:xfrm>
              <a:off x="808239" y="449726"/>
              <a:ext cx="2232234" cy="467083"/>
              <a:chOff x="728664" y="4465638"/>
              <a:chExt cx="5354636" cy="1193800"/>
            </a:xfrm>
          </p:grpSpPr>
          <p:sp>
            <p:nvSpPr>
              <p:cNvPr id="323" name="Freeform 11">
                <a:extLst>
                  <a:ext uri="{FF2B5EF4-FFF2-40B4-BE49-F238E27FC236}">
                    <a16:creationId xmlns:a16="http://schemas.microsoft.com/office/drawing/2014/main" id="{9F152BE4-7707-43A1-B8F6-2754FEE61FA1}"/>
                  </a:ext>
                </a:extLst>
              </p:cNvPr>
              <p:cNvSpPr>
                <a:spLocks/>
              </p:cNvSpPr>
              <p:nvPr userDrawn="1"/>
            </p:nvSpPr>
            <p:spPr bwMode="auto">
              <a:xfrm>
                <a:off x="5464172" y="4830764"/>
                <a:ext cx="619125" cy="503237"/>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4" name="Freeform 12">
                <a:extLst>
                  <a:ext uri="{FF2B5EF4-FFF2-40B4-BE49-F238E27FC236}">
                    <a16:creationId xmlns:a16="http://schemas.microsoft.com/office/drawing/2014/main" id="{ED518A50-184E-4297-82CE-6FF6030599BC}"/>
                  </a:ext>
                </a:extLst>
              </p:cNvPr>
              <p:cNvSpPr>
                <a:spLocks noEditPoints="1"/>
              </p:cNvSpPr>
              <p:nvPr userDrawn="1"/>
            </p:nvSpPr>
            <p:spPr bwMode="auto">
              <a:xfrm>
                <a:off x="728664" y="4483100"/>
                <a:ext cx="4352922"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5" name="Freeform 13">
                <a:extLst>
                  <a:ext uri="{FF2B5EF4-FFF2-40B4-BE49-F238E27FC236}">
                    <a16:creationId xmlns:a16="http://schemas.microsoft.com/office/drawing/2014/main" id="{4E04BB50-173B-413F-B904-037EC4C0E1F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6" name="Freeform 14">
                <a:extLst>
                  <a:ext uri="{FF2B5EF4-FFF2-40B4-BE49-F238E27FC236}">
                    <a16:creationId xmlns:a16="http://schemas.microsoft.com/office/drawing/2014/main" id="{84FEB947-3DE1-4670-8E65-8D5D8DF3798C}"/>
                  </a:ext>
                </a:extLst>
              </p:cNvPr>
              <p:cNvSpPr>
                <a:spLocks/>
              </p:cNvSpPr>
              <p:nvPr userDrawn="1"/>
            </p:nvSpPr>
            <p:spPr bwMode="auto">
              <a:xfrm>
                <a:off x="4870452" y="4564062"/>
                <a:ext cx="112712"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7" name="Freeform 15">
                <a:extLst>
                  <a:ext uri="{FF2B5EF4-FFF2-40B4-BE49-F238E27FC236}">
                    <a16:creationId xmlns:a16="http://schemas.microsoft.com/office/drawing/2014/main" id="{6919A0DD-6DAE-4A90-A889-10A9CC39E5A0}"/>
                  </a:ext>
                </a:extLst>
              </p:cNvPr>
              <p:cNvSpPr>
                <a:spLocks/>
              </p:cNvSpPr>
              <p:nvPr userDrawn="1"/>
            </p:nvSpPr>
            <p:spPr bwMode="auto">
              <a:xfrm>
                <a:off x="5143499" y="4465638"/>
                <a:ext cx="939801"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1385890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Tree>
    <p:extLst>
      <p:ext uri="{BB962C8B-B14F-4D97-AF65-F5344CB8AC3E}">
        <p14:creationId xmlns:p14="http://schemas.microsoft.com/office/powerpoint/2010/main" val="13323529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775890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595083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E1AC05D-D903-42CD-BE64-423E52287AC1}"/>
              </a:ext>
            </a:extLst>
          </p:cNvPr>
          <p:cNvSpPr/>
          <p:nvPr userDrawn="1"/>
        </p:nvSpPr>
        <p:spPr>
          <a:xfrm>
            <a:off x="3792000" y="0"/>
            <a:ext cx="8400000" cy="6858000"/>
          </a:xfrm>
          <a:prstGeom prst="rect">
            <a:avLst/>
          </a:prstGeom>
          <a:solidFill>
            <a:srgbClr val="050E1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descr="A person wearing a suit and tie&#10;&#10;Description automatically generated">
            <a:extLst>
              <a:ext uri="{FF2B5EF4-FFF2-40B4-BE49-F238E27FC236}">
                <a16:creationId xmlns:a16="http://schemas.microsoft.com/office/drawing/2014/main" id="{02CC37DA-D582-4F74-B252-36D91393B6F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1728000"/>
            <a:ext cx="8376000" cy="5130000"/>
          </a:xfrm>
          <a:prstGeom prst="rect">
            <a:avLst/>
          </a:prstGeom>
        </p:spPr>
      </p:pic>
      <p:grpSp>
        <p:nvGrpSpPr>
          <p:cNvPr id="2" name="Groupe 1">
            <a:extLst>
              <a:ext uri="{FF2B5EF4-FFF2-40B4-BE49-F238E27FC236}">
                <a16:creationId xmlns:a16="http://schemas.microsoft.com/office/drawing/2014/main" id="{8B5F77E1-A90A-4D54-B022-9C5E9B57DFA9}"/>
              </a:ext>
            </a:extLst>
          </p:cNvPr>
          <p:cNvGrpSpPr/>
          <p:nvPr userDrawn="1"/>
        </p:nvGrpSpPr>
        <p:grpSpPr>
          <a:xfrm>
            <a:off x="0" y="-27000"/>
            <a:ext cx="12216000" cy="5130000"/>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2">
                <a:lumMod val="60000"/>
                <a:lumOff val="40000"/>
              </a:schemeClr>
            </a:solidFill>
            <a:ln w="9525" cap="flat">
              <a:noFill/>
              <a:prstDash val="solid"/>
              <a:miter/>
            </a:ln>
          </p:spPr>
          <p:txBody>
            <a:bodyPr rtlCol="0" anchor="ctr"/>
            <a:lstStyle/>
            <a:p>
              <a:endParaRPr lang="en-US">
                <a:solidFill>
                  <a:prstClr val="black"/>
                </a:solidFill>
              </a:endParaRPr>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4"/>
            </a:solidFill>
            <a:ln w="9525" cap="flat">
              <a:noFill/>
              <a:prstDash val="solid"/>
              <a:miter/>
            </a:ln>
          </p:spPr>
          <p:txBody>
            <a:bodyPr rtlCol="0" anchor="ctr"/>
            <a:lstStyle/>
            <a:p>
              <a:endParaRPr lang="en-US">
                <a:solidFill>
                  <a:prstClr val="black"/>
                </a:solidFill>
              </a:endParaRPr>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5" imgW="270" imgH="270" progId="TCLayout.ActiveDocument.1">
                  <p:embed/>
                </p:oleObj>
              </mc:Choice>
              <mc:Fallback>
                <p:oleObj name="think-cell Slide" r:id="rId5" imgW="270" imgH="270" progId="TCLayout.ActiveDocument.1">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a:t>Click to insert presenter, location, </a:t>
            </a:r>
            <a:br>
              <a:rPr lang="en-US"/>
            </a:br>
            <a:r>
              <a:rPr lang="en-US"/>
              <a:t>and date</a:t>
            </a:r>
          </a:p>
        </p:txBody>
      </p:sp>
      <p:grpSp>
        <p:nvGrpSpPr>
          <p:cNvPr id="15" name="Group 14"/>
          <p:cNvGrpSpPr>
            <a:grpSpLocks noChangeAspect="1"/>
          </p:cNvGrpSpPr>
          <p:nvPr userDrawn="1"/>
        </p:nvGrpSpPr>
        <p:grpSpPr>
          <a:xfrm>
            <a:off x="336000" y="621000"/>
            <a:ext cx="3024000" cy="674192"/>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3" name="Group 32">
            <a:extLst>
              <a:ext uri="{FF2B5EF4-FFF2-40B4-BE49-F238E27FC236}">
                <a16:creationId xmlns:a16="http://schemas.microsoft.com/office/drawing/2014/main" id="{58D6AF6B-AD13-435A-8996-C93087837DEF}"/>
              </a:ext>
            </a:extLst>
          </p:cNvPr>
          <p:cNvGrpSpPr/>
          <p:nvPr userDrawn="1"/>
        </p:nvGrpSpPr>
        <p:grpSpPr>
          <a:xfrm>
            <a:off x="6456000" y="5480520"/>
            <a:ext cx="5328000" cy="1044480"/>
            <a:chOff x="6456000" y="5480520"/>
            <a:chExt cx="5328000" cy="1044480"/>
          </a:xfrm>
        </p:grpSpPr>
        <p:pic>
          <p:nvPicPr>
            <p:cNvPr id="6" name="Graphic 5">
              <a:extLst>
                <a:ext uri="{FF2B5EF4-FFF2-40B4-BE49-F238E27FC236}">
                  <a16:creationId xmlns:a16="http://schemas.microsoft.com/office/drawing/2014/main" id="{03EE8ECF-8F3A-4A01-B271-B84B374E48A7}"/>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17440" y="5541960"/>
              <a:ext cx="1040128" cy="924886"/>
            </a:xfrm>
            <a:prstGeom prst="rect">
              <a:avLst/>
            </a:prstGeom>
          </p:spPr>
        </p:pic>
        <p:pic>
          <p:nvPicPr>
            <p:cNvPr id="8" name="Graphic 7">
              <a:extLst>
                <a:ext uri="{FF2B5EF4-FFF2-40B4-BE49-F238E27FC236}">
                  <a16:creationId xmlns:a16="http://schemas.microsoft.com/office/drawing/2014/main" id="{3C463197-8F33-48A3-AD12-0E22865B0B04}"/>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873524" y="5603400"/>
              <a:ext cx="1338406" cy="845520"/>
            </a:xfrm>
            <a:prstGeom prst="rect">
              <a:avLst/>
            </a:prstGeom>
          </p:spPr>
        </p:pic>
        <p:grpSp>
          <p:nvGrpSpPr>
            <p:cNvPr id="26" name="Group 25">
              <a:extLst>
                <a:ext uri="{FF2B5EF4-FFF2-40B4-BE49-F238E27FC236}">
                  <a16:creationId xmlns:a16="http://schemas.microsoft.com/office/drawing/2014/main" id="{5334CF0C-EB9B-4C2C-8EED-6B10421678E3}"/>
                </a:ext>
              </a:extLst>
            </p:cNvPr>
            <p:cNvGrpSpPr/>
            <p:nvPr userDrawn="1"/>
          </p:nvGrpSpPr>
          <p:grpSpPr>
            <a:xfrm>
              <a:off x="9527886" y="5480520"/>
              <a:ext cx="860159" cy="980775"/>
              <a:chOff x="-2832000" y="3717015"/>
              <a:chExt cx="2057400" cy="2345897"/>
            </a:xfrm>
          </p:grpSpPr>
          <p:sp>
            <p:nvSpPr>
              <p:cNvPr id="12" name="Freeform: Shape 11">
                <a:extLst>
                  <a:ext uri="{FF2B5EF4-FFF2-40B4-BE49-F238E27FC236}">
                    <a16:creationId xmlns:a16="http://schemas.microsoft.com/office/drawing/2014/main" id="{E0347835-0838-44B7-A38E-0F74E1C07CD9}"/>
                  </a:ext>
                </a:extLst>
              </p:cNvPr>
              <p:cNvSpPr/>
              <p:nvPr/>
            </p:nvSpPr>
            <p:spPr>
              <a:xfrm>
                <a:off x="-2500816" y="4031325"/>
                <a:ext cx="1143000" cy="1323975"/>
              </a:xfrm>
              <a:custGeom>
                <a:avLst/>
                <a:gdLst>
                  <a:gd name="connsiteX0" fmla="*/ 403670 w 1143000"/>
                  <a:gd name="connsiteY0" fmla="*/ 1230535 h 1323975"/>
                  <a:gd name="connsiteX1" fmla="*/ 399860 w 1143000"/>
                  <a:gd name="connsiteY1" fmla="*/ 1311402 h 1323975"/>
                  <a:gd name="connsiteX2" fmla="*/ 318992 w 1143000"/>
                  <a:gd name="connsiteY2" fmla="*/ 1307592 h 1323975"/>
                  <a:gd name="connsiteX3" fmla="*/ 256699 w 1143000"/>
                  <a:gd name="connsiteY3" fmla="*/ 1245108 h 1323975"/>
                  <a:gd name="connsiteX4" fmla="*/ 189928 w 1143000"/>
                  <a:gd name="connsiteY4" fmla="*/ 1178624 h 1323975"/>
                  <a:gd name="connsiteX5" fmla="*/ 48958 w 1143000"/>
                  <a:gd name="connsiteY5" fmla="*/ 957072 h 1323975"/>
                  <a:gd name="connsiteX6" fmla="*/ 0 w 1143000"/>
                  <a:gd name="connsiteY6" fmla="*/ 699611 h 1323975"/>
                  <a:gd name="connsiteX7" fmla="*/ 204883 w 1143000"/>
                  <a:gd name="connsiteY7" fmla="*/ 204978 h 1323975"/>
                  <a:gd name="connsiteX8" fmla="*/ 699516 w 1143000"/>
                  <a:gd name="connsiteY8" fmla="*/ 0 h 1323975"/>
                  <a:gd name="connsiteX9" fmla="*/ 926497 w 1143000"/>
                  <a:gd name="connsiteY9" fmla="*/ 37719 h 1323975"/>
                  <a:gd name="connsiteX10" fmla="*/ 1128808 w 1143000"/>
                  <a:gd name="connsiteY10" fmla="*/ 147256 h 1323975"/>
                  <a:gd name="connsiteX11" fmla="*/ 1138904 w 1143000"/>
                  <a:gd name="connsiteY11" fmla="*/ 227648 h 1323975"/>
                  <a:gd name="connsiteX12" fmla="*/ 1058513 w 1143000"/>
                  <a:gd name="connsiteY12" fmla="*/ 237744 h 1323975"/>
                  <a:gd name="connsiteX13" fmla="*/ 889349 w 1143000"/>
                  <a:gd name="connsiteY13" fmla="*/ 146114 h 1323975"/>
                  <a:gd name="connsiteX14" fmla="*/ 699516 w 1143000"/>
                  <a:gd name="connsiteY14" fmla="*/ 114681 h 1323975"/>
                  <a:gd name="connsiteX15" fmla="*/ 285941 w 1143000"/>
                  <a:gd name="connsiteY15" fmla="*/ 285941 h 1323975"/>
                  <a:gd name="connsiteX16" fmla="*/ 114586 w 1143000"/>
                  <a:gd name="connsiteY16" fmla="*/ 699516 h 1323975"/>
                  <a:gd name="connsiteX17" fmla="*/ 155448 w 1143000"/>
                  <a:gd name="connsiteY17" fmla="*/ 914876 h 1323975"/>
                  <a:gd name="connsiteX18" fmla="*/ 273177 w 1143000"/>
                  <a:gd name="connsiteY18" fmla="*/ 1100138 h 1323975"/>
                  <a:gd name="connsiteX19" fmla="*/ 335947 w 1143000"/>
                  <a:gd name="connsiteY19" fmla="*/ 1162622 h 1323975"/>
                  <a:gd name="connsiteX20" fmla="*/ 403670 w 1143000"/>
                  <a:gd name="connsiteY20" fmla="*/ 1230535 h 132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3000" h="1323975">
                    <a:moveTo>
                      <a:pt x="403670" y="1230535"/>
                    </a:moveTo>
                    <a:cubicBezTo>
                      <a:pt x="424910" y="1253871"/>
                      <a:pt x="423196" y="1290161"/>
                      <a:pt x="399860" y="1311402"/>
                    </a:cubicBezTo>
                    <a:cubicBezTo>
                      <a:pt x="376523" y="1332643"/>
                      <a:pt x="340328" y="1330928"/>
                      <a:pt x="318992" y="1307592"/>
                    </a:cubicBezTo>
                    <a:cubicBezTo>
                      <a:pt x="299561" y="1286256"/>
                      <a:pt x="278511" y="1265968"/>
                      <a:pt x="256699" y="1245108"/>
                    </a:cubicBezTo>
                    <a:cubicBezTo>
                      <a:pt x="234887" y="1224153"/>
                      <a:pt x="212408" y="1202627"/>
                      <a:pt x="189928" y="1178624"/>
                    </a:cubicBezTo>
                    <a:cubicBezTo>
                      <a:pt x="129826" y="1114711"/>
                      <a:pt x="81724" y="1039749"/>
                      <a:pt x="48958" y="957072"/>
                    </a:cubicBezTo>
                    <a:cubicBezTo>
                      <a:pt x="17335" y="877348"/>
                      <a:pt x="0" y="790480"/>
                      <a:pt x="0" y="699611"/>
                    </a:cubicBezTo>
                    <a:cubicBezTo>
                      <a:pt x="0" y="506444"/>
                      <a:pt x="78296" y="331565"/>
                      <a:pt x="204883" y="204978"/>
                    </a:cubicBezTo>
                    <a:cubicBezTo>
                      <a:pt x="331470" y="78296"/>
                      <a:pt x="506349" y="0"/>
                      <a:pt x="699516" y="0"/>
                    </a:cubicBezTo>
                    <a:cubicBezTo>
                      <a:pt x="778859" y="0"/>
                      <a:pt x="855250" y="13240"/>
                      <a:pt x="926497" y="37719"/>
                    </a:cubicBezTo>
                    <a:cubicBezTo>
                      <a:pt x="1000315" y="63055"/>
                      <a:pt x="1068515" y="100298"/>
                      <a:pt x="1128808" y="147256"/>
                    </a:cubicBezTo>
                    <a:cubicBezTo>
                      <a:pt x="1153763" y="166688"/>
                      <a:pt x="1158335" y="202692"/>
                      <a:pt x="1138904" y="227648"/>
                    </a:cubicBezTo>
                    <a:cubicBezTo>
                      <a:pt x="1119473" y="252603"/>
                      <a:pt x="1083469" y="257175"/>
                      <a:pt x="1058513" y="237744"/>
                    </a:cubicBezTo>
                    <a:cubicBezTo>
                      <a:pt x="1008031" y="198501"/>
                      <a:pt x="950976" y="167259"/>
                      <a:pt x="889349" y="146114"/>
                    </a:cubicBezTo>
                    <a:cubicBezTo>
                      <a:pt x="829913" y="125730"/>
                      <a:pt x="766096" y="114681"/>
                      <a:pt x="699516" y="114681"/>
                    </a:cubicBezTo>
                    <a:cubicBezTo>
                      <a:pt x="537972" y="114681"/>
                      <a:pt x="391763" y="180118"/>
                      <a:pt x="285941" y="285941"/>
                    </a:cubicBezTo>
                    <a:cubicBezTo>
                      <a:pt x="180118" y="391763"/>
                      <a:pt x="114586" y="538067"/>
                      <a:pt x="114586" y="699516"/>
                    </a:cubicBezTo>
                    <a:cubicBezTo>
                      <a:pt x="114586" y="775621"/>
                      <a:pt x="129064" y="848297"/>
                      <a:pt x="155448" y="914876"/>
                    </a:cubicBezTo>
                    <a:cubicBezTo>
                      <a:pt x="182880" y="984218"/>
                      <a:pt x="223171" y="1046988"/>
                      <a:pt x="273177" y="1100138"/>
                    </a:cubicBezTo>
                    <a:cubicBezTo>
                      <a:pt x="294132" y="1122426"/>
                      <a:pt x="315373" y="1142810"/>
                      <a:pt x="335947" y="1162622"/>
                    </a:cubicBezTo>
                    <a:cubicBezTo>
                      <a:pt x="359759" y="1185482"/>
                      <a:pt x="382714" y="1207484"/>
                      <a:pt x="403670" y="1230535"/>
                    </a:cubicBezTo>
                    <a:close/>
                  </a:path>
                </a:pathLst>
              </a:custGeom>
              <a:solidFill>
                <a:schemeClr val="accent2">
                  <a:lumMod val="60000"/>
                  <a:lumOff val="40000"/>
                </a:schemeClr>
              </a:solidFill>
              <a:ln w="9525" cap="flat">
                <a:noFill/>
                <a:prstDash val="solid"/>
                <a:miter/>
              </a:ln>
            </p:spPr>
            <p:txBody>
              <a:bodyPr rtlCol="0" anchor="ctr"/>
              <a:lstStyle/>
              <a:p>
                <a:endParaRPr lang="en-US">
                  <a:solidFill>
                    <a:prstClr val="black"/>
                  </a:solidFill>
                </a:endParaRPr>
              </a:p>
            </p:txBody>
          </p:sp>
          <p:sp>
            <p:nvSpPr>
              <p:cNvPr id="22" name="Freeform: Shape 21">
                <a:extLst>
                  <a:ext uri="{FF2B5EF4-FFF2-40B4-BE49-F238E27FC236}">
                    <a16:creationId xmlns:a16="http://schemas.microsoft.com/office/drawing/2014/main" id="{9695CA73-A5B8-48CA-8C4C-F593640D8004}"/>
                  </a:ext>
                </a:extLst>
              </p:cNvPr>
              <p:cNvSpPr/>
              <p:nvPr/>
            </p:nvSpPr>
            <p:spPr>
              <a:xfrm>
                <a:off x="-1977250" y="4244720"/>
                <a:ext cx="714375" cy="1114425"/>
              </a:xfrm>
              <a:custGeom>
                <a:avLst/>
                <a:gdLst>
                  <a:gd name="connsiteX0" fmla="*/ 354449 w 714375"/>
                  <a:gd name="connsiteY0" fmla="*/ 122457 h 1114425"/>
                  <a:gd name="connsiteX1" fmla="*/ 347877 w 714375"/>
                  <a:gd name="connsiteY1" fmla="*/ 23873 h 1114425"/>
                  <a:gd name="connsiteX2" fmla="*/ 446461 w 714375"/>
                  <a:gd name="connsiteY2" fmla="*/ 17301 h 1114425"/>
                  <a:gd name="connsiteX3" fmla="*/ 696778 w 714375"/>
                  <a:gd name="connsiteY3" fmla="*/ 421447 h 1114425"/>
                  <a:gd name="connsiteX4" fmla="*/ 650200 w 714375"/>
                  <a:gd name="connsiteY4" fmla="*/ 880647 h 1114425"/>
                  <a:gd name="connsiteX5" fmla="*/ 558475 w 714375"/>
                  <a:gd name="connsiteY5" fmla="*/ 917604 h 1114425"/>
                  <a:gd name="connsiteX6" fmla="*/ 549045 w 714375"/>
                  <a:gd name="connsiteY6" fmla="*/ 912746 h 1114425"/>
                  <a:gd name="connsiteX7" fmla="*/ 493705 w 714375"/>
                  <a:gd name="connsiteY7" fmla="*/ 1072671 h 1114425"/>
                  <a:gd name="connsiteX8" fmla="*/ 401407 w 714375"/>
                  <a:gd name="connsiteY8" fmla="*/ 1108580 h 1114425"/>
                  <a:gd name="connsiteX9" fmla="*/ 365593 w 714375"/>
                  <a:gd name="connsiteY9" fmla="*/ 1016283 h 1114425"/>
                  <a:gd name="connsiteX10" fmla="*/ 418457 w 714375"/>
                  <a:gd name="connsiteY10" fmla="*/ 591468 h 1114425"/>
                  <a:gd name="connsiteX11" fmla="*/ 188524 w 714375"/>
                  <a:gd name="connsiteY11" fmla="*/ 240376 h 1114425"/>
                  <a:gd name="connsiteX12" fmla="*/ 176522 w 714375"/>
                  <a:gd name="connsiteY12" fmla="*/ 142364 h 1114425"/>
                  <a:gd name="connsiteX13" fmla="*/ 274534 w 714375"/>
                  <a:gd name="connsiteY13" fmla="*/ 130363 h 1114425"/>
                  <a:gd name="connsiteX14" fmla="*/ 554855 w 714375"/>
                  <a:gd name="connsiteY14" fmla="*/ 560226 h 1114425"/>
                  <a:gd name="connsiteX15" fmla="*/ 570000 w 714375"/>
                  <a:gd name="connsiteY15" fmla="*/ 653857 h 1114425"/>
                  <a:gd name="connsiteX16" fmla="*/ 560475 w 714375"/>
                  <a:gd name="connsiteY16" fmla="*/ 453070 h 1114425"/>
                  <a:gd name="connsiteX17" fmla="*/ 354449 w 714375"/>
                  <a:gd name="connsiteY17" fmla="*/ 122457 h 1114425"/>
                  <a:gd name="connsiteX18" fmla="*/ 354449 w 714375"/>
                  <a:gd name="connsiteY18" fmla="*/ 122457 h 1114425"/>
                  <a:gd name="connsiteX19" fmla="*/ 100608 w 714375"/>
                  <a:gd name="connsiteY19" fmla="*/ 413922 h 1114425"/>
                  <a:gd name="connsiteX20" fmla="*/ 180904 w 714375"/>
                  <a:gd name="connsiteY20" fmla="*/ 506219 h 1114425"/>
                  <a:gd name="connsiteX21" fmla="*/ 221004 w 714375"/>
                  <a:gd name="connsiteY21" fmla="*/ 665477 h 1114425"/>
                  <a:gd name="connsiteX22" fmla="*/ 147376 w 714375"/>
                  <a:gd name="connsiteY22" fmla="*/ 822544 h 1114425"/>
                  <a:gd name="connsiteX23" fmla="*/ 30123 w 714375"/>
                  <a:gd name="connsiteY23" fmla="*/ 919604 h 1114425"/>
                  <a:gd name="connsiteX24" fmla="*/ 9454 w 714375"/>
                  <a:gd name="connsiteY24" fmla="*/ 1006948 h 1114425"/>
                  <a:gd name="connsiteX25" fmla="*/ 96798 w 714375"/>
                  <a:gd name="connsiteY25" fmla="*/ 1027618 h 1114425"/>
                  <a:gd name="connsiteX26" fmla="*/ 242911 w 714375"/>
                  <a:gd name="connsiteY26" fmla="*/ 906174 h 1114425"/>
                  <a:gd name="connsiteX27" fmla="*/ 347305 w 714375"/>
                  <a:gd name="connsiteY27" fmla="*/ 677955 h 1114425"/>
                  <a:gd name="connsiteX28" fmla="*/ 288822 w 714375"/>
                  <a:gd name="connsiteY28" fmla="*/ 439544 h 1114425"/>
                  <a:gd name="connsiteX29" fmla="*/ 184142 w 714375"/>
                  <a:gd name="connsiteY29" fmla="*/ 318386 h 1114425"/>
                  <a:gd name="connsiteX30" fmla="*/ 94512 w 714375"/>
                  <a:gd name="connsiteY30" fmla="*/ 324387 h 1114425"/>
                  <a:gd name="connsiteX31" fmla="*/ 100608 w 714375"/>
                  <a:gd name="connsiteY31" fmla="*/ 413922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4375" h="1114425">
                    <a:moveTo>
                      <a:pt x="354449" y="122457"/>
                    </a:moveTo>
                    <a:cubicBezTo>
                      <a:pt x="325398" y="97025"/>
                      <a:pt x="322445" y="52924"/>
                      <a:pt x="347877" y="23873"/>
                    </a:cubicBezTo>
                    <a:cubicBezTo>
                      <a:pt x="373309" y="-5178"/>
                      <a:pt x="417409" y="-8131"/>
                      <a:pt x="446461" y="17301"/>
                    </a:cubicBezTo>
                    <a:cubicBezTo>
                      <a:pt x="547616" y="105883"/>
                      <a:pt x="654868" y="244186"/>
                      <a:pt x="696778" y="421447"/>
                    </a:cubicBezTo>
                    <a:cubicBezTo>
                      <a:pt x="728401" y="555082"/>
                      <a:pt x="722971" y="709864"/>
                      <a:pt x="650200" y="880647"/>
                    </a:cubicBezTo>
                    <a:cubicBezTo>
                      <a:pt x="635056" y="916175"/>
                      <a:pt x="594003" y="932749"/>
                      <a:pt x="558475" y="917604"/>
                    </a:cubicBezTo>
                    <a:cubicBezTo>
                      <a:pt x="555141" y="916175"/>
                      <a:pt x="551998" y="914556"/>
                      <a:pt x="549045" y="912746"/>
                    </a:cubicBezTo>
                    <a:cubicBezTo>
                      <a:pt x="536281" y="964372"/>
                      <a:pt x="518089" y="1017712"/>
                      <a:pt x="493705" y="1072671"/>
                    </a:cubicBezTo>
                    <a:cubicBezTo>
                      <a:pt x="478179" y="1108009"/>
                      <a:pt x="436840" y="1124106"/>
                      <a:pt x="401407" y="1108580"/>
                    </a:cubicBezTo>
                    <a:cubicBezTo>
                      <a:pt x="366070" y="1092959"/>
                      <a:pt x="349972" y="1051716"/>
                      <a:pt x="365593" y="1016283"/>
                    </a:cubicBezTo>
                    <a:cubicBezTo>
                      <a:pt x="437317" y="854453"/>
                      <a:pt x="446175" y="711959"/>
                      <a:pt x="418457" y="591468"/>
                    </a:cubicBezTo>
                    <a:cubicBezTo>
                      <a:pt x="383119" y="438211"/>
                      <a:pt x="288441" y="318672"/>
                      <a:pt x="188524" y="240376"/>
                    </a:cubicBezTo>
                    <a:cubicBezTo>
                      <a:pt x="158139" y="216659"/>
                      <a:pt x="152710" y="172749"/>
                      <a:pt x="176522" y="142364"/>
                    </a:cubicBezTo>
                    <a:cubicBezTo>
                      <a:pt x="200239" y="111979"/>
                      <a:pt x="244150" y="106550"/>
                      <a:pt x="274534" y="130363"/>
                    </a:cubicBezTo>
                    <a:cubicBezTo>
                      <a:pt x="396073" y="225613"/>
                      <a:pt x="511326" y="371726"/>
                      <a:pt x="554855" y="560226"/>
                    </a:cubicBezTo>
                    <a:cubicBezTo>
                      <a:pt x="561808" y="590420"/>
                      <a:pt x="566952" y="621662"/>
                      <a:pt x="570000" y="653857"/>
                    </a:cubicBezTo>
                    <a:cubicBezTo>
                      <a:pt x="579715" y="581562"/>
                      <a:pt x="575048" y="514411"/>
                      <a:pt x="560475" y="453070"/>
                    </a:cubicBezTo>
                    <a:cubicBezTo>
                      <a:pt x="526280" y="309052"/>
                      <a:pt x="437888" y="195514"/>
                      <a:pt x="354449" y="122457"/>
                    </a:cubicBezTo>
                    <a:lnTo>
                      <a:pt x="354449" y="122457"/>
                    </a:lnTo>
                    <a:close/>
                    <a:moveTo>
                      <a:pt x="100608" y="413922"/>
                    </a:moveTo>
                    <a:cubicBezTo>
                      <a:pt x="134517" y="443545"/>
                      <a:pt x="161282" y="474501"/>
                      <a:pt x="180904" y="506219"/>
                    </a:cubicBezTo>
                    <a:cubicBezTo>
                      <a:pt x="213098" y="558226"/>
                      <a:pt x="226338" y="612518"/>
                      <a:pt x="221004" y="665477"/>
                    </a:cubicBezTo>
                    <a:cubicBezTo>
                      <a:pt x="215575" y="719103"/>
                      <a:pt x="190905" y="772729"/>
                      <a:pt x="147376" y="822544"/>
                    </a:cubicBezTo>
                    <a:cubicBezTo>
                      <a:pt x="117181" y="857215"/>
                      <a:pt x="78034" y="889981"/>
                      <a:pt x="30123" y="919604"/>
                    </a:cubicBezTo>
                    <a:cubicBezTo>
                      <a:pt x="310" y="937988"/>
                      <a:pt x="-8930" y="977135"/>
                      <a:pt x="9454" y="1006948"/>
                    </a:cubicBezTo>
                    <a:cubicBezTo>
                      <a:pt x="27837" y="1036762"/>
                      <a:pt x="66985" y="1046001"/>
                      <a:pt x="96798" y="1027618"/>
                    </a:cubicBezTo>
                    <a:cubicBezTo>
                      <a:pt x="155853" y="991042"/>
                      <a:pt x="204621" y="950084"/>
                      <a:pt x="242911" y="906174"/>
                    </a:cubicBezTo>
                    <a:cubicBezTo>
                      <a:pt x="304252" y="835879"/>
                      <a:pt x="339304" y="757870"/>
                      <a:pt x="347305" y="677955"/>
                    </a:cubicBezTo>
                    <a:cubicBezTo>
                      <a:pt x="355497" y="597278"/>
                      <a:pt x="336161" y="515935"/>
                      <a:pt x="288822" y="439544"/>
                    </a:cubicBezTo>
                    <a:cubicBezTo>
                      <a:pt x="262533" y="397063"/>
                      <a:pt x="227671" y="356296"/>
                      <a:pt x="184142" y="318386"/>
                    </a:cubicBezTo>
                    <a:cubicBezTo>
                      <a:pt x="157758" y="295336"/>
                      <a:pt x="117658" y="298003"/>
                      <a:pt x="94512" y="324387"/>
                    </a:cubicBezTo>
                    <a:cubicBezTo>
                      <a:pt x="71557" y="350771"/>
                      <a:pt x="74224" y="390871"/>
                      <a:pt x="100608" y="413922"/>
                    </a:cubicBezTo>
                    <a:close/>
                  </a:path>
                </a:pathLst>
              </a:custGeom>
              <a:solidFill>
                <a:srgbClr val="0095DA"/>
              </a:solidFill>
              <a:ln w="9525" cap="flat">
                <a:noFill/>
                <a:prstDash val="solid"/>
                <a:miter/>
              </a:ln>
            </p:spPr>
            <p:txBody>
              <a:bodyPr rtlCol="0" anchor="ctr"/>
              <a:lstStyle/>
              <a:p>
                <a:endParaRPr lang="en-US">
                  <a:solidFill>
                    <a:prstClr val="black"/>
                  </a:solidFill>
                </a:endParaRPr>
              </a:p>
            </p:txBody>
          </p:sp>
          <p:sp>
            <p:nvSpPr>
              <p:cNvPr id="23" name="Freeform: Shape 22">
                <a:extLst>
                  <a:ext uri="{FF2B5EF4-FFF2-40B4-BE49-F238E27FC236}">
                    <a16:creationId xmlns:a16="http://schemas.microsoft.com/office/drawing/2014/main" id="{D486699D-65AC-477D-B2BD-E0B5018FF174}"/>
                  </a:ext>
                </a:extLst>
              </p:cNvPr>
              <p:cNvSpPr/>
              <p:nvPr/>
            </p:nvSpPr>
            <p:spPr>
              <a:xfrm>
                <a:off x="-2092359" y="4280615"/>
                <a:ext cx="981075" cy="1381125"/>
              </a:xfrm>
              <a:custGeom>
                <a:avLst/>
                <a:gdLst>
                  <a:gd name="connsiteX0" fmla="*/ 578619 w 981075"/>
                  <a:gd name="connsiteY0" fmla="*/ 1386153 h 1381125"/>
                  <a:gd name="connsiteX1" fmla="*/ 717017 w 981075"/>
                  <a:gd name="connsiteY1" fmla="*/ 1016202 h 1381125"/>
                  <a:gd name="connsiteX2" fmla="*/ 874466 w 981075"/>
                  <a:gd name="connsiteY2" fmla="*/ 62559 h 1381125"/>
                  <a:gd name="connsiteX3" fmla="*/ 738734 w 981075"/>
                  <a:gd name="connsiteY3" fmla="*/ 119614 h 1381125"/>
                  <a:gd name="connsiteX4" fmla="*/ 599955 w 981075"/>
                  <a:gd name="connsiteY4" fmla="*/ 766742 h 1381125"/>
                  <a:gd name="connsiteX5" fmla="*/ 710159 w 981075"/>
                  <a:gd name="connsiteY5" fmla="*/ 233056 h 1381125"/>
                  <a:gd name="connsiteX6" fmla="*/ 446984 w 981075"/>
                  <a:gd name="connsiteY6" fmla="*/ 373264 h 1381125"/>
                  <a:gd name="connsiteX7" fmla="*/ 250673 w 981075"/>
                  <a:gd name="connsiteY7" fmla="*/ 800080 h 1381125"/>
                  <a:gd name="connsiteX8" fmla="*/ 3023 w 981075"/>
                  <a:gd name="connsiteY8" fmla="*/ 1341385 h 1381125"/>
                  <a:gd name="connsiteX9" fmla="*/ 3023 w 981075"/>
                  <a:gd name="connsiteY9" fmla="*/ 1386343 h 1381125"/>
                  <a:gd name="connsiteX10" fmla="*/ 578619 w 981075"/>
                  <a:gd name="connsiteY10" fmla="*/ 1386343 h 138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1075" h="1381125">
                    <a:moveTo>
                      <a:pt x="578619" y="1386153"/>
                    </a:moveTo>
                    <a:cubicBezTo>
                      <a:pt x="579667" y="1246707"/>
                      <a:pt x="595097" y="1128787"/>
                      <a:pt x="717017" y="1016202"/>
                    </a:cubicBezTo>
                    <a:cubicBezTo>
                      <a:pt x="976574" y="776553"/>
                      <a:pt x="1094684" y="410793"/>
                      <a:pt x="874466" y="62559"/>
                    </a:cubicBezTo>
                    <a:cubicBezTo>
                      <a:pt x="809410" y="-40311"/>
                      <a:pt x="661868" y="-12879"/>
                      <a:pt x="738734" y="119614"/>
                    </a:cubicBezTo>
                    <a:cubicBezTo>
                      <a:pt x="990766" y="553668"/>
                      <a:pt x="661010" y="788078"/>
                      <a:pt x="599955" y="766742"/>
                    </a:cubicBezTo>
                    <a:cubicBezTo>
                      <a:pt x="501181" y="732166"/>
                      <a:pt x="588811" y="399172"/>
                      <a:pt x="710159" y="233056"/>
                    </a:cubicBezTo>
                    <a:cubicBezTo>
                      <a:pt x="642151" y="207244"/>
                      <a:pt x="507372" y="220674"/>
                      <a:pt x="446984" y="373264"/>
                    </a:cubicBezTo>
                    <a:cubicBezTo>
                      <a:pt x="364402" y="582243"/>
                      <a:pt x="424600" y="671778"/>
                      <a:pt x="250673" y="800080"/>
                    </a:cubicBezTo>
                    <a:cubicBezTo>
                      <a:pt x="127134" y="891234"/>
                      <a:pt x="-23266" y="961719"/>
                      <a:pt x="3023" y="1341385"/>
                    </a:cubicBezTo>
                    <a:lnTo>
                      <a:pt x="3023" y="1386343"/>
                    </a:lnTo>
                    <a:lnTo>
                      <a:pt x="578619" y="1386343"/>
                    </a:lnTo>
                    <a:close/>
                  </a:path>
                </a:pathLst>
              </a:custGeom>
              <a:solidFill>
                <a:schemeClr val="accent2">
                  <a:lumMod val="60000"/>
                  <a:lumOff val="40000"/>
                </a:schemeClr>
              </a:solidFill>
              <a:ln w="9525" cap="flat">
                <a:noFill/>
                <a:prstDash val="solid"/>
                <a:miter/>
              </a:ln>
            </p:spPr>
            <p:txBody>
              <a:bodyPr rtlCol="0" anchor="ctr"/>
              <a:lstStyle/>
              <a:p>
                <a:endParaRPr lang="en-US">
                  <a:solidFill>
                    <a:prstClr val="black"/>
                  </a:solidFill>
                </a:endParaRPr>
              </a:p>
            </p:txBody>
          </p:sp>
          <p:sp>
            <p:nvSpPr>
              <p:cNvPr id="24" name="Freeform: Shape 23">
                <a:extLst>
                  <a:ext uri="{FF2B5EF4-FFF2-40B4-BE49-F238E27FC236}">
                    <a16:creationId xmlns:a16="http://schemas.microsoft.com/office/drawing/2014/main" id="{36600F86-E83F-4ECE-9E0D-438726AAB62A}"/>
                  </a:ext>
                </a:extLst>
              </p:cNvPr>
              <p:cNvSpPr/>
              <p:nvPr/>
            </p:nvSpPr>
            <p:spPr>
              <a:xfrm>
                <a:off x="-2116197" y="5700962"/>
                <a:ext cx="628650" cy="361950"/>
              </a:xfrm>
              <a:custGeom>
                <a:avLst/>
                <a:gdLst>
                  <a:gd name="connsiteX0" fmla="*/ 51149 w 628650"/>
                  <a:gd name="connsiteY0" fmla="*/ 235744 h 361950"/>
                  <a:gd name="connsiteX1" fmla="*/ 578739 w 628650"/>
                  <a:gd name="connsiteY1" fmla="*/ 235744 h 361950"/>
                  <a:gd name="connsiteX2" fmla="*/ 629889 w 628650"/>
                  <a:gd name="connsiteY2" fmla="*/ 184595 h 361950"/>
                  <a:gd name="connsiteX3" fmla="*/ 629889 w 628650"/>
                  <a:gd name="connsiteY3" fmla="*/ 184595 h 361950"/>
                  <a:gd name="connsiteX4" fmla="*/ 578739 w 628650"/>
                  <a:gd name="connsiteY4" fmla="*/ 133445 h 361950"/>
                  <a:gd name="connsiteX5" fmla="*/ 51149 w 628650"/>
                  <a:gd name="connsiteY5" fmla="*/ 133445 h 361950"/>
                  <a:gd name="connsiteX6" fmla="*/ 0 w 628650"/>
                  <a:gd name="connsiteY6" fmla="*/ 184595 h 361950"/>
                  <a:gd name="connsiteX7" fmla="*/ 0 w 628650"/>
                  <a:gd name="connsiteY7" fmla="*/ 184595 h 361950"/>
                  <a:gd name="connsiteX8" fmla="*/ 51149 w 628650"/>
                  <a:gd name="connsiteY8" fmla="*/ 235744 h 361950"/>
                  <a:gd name="connsiteX9" fmla="*/ 51149 w 628650"/>
                  <a:gd name="connsiteY9" fmla="*/ 235744 h 361950"/>
                  <a:gd name="connsiteX10" fmla="*/ 51149 w 628650"/>
                  <a:gd name="connsiteY10" fmla="*/ 102299 h 361950"/>
                  <a:gd name="connsiteX11" fmla="*/ 578739 w 628650"/>
                  <a:gd name="connsiteY11" fmla="*/ 102299 h 361950"/>
                  <a:gd name="connsiteX12" fmla="*/ 629889 w 628650"/>
                  <a:gd name="connsiteY12" fmla="*/ 51149 h 361950"/>
                  <a:gd name="connsiteX13" fmla="*/ 629889 w 628650"/>
                  <a:gd name="connsiteY13" fmla="*/ 51149 h 361950"/>
                  <a:gd name="connsiteX14" fmla="*/ 578739 w 628650"/>
                  <a:gd name="connsiteY14" fmla="*/ 0 h 361950"/>
                  <a:gd name="connsiteX15" fmla="*/ 51149 w 628650"/>
                  <a:gd name="connsiteY15" fmla="*/ 0 h 361950"/>
                  <a:gd name="connsiteX16" fmla="*/ 0 w 628650"/>
                  <a:gd name="connsiteY16" fmla="*/ 51149 h 361950"/>
                  <a:gd name="connsiteX17" fmla="*/ 0 w 628650"/>
                  <a:gd name="connsiteY17" fmla="*/ 51149 h 361950"/>
                  <a:gd name="connsiteX18" fmla="*/ 51149 w 628650"/>
                  <a:gd name="connsiteY18" fmla="*/ 102299 h 361950"/>
                  <a:gd name="connsiteX19" fmla="*/ 51149 w 628650"/>
                  <a:gd name="connsiteY19" fmla="*/ 102299 h 361950"/>
                  <a:gd name="connsiteX20" fmla="*/ 188310 w 628650"/>
                  <a:gd name="connsiteY20" fmla="*/ 264224 h 361950"/>
                  <a:gd name="connsiteX21" fmla="*/ 441103 w 628650"/>
                  <a:gd name="connsiteY21" fmla="*/ 264224 h 361950"/>
                  <a:gd name="connsiteX22" fmla="*/ 492252 w 628650"/>
                  <a:gd name="connsiteY22" fmla="*/ 315373 h 361950"/>
                  <a:gd name="connsiteX23" fmla="*/ 492252 w 628650"/>
                  <a:gd name="connsiteY23" fmla="*/ 315373 h 361950"/>
                  <a:gd name="connsiteX24" fmla="*/ 441103 w 628650"/>
                  <a:gd name="connsiteY24" fmla="*/ 366522 h 361950"/>
                  <a:gd name="connsiteX25" fmla="*/ 188310 w 628650"/>
                  <a:gd name="connsiteY25" fmla="*/ 366522 h 361950"/>
                  <a:gd name="connsiteX26" fmla="*/ 137160 w 628650"/>
                  <a:gd name="connsiteY26" fmla="*/ 315373 h 361950"/>
                  <a:gd name="connsiteX27" fmla="*/ 137160 w 628650"/>
                  <a:gd name="connsiteY27" fmla="*/ 315373 h 361950"/>
                  <a:gd name="connsiteX28" fmla="*/ 188310 w 628650"/>
                  <a:gd name="connsiteY28" fmla="*/ 264224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8650" h="361950">
                    <a:moveTo>
                      <a:pt x="51149" y="235744"/>
                    </a:moveTo>
                    <a:lnTo>
                      <a:pt x="578739" y="235744"/>
                    </a:lnTo>
                    <a:cubicBezTo>
                      <a:pt x="606933" y="235744"/>
                      <a:pt x="629889" y="212693"/>
                      <a:pt x="629889" y="184595"/>
                    </a:cubicBezTo>
                    <a:lnTo>
                      <a:pt x="629889" y="184595"/>
                    </a:lnTo>
                    <a:cubicBezTo>
                      <a:pt x="629889" y="156401"/>
                      <a:pt x="606838" y="133445"/>
                      <a:pt x="578739" y="133445"/>
                    </a:cubicBezTo>
                    <a:lnTo>
                      <a:pt x="51149" y="133445"/>
                    </a:lnTo>
                    <a:cubicBezTo>
                      <a:pt x="22956" y="133445"/>
                      <a:pt x="0" y="156496"/>
                      <a:pt x="0" y="184595"/>
                    </a:cubicBezTo>
                    <a:lnTo>
                      <a:pt x="0" y="184595"/>
                    </a:lnTo>
                    <a:cubicBezTo>
                      <a:pt x="-95" y="212693"/>
                      <a:pt x="22956" y="235744"/>
                      <a:pt x="51149" y="235744"/>
                    </a:cubicBezTo>
                    <a:lnTo>
                      <a:pt x="51149" y="235744"/>
                    </a:lnTo>
                    <a:close/>
                    <a:moveTo>
                      <a:pt x="51149" y="102299"/>
                    </a:moveTo>
                    <a:lnTo>
                      <a:pt x="578739" y="102299"/>
                    </a:lnTo>
                    <a:cubicBezTo>
                      <a:pt x="606933" y="102299"/>
                      <a:pt x="629889" y="79248"/>
                      <a:pt x="629889" y="51149"/>
                    </a:cubicBezTo>
                    <a:lnTo>
                      <a:pt x="629889" y="51149"/>
                    </a:lnTo>
                    <a:cubicBezTo>
                      <a:pt x="629889" y="22955"/>
                      <a:pt x="606838" y="0"/>
                      <a:pt x="578739" y="0"/>
                    </a:cubicBezTo>
                    <a:lnTo>
                      <a:pt x="51149" y="0"/>
                    </a:lnTo>
                    <a:cubicBezTo>
                      <a:pt x="22956" y="0"/>
                      <a:pt x="0" y="23051"/>
                      <a:pt x="0" y="51149"/>
                    </a:cubicBezTo>
                    <a:lnTo>
                      <a:pt x="0" y="51149"/>
                    </a:lnTo>
                    <a:cubicBezTo>
                      <a:pt x="-95" y="79248"/>
                      <a:pt x="22956" y="102299"/>
                      <a:pt x="51149" y="102299"/>
                    </a:cubicBezTo>
                    <a:lnTo>
                      <a:pt x="51149" y="102299"/>
                    </a:lnTo>
                    <a:close/>
                    <a:moveTo>
                      <a:pt x="188310" y="264224"/>
                    </a:moveTo>
                    <a:lnTo>
                      <a:pt x="441103" y="264224"/>
                    </a:lnTo>
                    <a:cubicBezTo>
                      <a:pt x="469202" y="264224"/>
                      <a:pt x="492252" y="287274"/>
                      <a:pt x="492252" y="315373"/>
                    </a:cubicBezTo>
                    <a:lnTo>
                      <a:pt x="492252" y="315373"/>
                    </a:lnTo>
                    <a:cubicBezTo>
                      <a:pt x="492252" y="343567"/>
                      <a:pt x="469202" y="366522"/>
                      <a:pt x="441103" y="366522"/>
                    </a:cubicBezTo>
                    <a:lnTo>
                      <a:pt x="188310" y="366522"/>
                    </a:lnTo>
                    <a:cubicBezTo>
                      <a:pt x="160116" y="366522"/>
                      <a:pt x="137160" y="343472"/>
                      <a:pt x="137160" y="315373"/>
                    </a:cubicBezTo>
                    <a:lnTo>
                      <a:pt x="137160" y="315373"/>
                    </a:lnTo>
                    <a:cubicBezTo>
                      <a:pt x="137160" y="287179"/>
                      <a:pt x="160211" y="264224"/>
                      <a:pt x="188310" y="264224"/>
                    </a:cubicBezTo>
                    <a:close/>
                  </a:path>
                </a:pathLst>
              </a:custGeom>
              <a:solidFill>
                <a:schemeClr val="accent2">
                  <a:lumMod val="60000"/>
                  <a:lumOff val="40000"/>
                </a:schemeClr>
              </a:solidFill>
              <a:ln w="9525" cap="flat">
                <a:noFill/>
                <a:prstDash val="solid"/>
                <a:miter/>
              </a:ln>
            </p:spPr>
            <p:txBody>
              <a:bodyPr rtlCol="0" anchor="ctr"/>
              <a:lstStyle/>
              <a:p>
                <a:endParaRPr lang="en-US">
                  <a:solidFill>
                    <a:prstClr val="black"/>
                  </a:solidFill>
                </a:endParaRPr>
              </a:p>
            </p:txBody>
          </p:sp>
          <p:sp>
            <p:nvSpPr>
              <p:cNvPr id="25" name="Freeform: Shape 24">
                <a:extLst>
                  <a:ext uri="{FF2B5EF4-FFF2-40B4-BE49-F238E27FC236}">
                    <a16:creationId xmlns:a16="http://schemas.microsoft.com/office/drawing/2014/main" id="{CC089E10-BCD6-40C5-BDE1-2B716DCBC367}"/>
                  </a:ext>
                </a:extLst>
              </p:cNvPr>
              <p:cNvSpPr/>
              <p:nvPr/>
            </p:nvSpPr>
            <p:spPr>
              <a:xfrm>
                <a:off x="-2832000" y="3717015"/>
                <a:ext cx="2057400" cy="1905000"/>
              </a:xfrm>
              <a:custGeom>
                <a:avLst/>
                <a:gdLst>
                  <a:gd name="connsiteX0" fmla="*/ 1868710 w 2057400"/>
                  <a:gd name="connsiteY0" fmla="*/ 1038591 h 1905000"/>
                  <a:gd name="connsiteX1" fmla="*/ 1845088 w 2057400"/>
                  <a:gd name="connsiteY1" fmla="*/ 1014969 h 1905000"/>
                  <a:gd name="connsiteX2" fmla="*/ 1868710 w 2057400"/>
                  <a:gd name="connsiteY2" fmla="*/ 991347 h 1905000"/>
                  <a:gd name="connsiteX3" fmla="*/ 2037017 w 2057400"/>
                  <a:gd name="connsiteY3" fmla="*/ 991347 h 1905000"/>
                  <a:gd name="connsiteX4" fmla="*/ 2060639 w 2057400"/>
                  <a:gd name="connsiteY4" fmla="*/ 1014969 h 1905000"/>
                  <a:gd name="connsiteX5" fmla="*/ 2037017 w 2057400"/>
                  <a:gd name="connsiteY5" fmla="*/ 1038591 h 1905000"/>
                  <a:gd name="connsiteX6" fmla="*/ 1868710 w 2057400"/>
                  <a:gd name="connsiteY6" fmla="*/ 1038591 h 1905000"/>
                  <a:gd name="connsiteX7" fmla="*/ 1868710 w 2057400"/>
                  <a:gd name="connsiteY7" fmla="*/ 1038591 h 1905000"/>
                  <a:gd name="connsiteX8" fmla="*/ 23622 w 2057400"/>
                  <a:gd name="connsiteY8" fmla="*/ 1038591 h 1905000"/>
                  <a:gd name="connsiteX9" fmla="*/ 0 w 2057400"/>
                  <a:gd name="connsiteY9" fmla="*/ 1014969 h 1905000"/>
                  <a:gd name="connsiteX10" fmla="*/ 23622 w 2057400"/>
                  <a:gd name="connsiteY10" fmla="*/ 991347 h 1905000"/>
                  <a:gd name="connsiteX11" fmla="*/ 191929 w 2057400"/>
                  <a:gd name="connsiteY11" fmla="*/ 991347 h 1905000"/>
                  <a:gd name="connsiteX12" fmla="*/ 215551 w 2057400"/>
                  <a:gd name="connsiteY12" fmla="*/ 1014969 h 1905000"/>
                  <a:gd name="connsiteX13" fmla="*/ 191929 w 2057400"/>
                  <a:gd name="connsiteY13" fmla="*/ 1038591 h 1905000"/>
                  <a:gd name="connsiteX14" fmla="*/ 23622 w 2057400"/>
                  <a:gd name="connsiteY14" fmla="*/ 1038591 h 1905000"/>
                  <a:gd name="connsiteX15" fmla="*/ 23622 w 2057400"/>
                  <a:gd name="connsiteY15" fmla="*/ 1038591 h 1905000"/>
                  <a:gd name="connsiteX16" fmla="*/ 1826324 w 2057400"/>
                  <a:gd name="connsiteY16" fmla="*/ 750364 h 1905000"/>
                  <a:gd name="connsiteX17" fmla="*/ 1796129 w 2057400"/>
                  <a:gd name="connsiteY17" fmla="*/ 736267 h 1905000"/>
                  <a:gd name="connsiteX18" fmla="*/ 1810226 w 2057400"/>
                  <a:gd name="connsiteY18" fmla="*/ 706073 h 1905000"/>
                  <a:gd name="connsiteX19" fmla="*/ 1968246 w 2057400"/>
                  <a:gd name="connsiteY19" fmla="*/ 648542 h 1905000"/>
                  <a:gd name="connsiteX20" fmla="*/ 1998440 w 2057400"/>
                  <a:gd name="connsiteY20" fmla="*/ 662639 h 1905000"/>
                  <a:gd name="connsiteX21" fmla="*/ 1984343 w 2057400"/>
                  <a:gd name="connsiteY21" fmla="*/ 692833 h 1905000"/>
                  <a:gd name="connsiteX22" fmla="*/ 1826324 w 2057400"/>
                  <a:gd name="connsiteY22" fmla="*/ 750364 h 1905000"/>
                  <a:gd name="connsiteX23" fmla="*/ 1826324 w 2057400"/>
                  <a:gd name="connsiteY23" fmla="*/ 750364 h 1905000"/>
                  <a:gd name="connsiteX24" fmla="*/ 92393 w 2057400"/>
                  <a:gd name="connsiteY24" fmla="*/ 1381491 h 1905000"/>
                  <a:gd name="connsiteX25" fmla="*/ 62198 w 2057400"/>
                  <a:gd name="connsiteY25" fmla="*/ 1367394 h 1905000"/>
                  <a:gd name="connsiteX26" fmla="*/ 76295 w 2057400"/>
                  <a:gd name="connsiteY26" fmla="*/ 1337200 h 1905000"/>
                  <a:gd name="connsiteX27" fmla="*/ 234315 w 2057400"/>
                  <a:gd name="connsiteY27" fmla="*/ 1279669 h 1905000"/>
                  <a:gd name="connsiteX28" fmla="*/ 264509 w 2057400"/>
                  <a:gd name="connsiteY28" fmla="*/ 1293766 h 1905000"/>
                  <a:gd name="connsiteX29" fmla="*/ 250412 w 2057400"/>
                  <a:gd name="connsiteY29" fmla="*/ 1323960 h 1905000"/>
                  <a:gd name="connsiteX30" fmla="*/ 92393 w 2057400"/>
                  <a:gd name="connsiteY30" fmla="*/ 1381491 h 1905000"/>
                  <a:gd name="connsiteX31" fmla="*/ 92393 w 2057400"/>
                  <a:gd name="connsiteY31" fmla="*/ 1381491 h 1905000"/>
                  <a:gd name="connsiteX32" fmla="*/ 1687639 w 2057400"/>
                  <a:gd name="connsiteY32" fmla="*/ 494237 h 1905000"/>
                  <a:gd name="connsiteX33" fmla="*/ 1654397 w 2057400"/>
                  <a:gd name="connsiteY33" fmla="*/ 491284 h 1905000"/>
                  <a:gd name="connsiteX34" fmla="*/ 1657350 w 2057400"/>
                  <a:gd name="connsiteY34" fmla="*/ 458042 h 1905000"/>
                  <a:gd name="connsiteX35" fmla="*/ 1786318 w 2057400"/>
                  <a:gd name="connsiteY35" fmla="*/ 349838 h 1905000"/>
                  <a:gd name="connsiteX36" fmla="*/ 1819561 w 2057400"/>
                  <a:gd name="connsiteY36" fmla="*/ 352791 h 1905000"/>
                  <a:gd name="connsiteX37" fmla="*/ 1816608 w 2057400"/>
                  <a:gd name="connsiteY37" fmla="*/ 386033 h 1905000"/>
                  <a:gd name="connsiteX38" fmla="*/ 1687639 w 2057400"/>
                  <a:gd name="connsiteY38" fmla="*/ 494237 h 1905000"/>
                  <a:gd name="connsiteX39" fmla="*/ 1687639 w 2057400"/>
                  <a:gd name="connsiteY39" fmla="*/ 494237 h 1905000"/>
                  <a:gd name="connsiteX40" fmla="*/ 274320 w 2057400"/>
                  <a:gd name="connsiteY40" fmla="*/ 1680195 h 1905000"/>
                  <a:gd name="connsiteX41" fmla="*/ 241078 w 2057400"/>
                  <a:gd name="connsiteY41" fmla="*/ 1677242 h 1905000"/>
                  <a:gd name="connsiteX42" fmla="*/ 244031 w 2057400"/>
                  <a:gd name="connsiteY42" fmla="*/ 1644000 h 1905000"/>
                  <a:gd name="connsiteX43" fmla="*/ 372999 w 2057400"/>
                  <a:gd name="connsiteY43" fmla="*/ 1535796 h 1905000"/>
                  <a:gd name="connsiteX44" fmla="*/ 406241 w 2057400"/>
                  <a:gd name="connsiteY44" fmla="*/ 1538749 h 1905000"/>
                  <a:gd name="connsiteX45" fmla="*/ 403289 w 2057400"/>
                  <a:gd name="connsiteY45" fmla="*/ 1571991 h 1905000"/>
                  <a:gd name="connsiteX46" fmla="*/ 274320 w 2057400"/>
                  <a:gd name="connsiteY46" fmla="*/ 1680195 h 1905000"/>
                  <a:gd name="connsiteX47" fmla="*/ 274320 w 2057400"/>
                  <a:gd name="connsiteY47" fmla="*/ 1680195 h 1905000"/>
                  <a:gd name="connsiteX48" fmla="*/ 1469993 w 2057400"/>
                  <a:gd name="connsiteY48" fmla="*/ 300689 h 1905000"/>
                  <a:gd name="connsiteX49" fmla="*/ 1437799 w 2057400"/>
                  <a:gd name="connsiteY49" fmla="*/ 309262 h 1905000"/>
                  <a:gd name="connsiteX50" fmla="*/ 1429226 w 2057400"/>
                  <a:gd name="connsiteY50" fmla="*/ 277067 h 1905000"/>
                  <a:gd name="connsiteX51" fmla="*/ 1513332 w 2057400"/>
                  <a:gd name="connsiteY51" fmla="*/ 131335 h 1905000"/>
                  <a:gd name="connsiteX52" fmla="*/ 1545527 w 2057400"/>
                  <a:gd name="connsiteY52" fmla="*/ 122762 h 1905000"/>
                  <a:gd name="connsiteX53" fmla="*/ 1554099 w 2057400"/>
                  <a:gd name="connsiteY53" fmla="*/ 154957 h 1905000"/>
                  <a:gd name="connsiteX54" fmla="*/ 1469993 w 2057400"/>
                  <a:gd name="connsiteY54" fmla="*/ 300689 h 1905000"/>
                  <a:gd name="connsiteX55" fmla="*/ 1469993 w 2057400"/>
                  <a:gd name="connsiteY55" fmla="*/ 300689 h 1905000"/>
                  <a:gd name="connsiteX56" fmla="*/ 547402 w 2057400"/>
                  <a:gd name="connsiteY56" fmla="*/ 1898698 h 1905000"/>
                  <a:gd name="connsiteX57" fmla="*/ 515207 w 2057400"/>
                  <a:gd name="connsiteY57" fmla="*/ 1907271 h 1905000"/>
                  <a:gd name="connsiteX58" fmla="*/ 506635 w 2057400"/>
                  <a:gd name="connsiteY58" fmla="*/ 1875076 h 1905000"/>
                  <a:gd name="connsiteX59" fmla="*/ 590741 w 2057400"/>
                  <a:gd name="connsiteY59" fmla="*/ 1729439 h 1905000"/>
                  <a:gd name="connsiteX60" fmla="*/ 622935 w 2057400"/>
                  <a:gd name="connsiteY60" fmla="*/ 1720867 h 1905000"/>
                  <a:gd name="connsiteX61" fmla="*/ 631508 w 2057400"/>
                  <a:gd name="connsiteY61" fmla="*/ 1753061 h 1905000"/>
                  <a:gd name="connsiteX62" fmla="*/ 547402 w 2057400"/>
                  <a:gd name="connsiteY62" fmla="*/ 1898698 h 1905000"/>
                  <a:gd name="connsiteX63" fmla="*/ 547402 w 2057400"/>
                  <a:gd name="connsiteY63" fmla="*/ 1898698 h 1905000"/>
                  <a:gd name="connsiteX64" fmla="*/ 1199198 w 2057400"/>
                  <a:gd name="connsiteY64" fmla="*/ 193342 h 1905000"/>
                  <a:gd name="connsiteX65" fmla="*/ 1171861 w 2057400"/>
                  <a:gd name="connsiteY65" fmla="*/ 212583 h 1905000"/>
                  <a:gd name="connsiteX66" fmla="*/ 1152716 w 2057400"/>
                  <a:gd name="connsiteY66" fmla="*/ 185246 h 1905000"/>
                  <a:gd name="connsiteX67" fmla="*/ 1181957 w 2057400"/>
                  <a:gd name="connsiteY67" fmla="*/ 19606 h 1905000"/>
                  <a:gd name="connsiteX68" fmla="*/ 1209294 w 2057400"/>
                  <a:gd name="connsiteY68" fmla="*/ 366 h 1905000"/>
                  <a:gd name="connsiteX69" fmla="*/ 1228439 w 2057400"/>
                  <a:gd name="connsiteY69" fmla="*/ 27703 h 1905000"/>
                  <a:gd name="connsiteX70" fmla="*/ 1199198 w 2057400"/>
                  <a:gd name="connsiteY70" fmla="*/ 193342 h 1905000"/>
                  <a:gd name="connsiteX71" fmla="*/ 1199198 w 2057400"/>
                  <a:gd name="connsiteY71" fmla="*/ 193342 h 1905000"/>
                  <a:gd name="connsiteX72" fmla="*/ 908018 w 2057400"/>
                  <a:gd name="connsiteY72" fmla="*/ 185246 h 1905000"/>
                  <a:gd name="connsiteX73" fmla="*/ 888778 w 2057400"/>
                  <a:gd name="connsiteY73" fmla="*/ 212583 h 1905000"/>
                  <a:gd name="connsiteX74" fmla="*/ 861441 w 2057400"/>
                  <a:gd name="connsiteY74" fmla="*/ 193342 h 1905000"/>
                  <a:gd name="connsiteX75" fmla="*/ 832295 w 2057400"/>
                  <a:gd name="connsiteY75" fmla="*/ 27703 h 1905000"/>
                  <a:gd name="connsiteX76" fmla="*/ 851535 w 2057400"/>
                  <a:gd name="connsiteY76" fmla="*/ 366 h 1905000"/>
                  <a:gd name="connsiteX77" fmla="*/ 878872 w 2057400"/>
                  <a:gd name="connsiteY77" fmla="*/ 19606 h 1905000"/>
                  <a:gd name="connsiteX78" fmla="*/ 908018 w 2057400"/>
                  <a:gd name="connsiteY78" fmla="*/ 185246 h 1905000"/>
                  <a:gd name="connsiteX79" fmla="*/ 908018 w 2057400"/>
                  <a:gd name="connsiteY79" fmla="*/ 185246 h 1905000"/>
                  <a:gd name="connsiteX80" fmla="*/ 631508 w 2057400"/>
                  <a:gd name="connsiteY80" fmla="*/ 277162 h 1905000"/>
                  <a:gd name="connsiteX81" fmla="*/ 622840 w 2057400"/>
                  <a:gd name="connsiteY81" fmla="*/ 309262 h 1905000"/>
                  <a:gd name="connsiteX82" fmla="*/ 590741 w 2057400"/>
                  <a:gd name="connsiteY82" fmla="*/ 300594 h 1905000"/>
                  <a:gd name="connsiteX83" fmla="*/ 506635 w 2057400"/>
                  <a:gd name="connsiteY83" fmla="*/ 154861 h 1905000"/>
                  <a:gd name="connsiteX84" fmla="*/ 515303 w 2057400"/>
                  <a:gd name="connsiteY84" fmla="*/ 122762 h 1905000"/>
                  <a:gd name="connsiteX85" fmla="*/ 547402 w 2057400"/>
                  <a:gd name="connsiteY85" fmla="*/ 131430 h 1905000"/>
                  <a:gd name="connsiteX86" fmla="*/ 631508 w 2057400"/>
                  <a:gd name="connsiteY86" fmla="*/ 277162 h 1905000"/>
                  <a:gd name="connsiteX87" fmla="*/ 631508 w 2057400"/>
                  <a:gd name="connsiteY87" fmla="*/ 277162 h 1905000"/>
                  <a:gd name="connsiteX88" fmla="*/ 1554099 w 2057400"/>
                  <a:gd name="connsiteY88" fmla="*/ 1874981 h 1905000"/>
                  <a:gd name="connsiteX89" fmla="*/ 1545527 w 2057400"/>
                  <a:gd name="connsiteY89" fmla="*/ 1907176 h 1905000"/>
                  <a:gd name="connsiteX90" fmla="*/ 1513332 w 2057400"/>
                  <a:gd name="connsiteY90" fmla="*/ 1898603 h 1905000"/>
                  <a:gd name="connsiteX91" fmla="*/ 1429226 w 2057400"/>
                  <a:gd name="connsiteY91" fmla="*/ 1752966 h 1905000"/>
                  <a:gd name="connsiteX92" fmla="*/ 1437799 w 2057400"/>
                  <a:gd name="connsiteY92" fmla="*/ 1720771 h 1905000"/>
                  <a:gd name="connsiteX93" fmla="*/ 1469993 w 2057400"/>
                  <a:gd name="connsiteY93" fmla="*/ 1729344 h 1905000"/>
                  <a:gd name="connsiteX94" fmla="*/ 1554099 w 2057400"/>
                  <a:gd name="connsiteY94" fmla="*/ 1874981 h 1905000"/>
                  <a:gd name="connsiteX95" fmla="*/ 1554099 w 2057400"/>
                  <a:gd name="connsiteY95" fmla="*/ 1874981 h 1905000"/>
                  <a:gd name="connsiteX96" fmla="*/ 403289 w 2057400"/>
                  <a:gd name="connsiteY96" fmla="*/ 458042 h 1905000"/>
                  <a:gd name="connsiteX97" fmla="*/ 406241 w 2057400"/>
                  <a:gd name="connsiteY97" fmla="*/ 491284 h 1905000"/>
                  <a:gd name="connsiteX98" fmla="*/ 372999 w 2057400"/>
                  <a:gd name="connsiteY98" fmla="*/ 494237 h 1905000"/>
                  <a:gd name="connsiteX99" fmla="*/ 244031 w 2057400"/>
                  <a:gd name="connsiteY99" fmla="*/ 386033 h 1905000"/>
                  <a:gd name="connsiteX100" fmla="*/ 241078 w 2057400"/>
                  <a:gd name="connsiteY100" fmla="*/ 352791 h 1905000"/>
                  <a:gd name="connsiteX101" fmla="*/ 274320 w 2057400"/>
                  <a:gd name="connsiteY101" fmla="*/ 349838 h 1905000"/>
                  <a:gd name="connsiteX102" fmla="*/ 403289 w 2057400"/>
                  <a:gd name="connsiteY102" fmla="*/ 458042 h 1905000"/>
                  <a:gd name="connsiteX103" fmla="*/ 403289 w 2057400"/>
                  <a:gd name="connsiteY103" fmla="*/ 458042 h 1905000"/>
                  <a:gd name="connsiteX104" fmla="*/ 1816608 w 2057400"/>
                  <a:gd name="connsiteY104" fmla="*/ 1644000 h 1905000"/>
                  <a:gd name="connsiteX105" fmla="*/ 1819561 w 2057400"/>
                  <a:gd name="connsiteY105" fmla="*/ 1677242 h 1905000"/>
                  <a:gd name="connsiteX106" fmla="*/ 1786318 w 2057400"/>
                  <a:gd name="connsiteY106" fmla="*/ 1680195 h 1905000"/>
                  <a:gd name="connsiteX107" fmla="*/ 1657350 w 2057400"/>
                  <a:gd name="connsiteY107" fmla="*/ 1571991 h 1905000"/>
                  <a:gd name="connsiteX108" fmla="*/ 1654397 w 2057400"/>
                  <a:gd name="connsiteY108" fmla="*/ 1538749 h 1905000"/>
                  <a:gd name="connsiteX109" fmla="*/ 1687639 w 2057400"/>
                  <a:gd name="connsiteY109" fmla="*/ 1535796 h 1905000"/>
                  <a:gd name="connsiteX110" fmla="*/ 1816608 w 2057400"/>
                  <a:gd name="connsiteY110" fmla="*/ 1644000 h 1905000"/>
                  <a:gd name="connsiteX111" fmla="*/ 1816608 w 2057400"/>
                  <a:gd name="connsiteY111" fmla="*/ 1644000 h 1905000"/>
                  <a:gd name="connsiteX112" fmla="*/ 250317 w 2057400"/>
                  <a:gd name="connsiteY112" fmla="*/ 706073 h 1905000"/>
                  <a:gd name="connsiteX113" fmla="*/ 264414 w 2057400"/>
                  <a:gd name="connsiteY113" fmla="*/ 736267 h 1905000"/>
                  <a:gd name="connsiteX114" fmla="*/ 234220 w 2057400"/>
                  <a:gd name="connsiteY114" fmla="*/ 750364 h 1905000"/>
                  <a:gd name="connsiteX115" fmla="*/ 76295 w 2057400"/>
                  <a:gd name="connsiteY115" fmla="*/ 692833 h 1905000"/>
                  <a:gd name="connsiteX116" fmla="*/ 62198 w 2057400"/>
                  <a:gd name="connsiteY116" fmla="*/ 662639 h 1905000"/>
                  <a:gd name="connsiteX117" fmla="*/ 92393 w 2057400"/>
                  <a:gd name="connsiteY117" fmla="*/ 648542 h 1905000"/>
                  <a:gd name="connsiteX118" fmla="*/ 250317 w 2057400"/>
                  <a:gd name="connsiteY118" fmla="*/ 706073 h 1905000"/>
                  <a:gd name="connsiteX119" fmla="*/ 250317 w 2057400"/>
                  <a:gd name="connsiteY119" fmla="*/ 706073 h 1905000"/>
                  <a:gd name="connsiteX120" fmla="*/ 1984343 w 2057400"/>
                  <a:gd name="connsiteY120" fmla="*/ 1337200 h 1905000"/>
                  <a:gd name="connsiteX121" fmla="*/ 1998440 w 2057400"/>
                  <a:gd name="connsiteY121" fmla="*/ 1367394 h 1905000"/>
                  <a:gd name="connsiteX122" fmla="*/ 1968246 w 2057400"/>
                  <a:gd name="connsiteY122" fmla="*/ 1381491 h 1905000"/>
                  <a:gd name="connsiteX123" fmla="*/ 1810322 w 2057400"/>
                  <a:gd name="connsiteY123" fmla="*/ 1323960 h 1905000"/>
                  <a:gd name="connsiteX124" fmla="*/ 1796225 w 2057400"/>
                  <a:gd name="connsiteY124" fmla="*/ 1293766 h 1905000"/>
                  <a:gd name="connsiteX125" fmla="*/ 1826419 w 2057400"/>
                  <a:gd name="connsiteY125" fmla="*/ 1279669 h 1905000"/>
                  <a:gd name="connsiteX126" fmla="*/ 1984343 w 2057400"/>
                  <a:gd name="connsiteY126" fmla="*/ 133720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057400" h="1905000">
                    <a:moveTo>
                      <a:pt x="1868710" y="1038591"/>
                    </a:moveTo>
                    <a:cubicBezTo>
                      <a:pt x="1855661" y="1038591"/>
                      <a:pt x="1845088" y="1028018"/>
                      <a:pt x="1845088" y="1014969"/>
                    </a:cubicBezTo>
                    <a:cubicBezTo>
                      <a:pt x="1845088" y="1001920"/>
                      <a:pt x="1855661" y="991347"/>
                      <a:pt x="1868710" y="991347"/>
                    </a:cubicBezTo>
                    <a:lnTo>
                      <a:pt x="2037017" y="991347"/>
                    </a:lnTo>
                    <a:cubicBezTo>
                      <a:pt x="2050066" y="991347"/>
                      <a:pt x="2060639" y="1001920"/>
                      <a:pt x="2060639" y="1014969"/>
                    </a:cubicBezTo>
                    <a:cubicBezTo>
                      <a:pt x="2060639" y="1028018"/>
                      <a:pt x="2050066" y="1038591"/>
                      <a:pt x="2037017" y="1038591"/>
                    </a:cubicBezTo>
                    <a:lnTo>
                      <a:pt x="1868710" y="1038591"/>
                    </a:lnTo>
                    <a:lnTo>
                      <a:pt x="1868710" y="1038591"/>
                    </a:lnTo>
                    <a:close/>
                    <a:moveTo>
                      <a:pt x="23622" y="1038591"/>
                    </a:moveTo>
                    <a:cubicBezTo>
                      <a:pt x="10573" y="1038591"/>
                      <a:pt x="0" y="1028018"/>
                      <a:pt x="0" y="1014969"/>
                    </a:cubicBezTo>
                    <a:cubicBezTo>
                      <a:pt x="0" y="1001920"/>
                      <a:pt x="10573" y="991347"/>
                      <a:pt x="23622" y="991347"/>
                    </a:cubicBezTo>
                    <a:lnTo>
                      <a:pt x="191929" y="991347"/>
                    </a:lnTo>
                    <a:cubicBezTo>
                      <a:pt x="204978" y="991347"/>
                      <a:pt x="215551" y="1001920"/>
                      <a:pt x="215551" y="1014969"/>
                    </a:cubicBezTo>
                    <a:cubicBezTo>
                      <a:pt x="215551" y="1028018"/>
                      <a:pt x="204978" y="1038591"/>
                      <a:pt x="191929" y="1038591"/>
                    </a:cubicBezTo>
                    <a:lnTo>
                      <a:pt x="23622" y="1038591"/>
                    </a:lnTo>
                    <a:lnTo>
                      <a:pt x="23622" y="1038591"/>
                    </a:lnTo>
                    <a:close/>
                    <a:moveTo>
                      <a:pt x="1826324" y="750364"/>
                    </a:moveTo>
                    <a:cubicBezTo>
                      <a:pt x="1814132" y="754841"/>
                      <a:pt x="1800606" y="748459"/>
                      <a:pt x="1796129" y="736267"/>
                    </a:cubicBezTo>
                    <a:cubicBezTo>
                      <a:pt x="1791748" y="724075"/>
                      <a:pt x="1798034" y="710550"/>
                      <a:pt x="1810226" y="706073"/>
                    </a:cubicBezTo>
                    <a:lnTo>
                      <a:pt x="1968246" y="648542"/>
                    </a:lnTo>
                    <a:cubicBezTo>
                      <a:pt x="1980438" y="644065"/>
                      <a:pt x="1993964" y="650447"/>
                      <a:pt x="1998440" y="662639"/>
                    </a:cubicBezTo>
                    <a:cubicBezTo>
                      <a:pt x="2002822" y="674831"/>
                      <a:pt x="1996535" y="688357"/>
                      <a:pt x="1984343" y="692833"/>
                    </a:cubicBezTo>
                    <a:lnTo>
                      <a:pt x="1826324" y="750364"/>
                    </a:lnTo>
                    <a:lnTo>
                      <a:pt x="1826324" y="750364"/>
                    </a:lnTo>
                    <a:close/>
                    <a:moveTo>
                      <a:pt x="92393" y="1381491"/>
                    </a:moveTo>
                    <a:cubicBezTo>
                      <a:pt x="80201" y="1385872"/>
                      <a:pt x="66675" y="1379586"/>
                      <a:pt x="62198" y="1367394"/>
                    </a:cubicBezTo>
                    <a:cubicBezTo>
                      <a:pt x="57722" y="1355202"/>
                      <a:pt x="64103" y="1341676"/>
                      <a:pt x="76295" y="1337200"/>
                    </a:cubicBezTo>
                    <a:lnTo>
                      <a:pt x="234315" y="1279669"/>
                    </a:lnTo>
                    <a:cubicBezTo>
                      <a:pt x="246507" y="1275192"/>
                      <a:pt x="260033" y="1281574"/>
                      <a:pt x="264509" y="1293766"/>
                    </a:cubicBezTo>
                    <a:cubicBezTo>
                      <a:pt x="268986" y="1305958"/>
                      <a:pt x="262604" y="1319483"/>
                      <a:pt x="250412" y="1323960"/>
                    </a:cubicBezTo>
                    <a:lnTo>
                      <a:pt x="92393" y="1381491"/>
                    </a:lnTo>
                    <a:lnTo>
                      <a:pt x="92393" y="1381491"/>
                    </a:lnTo>
                    <a:close/>
                    <a:moveTo>
                      <a:pt x="1687639" y="494237"/>
                    </a:moveTo>
                    <a:cubicBezTo>
                      <a:pt x="1677638" y="502619"/>
                      <a:pt x="1662779" y="501286"/>
                      <a:pt x="1654397" y="491284"/>
                    </a:cubicBezTo>
                    <a:cubicBezTo>
                      <a:pt x="1646015" y="481283"/>
                      <a:pt x="1647349" y="466424"/>
                      <a:pt x="1657350" y="458042"/>
                    </a:cubicBezTo>
                    <a:lnTo>
                      <a:pt x="1786318" y="349838"/>
                    </a:lnTo>
                    <a:cubicBezTo>
                      <a:pt x="1796320" y="341456"/>
                      <a:pt x="1811179" y="342790"/>
                      <a:pt x="1819561" y="352791"/>
                    </a:cubicBezTo>
                    <a:cubicBezTo>
                      <a:pt x="1827943" y="362792"/>
                      <a:pt x="1826609" y="377651"/>
                      <a:pt x="1816608" y="386033"/>
                    </a:cubicBezTo>
                    <a:lnTo>
                      <a:pt x="1687639" y="494237"/>
                    </a:lnTo>
                    <a:lnTo>
                      <a:pt x="1687639" y="494237"/>
                    </a:lnTo>
                    <a:close/>
                    <a:moveTo>
                      <a:pt x="274320" y="1680195"/>
                    </a:moveTo>
                    <a:cubicBezTo>
                      <a:pt x="264319" y="1688577"/>
                      <a:pt x="249460" y="1687243"/>
                      <a:pt x="241078" y="1677242"/>
                    </a:cubicBezTo>
                    <a:cubicBezTo>
                      <a:pt x="232696" y="1667241"/>
                      <a:pt x="234029" y="1652382"/>
                      <a:pt x="244031" y="1644000"/>
                    </a:cubicBezTo>
                    <a:lnTo>
                      <a:pt x="372999" y="1535796"/>
                    </a:lnTo>
                    <a:cubicBezTo>
                      <a:pt x="383000" y="1527414"/>
                      <a:pt x="397859" y="1528747"/>
                      <a:pt x="406241" y="1538749"/>
                    </a:cubicBezTo>
                    <a:cubicBezTo>
                      <a:pt x="414623" y="1548750"/>
                      <a:pt x="413290" y="1563609"/>
                      <a:pt x="403289" y="1571991"/>
                    </a:cubicBezTo>
                    <a:lnTo>
                      <a:pt x="274320" y="1680195"/>
                    </a:lnTo>
                    <a:lnTo>
                      <a:pt x="274320" y="1680195"/>
                    </a:lnTo>
                    <a:close/>
                    <a:moveTo>
                      <a:pt x="1469993" y="300689"/>
                    </a:moveTo>
                    <a:cubicBezTo>
                      <a:pt x="1463421" y="311929"/>
                      <a:pt x="1449038" y="315834"/>
                      <a:pt x="1437799" y="309262"/>
                    </a:cubicBezTo>
                    <a:cubicBezTo>
                      <a:pt x="1426559" y="302689"/>
                      <a:pt x="1422654" y="288307"/>
                      <a:pt x="1429226" y="277067"/>
                    </a:cubicBezTo>
                    <a:lnTo>
                      <a:pt x="1513332" y="131335"/>
                    </a:lnTo>
                    <a:cubicBezTo>
                      <a:pt x="1519809" y="120095"/>
                      <a:pt x="1534287" y="116190"/>
                      <a:pt x="1545527" y="122762"/>
                    </a:cubicBezTo>
                    <a:cubicBezTo>
                      <a:pt x="1556766" y="129239"/>
                      <a:pt x="1560671" y="143717"/>
                      <a:pt x="1554099" y="154957"/>
                    </a:cubicBezTo>
                    <a:lnTo>
                      <a:pt x="1469993" y="300689"/>
                    </a:lnTo>
                    <a:lnTo>
                      <a:pt x="1469993" y="300689"/>
                    </a:lnTo>
                    <a:close/>
                    <a:moveTo>
                      <a:pt x="547402" y="1898698"/>
                    </a:moveTo>
                    <a:cubicBezTo>
                      <a:pt x="540925" y="1909938"/>
                      <a:pt x="526447" y="1913843"/>
                      <a:pt x="515207" y="1907271"/>
                    </a:cubicBezTo>
                    <a:cubicBezTo>
                      <a:pt x="503968" y="1900794"/>
                      <a:pt x="500063" y="1886316"/>
                      <a:pt x="506635" y="1875076"/>
                    </a:cubicBezTo>
                    <a:lnTo>
                      <a:pt x="590741" y="1729439"/>
                    </a:lnTo>
                    <a:cubicBezTo>
                      <a:pt x="597313" y="1718200"/>
                      <a:pt x="611696" y="1714294"/>
                      <a:pt x="622935" y="1720867"/>
                    </a:cubicBezTo>
                    <a:cubicBezTo>
                      <a:pt x="634175" y="1727344"/>
                      <a:pt x="638080" y="1741822"/>
                      <a:pt x="631508" y="1753061"/>
                    </a:cubicBezTo>
                    <a:lnTo>
                      <a:pt x="547402" y="1898698"/>
                    </a:lnTo>
                    <a:lnTo>
                      <a:pt x="547402" y="1898698"/>
                    </a:lnTo>
                    <a:close/>
                    <a:moveTo>
                      <a:pt x="1199198" y="193342"/>
                    </a:moveTo>
                    <a:cubicBezTo>
                      <a:pt x="1196912" y="206201"/>
                      <a:pt x="1184720" y="214774"/>
                      <a:pt x="1171861" y="212583"/>
                    </a:cubicBezTo>
                    <a:cubicBezTo>
                      <a:pt x="1159002" y="210297"/>
                      <a:pt x="1150430" y="198105"/>
                      <a:pt x="1152716" y="185246"/>
                    </a:cubicBezTo>
                    <a:lnTo>
                      <a:pt x="1181957" y="19606"/>
                    </a:lnTo>
                    <a:cubicBezTo>
                      <a:pt x="1184243" y="6748"/>
                      <a:pt x="1196435" y="-1825"/>
                      <a:pt x="1209294" y="366"/>
                    </a:cubicBezTo>
                    <a:cubicBezTo>
                      <a:pt x="1222153" y="2652"/>
                      <a:pt x="1230725" y="14844"/>
                      <a:pt x="1228439" y="27703"/>
                    </a:cubicBezTo>
                    <a:lnTo>
                      <a:pt x="1199198" y="193342"/>
                    </a:lnTo>
                    <a:lnTo>
                      <a:pt x="1199198" y="193342"/>
                    </a:lnTo>
                    <a:close/>
                    <a:moveTo>
                      <a:pt x="908018" y="185246"/>
                    </a:moveTo>
                    <a:cubicBezTo>
                      <a:pt x="910304" y="198105"/>
                      <a:pt x="901637" y="210297"/>
                      <a:pt x="888778" y="212583"/>
                    </a:cubicBezTo>
                    <a:cubicBezTo>
                      <a:pt x="875919" y="214869"/>
                      <a:pt x="863727" y="206201"/>
                      <a:pt x="861441" y="193342"/>
                    </a:cubicBezTo>
                    <a:lnTo>
                      <a:pt x="832295" y="27703"/>
                    </a:lnTo>
                    <a:cubicBezTo>
                      <a:pt x="830009" y="14844"/>
                      <a:pt x="838676" y="2652"/>
                      <a:pt x="851535" y="366"/>
                    </a:cubicBezTo>
                    <a:cubicBezTo>
                      <a:pt x="864394" y="-1920"/>
                      <a:pt x="876586" y="6748"/>
                      <a:pt x="878872" y="19606"/>
                    </a:cubicBezTo>
                    <a:lnTo>
                      <a:pt x="908018" y="185246"/>
                    </a:lnTo>
                    <a:lnTo>
                      <a:pt x="908018" y="185246"/>
                    </a:lnTo>
                    <a:close/>
                    <a:moveTo>
                      <a:pt x="631508" y="277162"/>
                    </a:moveTo>
                    <a:cubicBezTo>
                      <a:pt x="637985" y="288402"/>
                      <a:pt x="634079" y="302785"/>
                      <a:pt x="622840" y="309262"/>
                    </a:cubicBezTo>
                    <a:cubicBezTo>
                      <a:pt x="611600" y="315739"/>
                      <a:pt x="597218" y="311833"/>
                      <a:pt x="590741" y="300594"/>
                    </a:cubicBezTo>
                    <a:lnTo>
                      <a:pt x="506635" y="154861"/>
                    </a:lnTo>
                    <a:cubicBezTo>
                      <a:pt x="500158" y="143622"/>
                      <a:pt x="504063" y="129239"/>
                      <a:pt x="515303" y="122762"/>
                    </a:cubicBezTo>
                    <a:cubicBezTo>
                      <a:pt x="526542" y="116285"/>
                      <a:pt x="540925" y="120190"/>
                      <a:pt x="547402" y="131430"/>
                    </a:cubicBezTo>
                    <a:lnTo>
                      <a:pt x="631508" y="277162"/>
                    </a:lnTo>
                    <a:lnTo>
                      <a:pt x="631508" y="277162"/>
                    </a:lnTo>
                    <a:close/>
                    <a:moveTo>
                      <a:pt x="1554099" y="1874981"/>
                    </a:moveTo>
                    <a:cubicBezTo>
                      <a:pt x="1560576" y="1886221"/>
                      <a:pt x="1556766" y="1900699"/>
                      <a:pt x="1545527" y="1907176"/>
                    </a:cubicBezTo>
                    <a:cubicBezTo>
                      <a:pt x="1534287" y="1913653"/>
                      <a:pt x="1519809" y="1909843"/>
                      <a:pt x="1513332" y="1898603"/>
                    </a:cubicBezTo>
                    <a:lnTo>
                      <a:pt x="1429226" y="1752966"/>
                    </a:lnTo>
                    <a:cubicBezTo>
                      <a:pt x="1422749" y="1741726"/>
                      <a:pt x="1426559" y="1727248"/>
                      <a:pt x="1437799" y="1720771"/>
                    </a:cubicBezTo>
                    <a:cubicBezTo>
                      <a:pt x="1449038" y="1714294"/>
                      <a:pt x="1463516" y="1718104"/>
                      <a:pt x="1469993" y="1729344"/>
                    </a:cubicBezTo>
                    <a:lnTo>
                      <a:pt x="1554099" y="1874981"/>
                    </a:lnTo>
                    <a:lnTo>
                      <a:pt x="1554099" y="1874981"/>
                    </a:lnTo>
                    <a:close/>
                    <a:moveTo>
                      <a:pt x="403289" y="458042"/>
                    </a:moveTo>
                    <a:cubicBezTo>
                      <a:pt x="413290" y="466424"/>
                      <a:pt x="414623" y="481283"/>
                      <a:pt x="406241" y="491284"/>
                    </a:cubicBezTo>
                    <a:cubicBezTo>
                      <a:pt x="397859" y="501286"/>
                      <a:pt x="383000" y="502619"/>
                      <a:pt x="372999" y="494237"/>
                    </a:cubicBezTo>
                    <a:lnTo>
                      <a:pt x="244031" y="386033"/>
                    </a:lnTo>
                    <a:cubicBezTo>
                      <a:pt x="234029" y="377651"/>
                      <a:pt x="232696" y="362792"/>
                      <a:pt x="241078" y="352791"/>
                    </a:cubicBezTo>
                    <a:cubicBezTo>
                      <a:pt x="249460" y="342790"/>
                      <a:pt x="264319" y="341456"/>
                      <a:pt x="274320" y="349838"/>
                    </a:cubicBezTo>
                    <a:lnTo>
                      <a:pt x="403289" y="458042"/>
                    </a:lnTo>
                    <a:lnTo>
                      <a:pt x="403289" y="458042"/>
                    </a:lnTo>
                    <a:close/>
                    <a:moveTo>
                      <a:pt x="1816608" y="1644000"/>
                    </a:moveTo>
                    <a:cubicBezTo>
                      <a:pt x="1826609" y="1652382"/>
                      <a:pt x="1827943" y="1667241"/>
                      <a:pt x="1819561" y="1677242"/>
                    </a:cubicBezTo>
                    <a:cubicBezTo>
                      <a:pt x="1811179" y="1687243"/>
                      <a:pt x="1796320" y="1688577"/>
                      <a:pt x="1786318" y="1680195"/>
                    </a:cubicBezTo>
                    <a:lnTo>
                      <a:pt x="1657350" y="1571991"/>
                    </a:lnTo>
                    <a:cubicBezTo>
                      <a:pt x="1647349" y="1563609"/>
                      <a:pt x="1646015" y="1548750"/>
                      <a:pt x="1654397" y="1538749"/>
                    </a:cubicBezTo>
                    <a:cubicBezTo>
                      <a:pt x="1662779" y="1528747"/>
                      <a:pt x="1677638" y="1527414"/>
                      <a:pt x="1687639" y="1535796"/>
                    </a:cubicBezTo>
                    <a:lnTo>
                      <a:pt x="1816608" y="1644000"/>
                    </a:lnTo>
                    <a:lnTo>
                      <a:pt x="1816608" y="1644000"/>
                    </a:lnTo>
                    <a:close/>
                    <a:moveTo>
                      <a:pt x="250317" y="706073"/>
                    </a:moveTo>
                    <a:cubicBezTo>
                      <a:pt x="262509" y="710550"/>
                      <a:pt x="268891" y="723980"/>
                      <a:pt x="264414" y="736267"/>
                    </a:cubicBezTo>
                    <a:cubicBezTo>
                      <a:pt x="259937" y="748459"/>
                      <a:pt x="246507" y="754841"/>
                      <a:pt x="234220" y="750364"/>
                    </a:cubicBezTo>
                    <a:lnTo>
                      <a:pt x="76295" y="692833"/>
                    </a:lnTo>
                    <a:cubicBezTo>
                      <a:pt x="64103" y="688357"/>
                      <a:pt x="57722" y="674926"/>
                      <a:pt x="62198" y="662639"/>
                    </a:cubicBezTo>
                    <a:cubicBezTo>
                      <a:pt x="66675" y="650447"/>
                      <a:pt x="80105" y="644065"/>
                      <a:pt x="92393" y="648542"/>
                    </a:cubicBezTo>
                    <a:lnTo>
                      <a:pt x="250317" y="706073"/>
                    </a:lnTo>
                    <a:lnTo>
                      <a:pt x="250317" y="706073"/>
                    </a:lnTo>
                    <a:close/>
                    <a:moveTo>
                      <a:pt x="1984343" y="1337200"/>
                    </a:moveTo>
                    <a:cubicBezTo>
                      <a:pt x="1996535" y="1341676"/>
                      <a:pt x="2002917" y="1355107"/>
                      <a:pt x="1998440" y="1367394"/>
                    </a:cubicBezTo>
                    <a:cubicBezTo>
                      <a:pt x="1994059" y="1379586"/>
                      <a:pt x="1980533" y="1385968"/>
                      <a:pt x="1968246" y="1381491"/>
                    </a:cubicBezTo>
                    <a:lnTo>
                      <a:pt x="1810322" y="1323960"/>
                    </a:lnTo>
                    <a:cubicBezTo>
                      <a:pt x="1798130" y="1319483"/>
                      <a:pt x="1791748" y="1306053"/>
                      <a:pt x="1796225" y="1293766"/>
                    </a:cubicBezTo>
                    <a:cubicBezTo>
                      <a:pt x="1800701" y="1281574"/>
                      <a:pt x="1814132" y="1275192"/>
                      <a:pt x="1826419" y="1279669"/>
                    </a:cubicBezTo>
                    <a:lnTo>
                      <a:pt x="1984343" y="1337200"/>
                    </a:lnTo>
                    <a:close/>
                  </a:path>
                </a:pathLst>
              </a:custGeom>
              <a:solidFill>
                <a:srgbClr val="FAA61A"/>
              </a:solidFill>
              <a:ln w="9525" cap="flat">
                <a:noFill/>
                <a:prstDash val="solid"/>
                <a:miter/>
              </a:ln>
            </p:spPr>
            <p:txBody>
              <a:bodyPr rtlCol="0" anchor="ctr"/>
              <a:lstStyle/>
              <a:p>
                <a:endParaRPr lang="en-US">
                  <a:solidFill>
                    <a:prstClr val="black"/>
                  </a:solidFill>
                </a:endParaRPr>
              </a:p>
            </p:txBody>
          </p:sp>
        </p:grpSp>
        <p:pic>
          <p:nvPicPr>
            <p:cNvPr id="27" name="Graphic 26">
              <a:extLst>
                <a:ext uri="{FF2B5EF4-FFF2-40B4-BE49-F238E27FC236}">
                  <a16:creationId xmlns:a16="http://schemas.microsoft.com/office/drawing/2014/main" id="{ABF0B780-2688-4EFA-8DD2-4C05D755FC5D}"/>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704000" y="5541960"/>
              <a:ext cx="842342" cy="921600"/>
            </a:xfrm>
            <a:prstGeom prst="rect">
              <a:avLst/>
            </a:prstGeom>
          </p:spPr>
        </p:pic>
        <p:cxnSp>
          <p:nvCxnSpPr>
            <p:cNvPr id="29" name="Straight Arrow Connector 28">
              <a:extLst>
                <a:ext uri="{FF2B5EF4-FFF2-40B4-BE49-F238E27FC236}">
                  <a16:creationId xmlns:a16="http://schemas.microsoft.com/office/drawing/2014/main" id="{C65418D1-751A-4DCA-8F5C-6968FA765ED4}"/>
                </a:ext>
              </a:extLst>
            </p:cNvPr>
            <p:cNvCxnSpPr>
              <a:cxnSpLocks/>
            </p:cNvCxnSpPr>
            <p:nvPr userDrawn="1"/>
          </p:nvCxnSpPr>
          <p:spPr>
            <a:xfrm>
              <a:off x="6456000" y="6525000"/>
              <a:ext cx="5328000" cy="0"/>
            </a:xfrm>
            <a:prstGeom prst="straightConnector1">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88600643"/>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257633"/>
            <a:ext cx="11125236" cy="933327"/>
          </a:xfrm>
        </p:spPr>
        <p:txBody>
          <a:bodyPr/>
          <a:lstStyle>
            <a:lvl1pPr>
              <a:defRPr b="1"/>
            </a:lvl1pPr>
          </a:lstStyle>
          <a:p>
            <a:r>
              <a:rPr lang="en-US"/>
              <a:t>Click to edit Master title style</a:t>
            </a:r>
            <a:endParaRPr lang="en-GB"/>
          </a:p>
        </p:txBody>
      </p:sp>
    </p:spTree>
    <p:extLst>
      <p:ext uri="{BB962C8B-B14F-4D97-AF65-F5344CB8AC3E}">
        <p14:creationId xmlns:p14="http://schemas.microsoft.com/office/powerpoint/2010/main" val="429471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amp; Headin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2938"/>
            <a:endParaRPr lang="en-US" sz="1266">
              <a:solidFill>
                <a:srgbClr val="FFFFFF"/>
              </a:solidFill>
            </a:endParaRPr>
          </a:p>
        </p:txBody>
      </p:sp>
      <p:graphicFrame>
        <p:nvGraphicFramePr>
          <p:cNvPr id="4" name="Object 3" hidden="1"/>
          <p:cNvGraphicFramePr>
            <a:graphicFrameLocks noChangeAspect="1"/>
          </p:cNvGraphicFramePr>
          <p:nvPr>
            <p:custDataLst>
              <p:tags r:id="rId2"/>
            </p:custDataLst>
          </p:nvPr>
        </p:nvGraphicFramePr>
        <p:xfrm>
          <a:off x="2" y="2"/>
          <a:ext cx="180998" cy="143985"/>
        </p:xfrm>
        <a:graphic>
          <a:graphicData uri="http://schemas.openxmlformats.org/presentationml/2006/ole">
            <mc:AlternateContent xmlns:mc="http://schemas.openxmlformats.org/markup-compatibility/2006">
              <mc:Choice xmlns:v="urn:schemas-microsoft-com:vml" Requires="v">
                <p:oleObj spid="_x0000_s12301"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Tree>
    <p:extLst>
      <p:ext uri="{BB962C8B-B14F-4D97-AF65-F5344CB8AC3E}">
        <p14:creationId xmlns:p14="http://schemas.microsoft.com/office/powerpoint/2010/main" val="1840709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46615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lgn="l" rtl="0" eaLnBrk="1" fontAlgn="base" hangingPunct="1">
              <a:spcBef>
                <a:spcPct val="0"/>
              </a:spcBef>
              <a:spcAft>
                <a:spcPct val="20000"/>
              </a:spcAft>
              <a:defRPr lang="en-US" sz="1800" dirty="0" smtClean="0">
                <a:solidFill>
                  <a:schemeClr val="tx1"/>
                </a:solidFill>
                <a:latin typeface="+mn-lt"/>
                <a:ea typeface="+mn-ea"/>
                <a:cs typeface="+mn-cs"/>
              </a:defRPr>
            </a:lvl1pPr>
            <a:lvl2pPr algn="l" rtl="0" eaLnBrk="1" fontAlgn="base" hangingPunct="1">
              <a:spcBef>
                <a:spcPct val="0"/>
              </a:spcBef>
              <a:spcAft>
                <a:spcPct val="20000"/>
              </a:spcAft>
              <a:defRPr lang="en-US" sz="1800" dirty="0" smtClean="0">
                <a:solidFill>
                  <a:schemeClr val="tx1"/>
                </a:solidFill>
                <a:latin typeface="+mn-lt"/>
                <a:ea typeface="+mn-ea"/>
                <a:cs typeface="+mn-cs"/>
              </a:defRPr>
            </a:lvl2pPr>
            <a:lvl3pPr algn="l" rtl="0" eaLnBrk="1" fontAlgn="base" hangingPunct="1">
              <a:spcBef>
                <a:spcPct val="0"/>
              </a:spcBef>
              <a:spcAft>
                <a:spcPct val="20000"/>
              </a:spcAft>
              <a:defRPr lang="en-US" sz="1800" dirty="0" smtClean="0">
                <a:solidFill>
                  <a:schemeClr val="tx1"/>
                </a:solidFill>
                <a:latin typeface="+mn-lt"/>
                <a:ea typeface="+mn-ea"/>
                <a:cs typeface="+mn-cs"/>
              </a:defRPr>
            </a:lvl3pPr>
            <a:lvl4pPr algn="l" rtl="0" eaLnBrk="1" fontAlgn="base" hangingPunct="1">
              <a:spcBef>
                <a:spcPct val="0"/>
              </a:spcBef>
              <a:spcAft>
                <a:spcPct val="20000"/>
              </a:spcAft>
              <a:defRPr lang="en-US" sz="1800" dirty="0" smtClean="0">
                <a:solidFill>
                  <a:schemeClr val="tx1"/>
                </a:solidFill>
                <a:latin typeface="+mn-lt"/>
                <a:ea typeface="+mn-ea"/>
                <a:cs typeface="+mn-cs"/>
              </a:defRPr>
            </a:lvl4pPr>
            <a:lvl5pPr algn="l" rtl="0" eaLnBrk="1" fontAlgn="base" hangingPunct="1">
              <a:spcBef>
                <a:spcPct val="0"/>
              </a:spcBef>
              <a:spcAft>
                <a:spcPct val="20000"/>
              </a:spcAft>
              <a:defRPr lang="en-US" sz="18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03"/>
          <p:cNvSpPr>
            <a:spLocks noGrp="1" noChangeArrowheads="1"/>
          </p:cNvSpPr>
          <p:nvPr>
            <p:ph type="sldNum" sz="quarter" idx="11"/>
          </p:nvPr>
        </p:nvSpPr>
        <p:spPr>
          <a:xfrm>
            <a:off x="11690485" y="6673565"/>
            <a:ext cx="319483" cy="130805"/>
          </a:xfrm>
          <a:prstGeom prst="rect">
            <a:avLst/>
          </a:prstGeom>
          <a:ln/>
        </p:spPr>
        <p:txBody>
          <a:bodyPr/>
          <a:lstStyle>
            <a:lvl1pPr>
              <a:defRPr/>
            </a:lvl1pPr>
          </a:lstStyle>
          <a:p>
            <a:pPr>
              <a:defRPr/>
            </a:pPr>
            <a:fld id="{91F8A226-DADB-40BD-81AF-EB9A3F94B67D}" type="slidenum">
              <a:rPr lang="en-US"/>
              <a:pPr>
                <a:defRPr/>
              </a:pPr>
              <a:t>‹#›</a:t>
            </a:fld>
            <a:endParaRPr lang="en-US"/>
          </a:p>
        </p:txBody>
      </p:sp>
      <p:sp>
        <p:nvSpPr>
          <p:cNvPr id="6" name="Rectangle 101"/>
          <p:cNvSpPr>
            <a:spLocks noGrp="1" noChangeArrowheads="1"/>
          </p:cNvSpPr>
          <p:nvPr>
            <p:ph type="dt" sz="half" idx="2"/>
          </p:nvPr>
        </p:nvSpPr>
        <p:spPr bwMode="auto">
          <a:xfrm>
            <a:off x="9728563" y="6686616"/>
            <a:ext cx="1853837" cy="104644"/>
          </a:xfrm>
          <a:prstGeom prst="rect">
            <a:avLst/>
          </a:prstGeom>
          <a:noFill/>
          <a:ln w="9525">
            <a:noFill/>
            <a:miter lim="800000"/>
            <a:headEnd/>
            <a:tailEnd/>
          </a:ln>
          <a:effectLst/>
        </p:spPr>
        <p:txBody>
          <a:bodyPr vert="horz" wrap="none" lIns="36000" tIns="0" rIns="4572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mn-cs"/>
              </a:defRPr>
            </a:lvl1pPr>
          </a:lstStyle>
          <a:p>
            <a:pPr>
              <a:defRPr/>
            </a:pPr>
            <a:r>
              <a:rPr lang="en-US"/>
              <a:t>© 2014 Capgemini - All rights reserved</a:t>
            </a:r>
          </a:p>
        </p:txBody>
      </p:sp>
    </p:spTree>
    <p:extLst>
      <p:ext uri="{BB962C8B-B14F-4D97-AF65-F5344CB8AC3E}">
        <p14:creationId xmlns:p14="http://schemas.microsoft.com/office/powerpoint/2010/main" val="3822325463"/>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21024363-F2AB-43F3-A7A5-060B9BEFD23E}"/>
              </a:ext>
            </a:extLst>
          </p:cNvPr>
          <p:cNvSpPr>
            <a:spLocks noGrp="1"/>
          </p:cNvSpPr>
          <p:nvPr>
            <p:ph type="title"/>
          </p:nvPr>
        </p:nvSpPr>
        <p:spPr>
          <a:xfrm>
            <a:off x="407988" y="133174"/>
            <a:ext cx="10534507" cy="409752"/>
          </a:xfrm>
        </p:spPr>
        <p:txBody>
          <a:bodyPr/>
          <a:lstStyle>
            <a:lvl1pPr>
              <a:lnSpc>
                <a:spcPct val="100000"/>
              </a:lnSpc>
              <a:defRPr sz="2000" b="1"/>
            </a:lvl1pPr>
          </a:lstStyle>
          <a:p>
            <a:r>
              <a:rPr lang="en-US"/>
              <a:t>Click to edit Master title style</a:t>
            </a:r>
          </a:p>
        </p:txBody>
      </p:sp>
    </p:spTree>
    <p:extLst>
      <p:ext uri="{BB962C8B-B14F-4D97-AF65-F5344CB8AC3E}">
        <p14:creationId xmlns:p14="http://schemas.microsoft.com/office/powerpoint/2010/main" val="4137945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92088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7_Title Slide 1">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1" name="Picture 120">
            <a:extLst>
              <a:ext uri="{FF2B5EF4-FFF2-40B4-BE49-F238E27FC236}">
                <a16:creationId xmlns:a16="http://schemas.microsoft.com/office/drawing/2014/main" id="{F0199C27-F065-4A13-9146-5B786EE45A3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grpSp>
        <p:nvGrpSpPr>
          <p:cNvPr id="122" name="Group 121">
            <a:extLst>
              <a:ext uri="{FF2B5EF4-FFF2-40B4-BE49-F238E27FC236}">
                <a16:creationId xmlns:a16="http://schemas.microsoft.com/office/drawing/2014/main" id="{9083DCD9-BF7E-45D8-9832-A902873C0DF4}"/>
              </a:ext>
            </a:extLst>
          </p:cNvPr>
          <p:cNvGrpSpPr/>
          <p:nvPr userDrawn="1"/>
        </p:nvGrpSpPr>
        <p:grpSpPr>
          <a:xfrm>
            <a:off x="199410" y="194662"/>
            <a:ext cx="2746176" cy="783999"/>
            <a:chOff x="587034" y="254296"/>
            <a:chExt cx="2746176" cy="783999"/>
          </a:xfrm>
        </p:grpSpPr>
        <p:sp>
          <p:nvSpPr>
            <p:cNvPr id="123" name="Rectangle 9">
              <a:extLst>
                <a:ext uri="{FF2B5EF4-FFF2-40B4-BE49-F238E27FC236}">
                  <a16:creationId xmlns:a16="http://schemas.microsoft.com/office/drawing/2014/main" id="{4D4297B7-FF49-4297-89BF-6D6DFFCC740F}"/>
                </a:ext>
              </a:extLst>
            </p:cNvPr>
            <p:cNvSpPr/>
            <p:nvPr userDrawn="1"/>
          </p:nvSpPr>
          <p:spPr>
            <a:xfrm>
              <a:off x="587034" y="254296"/>
              <a:ext cx="2746176" cy="783999"/>
            </a:xfrm>
            <a:prstGeom prst="roundRect">
              <a:avLst>
                <a:gd name="adj" fmla="val 50000"/>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17"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9F958F">
                    <a:lumMod val="50000"/>
                  </a:srgbClr>
                </a:solidFill>
                <a:effectLst/>
                <a:uLnTx/>
                <a:uFillTx/>
                <a:latin typeface="Arial" panose="020B0604020202020204" pitchFamily="34" charset="0"/>
                <a:ea typeface="+mn-ea"/>
                <a:cs typeface="Arial" panose="020B0604020202020204" pitchFamily="34" charset="0"/>
              </a:endParaRPr>
            </a:p>
          </p:txBody>
        </p:sp>
        <p:grpSp>
          <p:nvGrpSpPr>
            <p:cNvPr id="124" name="Group 14">
              <a:extLst>
                <a:ext uri="{FF2B5EF4-FFF2-40B4-BE49-F238E27FC236}">
                  <a16:creationId xmlns:a16="http://schemas.microsoft.com/office/drawing/2014/main" id="{56ACF51D-1F00-42AF-8D72-9D5E1F507CFF}"/>
                </a:ext>
              </a:extLst>
            </p:cNvPr>
            <p:cNvGrpSpPr>
              <a:grpSpLocks noChangeAspect="1"/>
            </p:cNvGrpSpPr>
            <p:nvPr userDrawn="1"/>
          </p:nvGrpSpPr>
          <p:grpSpPr>
            <a:xfrm>
              <a:off x="808239" y="449726"/>
              <a:ext cx="2232234" cy="467083"/>
              <a:chOff x="728664" y="4465638"/>
              <a:chExt cx="5354636" cy="1193800"/>
            </a:xfrm>
          </p:grpSpPr>
          <p:sp>
            <p:nvSpPr>
              <p:cNvPr id="125" name="Freeform 11">
                <a:extLst>
                  <a:ext uri="{FF2B5EF4-FFF2-40B4-BE49-F238E27FC236}">
                    <a16:creationId xmlns:a16="http://schemas.microsoft.com/office/drawing/2014/main" id="{3D08902F-9FF4-4B99-A68A-9E1A4051E99E}"/>
                  </a:ext>
                </a:extLst>
              </p:cNvPr>
              <p:cNvSpPr>
                <a:spLocks/>
              </p:cNvSpPr>
              <p:nvPr userDrawn="1"/>
            </p:nvSpPr>
            <p:spPr bwMode="auto">
              <a:xfrm>
                <a:off x="5464172" y="4830764"/>
                <a:ext cx="619125" cy="503237"/>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6" name="Freeform 12">
                <a:extLst>
                  <a:ext uri="{FF2B5EF4-FFF2-40B4-BE49-F238E27FC236}">
                    <a16:creationId xmlns:a16="http://schemas.microsoft.com/office/drawing/2014/main" id="{3CDBDDA1-D9CB-4F4D-BC1A-16C74B9A10C4}"/>
                  </a:ext>
                </a:extLst>
              </p:cNvPr>
              <p:cNvSpPr>
                <a:spLocks noEditPoints="1"/>
              </p:cNvSpPr>
              <p:nvPr userDrawn="1"/>
            </p:nvSpPr>
            <p:spPr bwMode="auto">
              <a:xfrm>
                <a:off x="728664" y="4483100"/>
                <a:ext cx="4352922"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7" name="Freeform 13">
                <a:extLst>
                  <a:ext uri="{FF2B5EF4-FFF2-40B4-BE49-F238E27FC236}">
                    <a16:creationId xmlns:a16="http://schemas.microsoft.com/office/drawing/2014/main" id="{0B345155-552B-4BDD-BE47-20AE5519A20C}"/>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8" name="Freeform 14">
                <a:extLst>
                  <a:ext uri="{FF2B5EF4-FFF2-40B4-BE49-F238E27FC236}">
                    <a16:creationId xmlns:a16="http://schemas.microsoft.com/office/drawing/2014/main" id="{A440D099-F6D1-43EC-B185-1B5076A1AD09}"/>
                  </a:ext>
                </a:extLst>
              </p:cNvPr>
              <p:cNvSpPr>
                <a:spLocks/>
              </p:cNvSpPr>
              <p:nvPr userDrawn="1"/>
            </p:nvSpPr>
            <p:spPr bwMode="auto">
              <a:xfrm>
                <a:off x="4870452" y="4564062"/>
                <a:ext cx="112712"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9" name="Freeform 15">
                <a:extLst>
                  <a:ext uri="{FF2B5EF4-FFF2-40B4-BE49-F238E27FC236}">
                    <a16:creationId xmlns:a16="http://schemas.microsoft.com/office/drawing/2014/main" id="{490AA853-6857-4272-AAF0-E549AA19F6A6}"/>
                  </a:ext>
                </a:extLst>
              </p:cNvPr>
              <p:cNvSpPr>
                <a:spLocks/>
              </p:cNvSpPr>
              <p:nvPr userDrawn="1"/>
            </p:nvSpPr>
            <p:spPr bwMode="auto">
              <a:xfrm>
                <a:off x="5143499" y="4465638"/>
                <a:ext cx="939801"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130" name="Group 129">
            <a:extLst>
              <a:ext uri="{FF2B5EF4-FFF2-40B4-BE49-F238E27FC236}">
                <a16:creationId xmlns:a16="http://schemas.microsoft.com/office/drawing/2014/main" id="{99105081-1A74-425B-8D1A-6B9261DED983}"/>
              </a:ext>
            </a:extLst>
          </p:cNvPr>
          <p:cNvGrpSpPr/>
          <p:nvPr userDrawn="1"/>
        </p:nvGrpSpPr>
        <p:grpSpPr>
          <a:xfrm>
            <a:off x="7643191" y="-22421"/>
            <a:ext cx="4646088" cy="6905821"/>
            <a:chOff x="7699044" y="1339455"/>
            <a:chExt cx="4526988" cy="5532936"/>
          </a:xfrm>
        </p:grpSpPr>
        <p:sp>
          <p:nvSpPr>
            <p:cNvPr id="131" name="Rectangle 130">
              <a:extLst>
                <a:ext uri="{FF2B5EF4-FFF2-40B4-BE49-F238E27FC236}">
                  <a16:creationId xmlns:a16="http://schemas.microsoft.com/office/drawing/2014/main" id="{B5F67F9F-9A44-40B4-A835-63A2F1ABF442}"/>
                </a:ext>
              </a:extLst>
            </p:cNvPr>
            <p:cNvSpPr/>
            <p:nvPr userDrawn="1"/>
          </p:nvSpPr>
          <p:spPr>
            <a:xfrm>
              <a:off x="10536518" y="1339456"/>
              <a:ext cx="1655481" cy="2543879"/>
            </a:xfrm>
            <a:prstGeom prst="rect">
              <a:avLst/>
            </a:prstGeom>
            <a:solidFill>
              <a:srgbClr val="300B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70AD">
                    <a:lumMod val="50000"/>
                  </a:srgbClr>
                </a:solidFill>
                <a:effectLst/>
                <a:uLnTx/>
                <a:uFillTx/>
                <a:latin typeface="Verdana"/>
                <a:ea typeface="+mn-ea"/>
                <a:cs typeface="+mn-cs"/>
              </a:endParaRPr>
            </a:p>
          </p:txBody>
        </p:sp>
        <p:grpSp>
          <p:nvGrpSpPr>
            <p:cNvPr id="132" name="Group 131">
              <a:extLst>
                <a:ext uri="{FF2B5EF4-FFF2-40B4-BE49-F238E27FC236}">
                  <a16:creationId xmlns:a16="http://schemas.microsoft.com/office/drawing/2014/main" id="{35C892B2-B952-4243-BF8F-A75DF7625B0A}"/>
                </a:ext>
              </a:extLst>
            </p:cNvPr>
            <p:cNvGrpSpPr/>
            <p:nvPr userDrawn="1"/>
          </p:nvGrpSpPr>
          <p:grpSpPr>
            <a:xfrm rot="16200000">
              <a:off x="7196070" y="1842429"/>
              <a:ext cx="5532936" cy="4526988"/>
              <a:chOff x="-1" y="223665"/>
              <a:chExt cx="9815731" cy="10009848"/>
            </a:xfrm>
          </p:grpSpPr>
          <p:sp>
            <p:nvSpPr>
              <p:cNvPr id="133" name="Freeform 5">
                <a:extLst>
                  <a:ext uri="{FF2B5EF4-FFF2-40B4-BE49-F238E27FC236}">
                    <a16:creationId xmlns:a16="http://schemas.microsoft.com/office/drawing/2014/main" id="{FCEAC43E-31AD-4CA6-88CA-60F9A63D71CF}"/>
                  </a:ext>
                </a:extLst>
              </p:cNvPr>
              <p:cNvSpPr>
                <a:spLocks/>
              </p:cNvSpPr>
              <p:nvPr/>
            </p:nvSpPr>
            <p:spPr bwMode="auto">
              <a:xfrm>
                <a:off x="4332191" y="3386145"/>
                <a:ext cx="5481635" cy="3251199"/>
              </a:xfrm>
              <a:custGeom>
                <a:avLst/>
                <a:gdLst>
                  <a:gd name="T0" fmla="*/ 2072 w 2072"/>
                  <a:gd name="T1" fmla="*/ 0 h 1228"/>
                  <a:gd name="T2" fmla="*/ 2072 w 2072"/>
                  <a:gd name="T3" fmla="*/ 1228 h 1228"/>
                  <a:gd name="T4" fmla="*/ 420 w 2072"/>
                  <a:gd name="T5" fmla="*/ 1228 h 1228"/>
                  <a:gd name="T6" fmla="*/ 0 w 2072"/>
                  <a:gd name="T7" fmla="*/ 708 h 1228"/>
                  <a:gd name="T8" fmla="*/ 460 w 2072"/>
                  <a:gd name="T9" fmla="*/ 928 h 1228"/>
                  <a:gd name="T10" fmla="*/ 1076 w 2072"/>
                  <a:gd name="T11" fmla="*/ 692 h 1228"/>
                  <a:gd name="T12" fmla="*/ 2072 w 2072"/>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2072" h="1228">
                    <a:moveTo>
                      <a:pt x="2072" y="0"/>
                    </a:moveTo>
                    <a:cubicBezTo>
                      <a:pt x="2072" y="1228"/>
                      <a:pt x="2072" y="1228"/>
                      <a:pt x="2072" y="1228"/>
                    </a:cubicBezTo>
                    <a:cubicBezTo>
                      <a:pt x="420" y="1228"/>
                      <a:pt x="420" y="1228"/>
                      <a:pt x="420" y="1228"/>
                    </a:cubicBezTo>
                    <a:cubicBezTo>
                      <a:pt x="0" y="708"/>
                      <a:pt x="0" y="708"/>
                      <a:pt x="0" y="708"/>
                    </a:cubicBezTo>
                    <a:cubicBezTo>
                      <a:pt x="0" y="708"/>
                      <a:pt x="208" y="928"/>
                      <a:pt x="460" y="928"/>
                    </a:cubicBezTo>
                    <a:cubicBezTo>
                      <a:pt x="712" y="928"/>
                      <a:pt x="1076" y="692"/>
                      <a:pt x="1076" y="692"/>
                    </a:cubicBezTo>
                    <a:cubicBezTo>
                      <a:pt x="1076" y="692"/>
                      <a:pt x="1952" y="92"/>
                      <a:pt x="2072" y="0"/>
                    </a:cubicBezTo>
                    <a:close/>
                  </a:path>
                </a:pathLst>
              </a:custGeom>
              <a:solidFill>
                <a:srgbClr val="300B4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 name="Freeform 6">
                <a:extLst>
                  <a:ext uri="{FF2B5EF4-FFF2-40B4-BE49-F238E27FC236}">
                    <a16:creationId xmlns:a16="http://schemas.microsoft.com/office/drawing/2014/main" id="{750FCDE4-1544-4AD1-9168-2443EF7C2C74}"/>
                  </a:ext>
                </a:extLst>
              </p:cNvPr>
              <p:cNvSpPr>
                <a:spLocks/>
              </p:cNvSpPr>
              <p:nvPr/>
            </p:nvSpPr>
            <p:spPr bwMode="auto">
              <a:xfrm>
                <a:off x="-1" y="223665"/>
                <a:ext cx="9815731" cy="10009848"/>
              </a:xfrm>
              <a:custGeom>
                <a:avLst/>
                <a:gdLst>
                  <a:gd name="T0" fmla="*/ 0 w 2988"/>
                  <a:gd name="T1" fmla="*/ 120 h 2468"/>
                  <a:gd name="T2" fmla="*/ 0 w 2988"/>
                  <a:gd name="T3" fmla="*/ 2468 h 2468"/>
                  <a:gd name="T4" fmla="*/ 2988 w 2988"/>
                  <a:gd name="T5" fmla="*/ 2468 h 2468"/>
                  <a:gd name="T6" fmla="*/ 1672 w 2988"/>
                  <a:gd name="T7" fmla="*/ 632 h 2468"/>
                  <a:gd name="T8" fmla="*/ 1352 w 2988"/>
                  <a:gd name="T9" fmla="*/ 60 h 2468"/>
                  <a:gd name="T10" fmla="*/ 0 w 2988"/>
                  <a:gd name="T11" fmla="*/ 120 h 2468"/>
                  <a:gd name="connsiteX0" fmla="*/ 1004 w 14563"/>
                  <a:gd name="connsiteY0" fmla="*/ 304 h 15124"/>
                  <a:gd name="connsiteX1" fmla="*/ 1004 w 14563"/>
                  <a:gd name="connsiteY1" fmla="*/ 9818 h 15124"/>
                  <a:gd name="connsiteX2" fmla="*/ 14563 w 14563"/>
                  <a:gd name="connsiteY2" fmla="*/ 15124 h 15124"/>
                  <a:gd name="connsiteX3" fmla="*/ 6600 w 14563"/>
                  <a:gd name="connsiteY3" fmla="*/ 2379 h 15124"/>
                  <a:gd name="connsiteX4" fmla="*/ 5529 w 14563"/>
                  <a:gd name="connsiteY4" fmla="*/ 61 h 15124"/>
                  <a:gd name="connsiteX5" fmla="*/ 1004 w 14563"/>
                  <a:gd name="connsiteY5" fmla="*/ 304 h 15124"/>
                  <a:gd name="connsiteX0" fmla="*/ 943 w 14583"/>
                  <a:gd name="connsiteY0" fmla="*/ 304 h 16911"/>
                  <a:gd name="connsiteX1" fmla="*/ 1027 w 14583"/>
                  <a:gd name="connsiteY1" fmla="*/ 15229 h 16911"/>
                  <a:gd name="connsiteX2" fmla="*/ 14502 w 14583"/>
                  <a:gd name="connsiteY2" fmla="*/ 15124 h 16911"/>
                  <a:gd name="connsiteX3" fmla="*/ 6539 w 14583"/>
                  <a:gd name="connsiteY3" fmla="*/ 2379 h 16911"/>
                  <a:gd name="connsiteX4" fmla="*/ 5468 w 14583"/>
                  <a:gd name="connsiteY4" fmla="*/ 61 h 16911"/>
                  <a:gd name="connsiteX5" fmla="*/ 943 w 14583"/>
                  <a:gd name="connsiteY5" fmla="*/ 304 h 16911"/>
                  <a:gd name="connsiteX0" fmla="*/ 1425 w 15065"/>
                  <a:gd name="connsiteY0" fmla="*/ 304 h 16086"/>
                  <a:gd name="connsiteX1" fmla="*/ 1509 w 15065"/>
                  <a:gd name="connsiteY1" fmla="*/ 15229 h 16086"/>
                  <a:gd name="connsiteX2" fmla="*/ 14984 w 15065"/>
                  <a:gd name="connsiteY2" fmla="*/ 15124 h 16086"/>
                  <a:gd name="connsiteX3" fmla="*/ 7021 w 15065"/>
                  <a:gd name="connsiteY3" fmla="*/ 2379 h 16086"/>
                  <a:gd name="connsiteX4" fmla="*/ 5950 w 15065"/>
                  <a:gd name="connsiteY4" fmla="*/ 61 h 16086"/>
                  <a:gd name="connsiteX5" fmla="*/ 1425 w 15065"/>
                  <a:gd name="connsiteY5" fmla="*/ 304 h 16086"/>
                  <a:gd name="connsiteX0" fmla="*/ 1425 w 15065"/>
                  <a:gd name="connsiteY0" fmla="*/ 304 h 16086"/>
                  <a:gd name="connsiteX1" fmla="*/ 1509 w 15065"/>
                  <a:gd name="connsiteY1" fmla="*/ 15229 h 16086"/>
                  <a:gd name="connsiteX2" fmla="*/ 14984 w 15065"/>
                  <a:gd name="connsiteY2" fmla="*/ 15124 h 16086"/>
                  <a:gd name="connsiteX3" fmla="*/ 7021 w 15065"/>
                  <a:gd name="connsiteY3" fmla="*/ 2379 h 16086"/>
                  <a:gd name="connsiteX4" fmla="*/ 5950 w 15065"/>
                  <a:gd name="connsiteY4" fmla="*/ 61 h 16086"/>
                  <a:gd name="connsiteX5" fmla="*/ 1425 w 15065"/>
                  <a:gd name="connsiteY5" fmla="*/ 304 h 16086"/>
                  <a:gd name="connsiteX0" fmla="*/ 1425 w 15065"/>
                  <a:gd name="connsiteY0" fmla="*/ 304 h 15230"/>
                  <a:gd name="connsiteX1" fmla="*/ 1509 w 15065"/>
                  <a:gd name="connsiteY1" fmla="*/ 15229 h 15230"/>
                  <a:gd name="connsiteX2" fmla="*/ 14984 w 15065"/>
                  <a:gd name="connsiteY2" fmla="*/ 15124 h 15230"/>
                  <a:gd name="connsiteX3" fmla="*/ 7021 w 15065"/>
                  <a:gd name="connsiteY3" fmla="*/ 2379 h 15230"/>
                  <a:gd name="connsiteX4" fmla="*/ 5950 w 15065"/>
                  <a:gd name="connsiteY4" fmla="*/ 61 h 15230"/>
                  <a:gd name="connsiteX5" fmla="*/ 1425 w 15065"/>
                  <a:gd name="connsiteY5" fmla="*/ 304 h 15230"/>
                  <a:gd name="connsiteX0" fmla="*/ 1425 w 15065"/>
                  <a:gd name="connsiteY0" fmla="*/ 304 h 15245"/>
                  <a:gd name="connsiteX1" fmla="*/ 1509 w 15065"/>
                  <a:gd name="connsiteY1" fmla="*/ 15229 h 15245"/>
                  <a:gd name="connsiteX2" fmla="*/ 14984 w 15065"/>
                  <a:gd name="connsiteY2" fmla="*/ 15124 h 15245"/>
                  <a:gd name="connsiteX3" fmla="*/ 7021 w 15065"/>
                  <a:gd name="connsiteY3" fmla="*/ 2379 h 15245"/>
                  <a:gd name="connsiteX4" fmla="*/ 5950 w 15065"/>
                  <a:gd name="connsiteY4" fmla="*/ 61 h 15245"/>
                  <a:gd name="connsiteX5" fmla="*/ 1425 w 15065"/>
                  <a:gd name="connsiteY5" fmla="*/ 304 h 15245"/>
                  <a:gd name="connsiteX0" fmla="*/ 1425 w 14984"/>
                  <a:gd name="connsiteY0" fmla="*/ 304 h 15245"/>
                  <a:gd name="connsiteX1" fmla="*/ 1509 w 14984"/>
                  <a:gd name="connsiteY1" fmla="*/ 15229 h 15245"/>
                  <a:gd name="connsiteX2" fmla="*/ 14984 w 14984"/>
                  <a:gd name="connsiteY2" fmla="*/ 15124 h 15245"/>
                  <a:gd name="connsiteX3" fmla="*/ 7021 w 14984"/>
                  <a:gd name="connsiteY3" fmla="*/ 2379 h 15245"/>
                  <a:gd name="connsiteX4" fmla="*/ 5950 w 14984"/>
                  <a:gd name="connsiteY4" fmla="*/ 61 h 15245"/>
                  <a:gd name="connsiteX5" fmla="*/ 1425 w 14984"/>
                  <a:gd name="connsiteY5" fmla="*/ 304 h 15245"/>
                  <a:gd name="connsiteX0" fmla="*/ 1425 w 14984"/>
                  <a:gd name="connsiteY0" fmla="*/ 304 h 15245"/>
                  <a:gd name="connsiteX1" fmla="*/ 1509 w 14984"/>
                  <a:gd name="connsiteY1" fmla="*/ 15229 h 15245"/>
                  <a:gd name="connsiteX2" fmla="*/ 14984 w 14984"/>
                  <a:gd name="connsiteY2" fmla="*/ 15124 h 15245"/>
                  <a:gd name="connsiteX3" fmla="*/ 7021 w 14984"/>
                  <a:gd name="connsiteY3" fmla="*/ 2379 h 15245"/>
                  <a:gd name="connsiteX4" fmla="*/ 5950 w 14984"/>
                  <a:gd name="connsiteY4" fmla="*/ 61 h 15245"/>
                  <a:gd name="connsiteX5" fmla="*/ 1425 w 14984"/>
                  <a:gd name="connsiteY5" fmla="*/ 304 h 15245"/>
                  <a:gd name="connsiteX0" fmla="*/ 15 w 13574"/>
                  <a:gd name="connsiteY0" fmla="*/ 304 h 15245"/>
                  <a:gd name="connsiteX1" fmla="*/ 99 w 13574"/>
                  <a:gd name="connsiteY1" fmla="*/ 15229 h 15245"/>
                  <a:gd name="connsiteX2" fmla="*/ 13574 w 13574"/>
                  <a:gd name="connsiteY2" fmla="*/ 15124 h 15245"/>
                  <a:gd name="connsiteX3" fmla="*/ 5611 w 13574"/>
                  <a:gd name="connsiteY3" fmla="*/ 2379 h 15245"/>
                  <a:gd name="connsiteX4" fmla="*/ 4540 w 13574"/>
                  <a:gd name="connsiteY4" fmla="*/ 61 h 15245"/>
                  <a:gd name="connsiteX5" fmla="*/ 15 w 13574"/>
                  <a:gd name="connsiteY5" fmla="*/ 304 h 15245"/>
                  <a:gd name="connsiteX0" fmla="*/ 15 w 13504"/>
                  <a:gd name="connsiteY0" fmla="*/ 304 h 15358"/>
                  <a:gd name="connsiteX1" fmla="*/ 99 w 13504"/>
                  <a:gd name="connsiteY1" fmla="*/ 15229 h 15358"/>
                  <a:gd name="connsiteX2" fmla="*/ 13504 w 13504"/>
                  <a:gd name="connsiteY2" fmla="*/ 15271 h 15358"/>
                  <a:gd name="connsiteX3" fmla="*/ 5611 w 13504"/>
                  <a:gd name="connsiteY3" fmla="*/ 2379 h 15358"/>
                  <a:gd name="connsiteX4" fmla="*/ 4540 w 13504"/>
                  <a:gd name="connsiteY4" fmla="*/ 61 h 15358"/>
                  <a:gd name="connsiteX5" fmla="*/ 15 w 13504"/>
                  <a:gd name="connsiteY5" fmla="*/ 304 h 15358"/>
                  <a:gd name="connsiteX0" fmla="*/ 15 w 13420"/>
                  <a:gd name="connsiteY0" fmla="*/ 304 h 15323"/>
                  <a:gd name="connsiteX1" fmla="*/ 99 w 13420"/>
                  <a:gd name="connsiteY1" fmla="*/ 15229 h 15323"/>
                  <a:gd name="connsiteX2" fmla="*/ 13420 w 13420"/>
                  <a:gd name="connsiteY2" fmla="*/ 15229 h 15323"/>
                  <a:gd name="connsiteX3" fmla="*/ 5611 w 13420"/>
                  <a:gd name="connsiteY3" fmla="*/ 2379 h 15323"/>
                  <a:gd name="connsiteX4" fmla="*/ 4540 w 13420"/>
                  <a:gd name="connsiteY4" fmla="*/ 61 h 15323"/>
                  <a:gd name="connsiteX5" fmla="*/ 15 w 13420"/>
                  <a:gd name="connsiteY5" fmla="*/ 304 h 15323"/>
                  <a:gd name="connsiteX0" fmla="*/ 0 w 13405"/>
                  <a:gd name="connsiteY0" fmla="*/ 304 h 15323"/>
                  <a:gd name="connsiteX1" fmla="*/ 84 w 13405"/>
                  <a:gd name="connsiteY1" fmla="*/ 15229 h 15323"/>
                  <a:gd name="connsiteX2" fmla="*/ 13405 w 13405"/>
                  <a:gd name="connsiteY2" fmla="*/ 15229 h 15323"/>
                  <a:gd name="connsiteX3" fmla="*/ 5596 w 13405"/>
                  <a:gd name="connsiteY3" fmla="*/ 2379 h 15323"/>
                  <a:gd name="connsiteX4" fmla="*/ 4525 w 13405"/>
                  <a:gd name="connsiteY4" fmla="*/ 61 h 15323"/>
                  <a:gd name="connsiteX5" fmla="*/ 0 w 13405"/>
                  <a:gd name="connsiteY5" fmla="*/ 304 h 1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05" h="15323">
                    <a:moveTo>
                      <a:pt x="0" y="304"/>
                    </a:moveTo>
                    <a:cubicBezTo>
                      <a:pt x="0" y="9818"/>
                      <a:pt x="47" y="12452"/>
                      <a:pt x="84" y="15229"/>
                    </a:cubicBezTo>
                    <a:cubicBezTo>
                      <a:pt x="2525" y="15151"/>
                      <a:pt x="11886" y="15477"/>
                      <a:pt x="13405" y="15229"/>
                    </a:cubicBezTo>
                    <a:cubicBezTo>
                      <a:pt x="11225" y="11529"/>
                      <a:pt x="7376" y="6188"/>
                      <a:pt x="5596" y="2379"/>
                    </a:cubicBezTo>
                    <a:lnTo>
                      <a:pt x="4525" y="61"/>
                    </a:lnTo>
                    <a:cubicBezTo>
                      <a:pt x="4525" y="61"/>
                      <a:pt x="2276" y="-182"/>
                      <a:pt x="0" y="304"/>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15627161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0326148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Shape 8">
            <a:extLst>
              <a:ext uri="{FF2B5EF4-FFF2-40B4-BE49-F238E27FC236}">
                <a16:creationId xmlns:a16="http://schemas.microsoft.com/office/drawing/2014/main" id="{F123A334-F590-4DF5-8D12-2A2D74FD8662}"/>
              </a:ext>
            </a:extLst>
          </p:cNvPr>
          <p:cNvSpPr>
            <a:spLocks/>
          </p:cNvSpPr>
          <p:nvPr userDrawn="1"/>
        </p:nvSpPr>
        <p:spPr bwMode="auto">
          <a:xfrm>
            <a:off x="0" y="0"/>
            <a:ext cx="7953374" cy="2371725"/>
          </a:xfrm>
          <a:custGeom>
            <a:avLst/>
            <a:gdLst>
              <a:gd name="connsiteX0" fmla="*/ 0 w 6505574"/>
              <a:gd name="connsiteY0" fmla="*/ 0 h 3200400"/>
              <a:gd name="connsiteX1" fmla="*/ 6475873 w 6505574"/>
              <a:gd name="connsiteY1" fmla="*/ 0 h 3200400"/>
              <a:gd name="connsiteX2" fmla="*/ 6492374 w 6505574"/>
              <a:gd name="connsiteY2" fmla="*/ 0 h 3200400"/>
              <a:gd name="connsiteX3" fmla="*/ 6502274 w 6505574"/>
              <a:gd name="connsiteY3" fmla="*/ 3554 h 3200400"/>
              <a:gd name="connsiteX4" fmla="*/ 6505574 w 6505574"/>
              <a:gd name="connsiteY4" fmla="*/ 7109 h 3200400"/>
              <a:gd name="connsiteX5" fmla="*/ 6505574 w 6505574"/>
              <a:gd name="connsiteY5" fmla="*/ 15994 h 3200400"/>
              <a:gd name="connsiteX6" fmla="*/ 6505574 w 6505574"/>
              <a:gd name="connsiteY6" fmla="*/ 30211 h 3200400"/>
              <a:gd name="connsiteX7" fmla="*/ 6505574 w 6505574"/>
              <a:gd name="connsiteY7" fmla="*/ 44428 h 3200400"/>
              <a:gd name="connsiteX8" fmla="*/ 6498974 w 6505574"/>
              <a:gd name="connsiteY8" fmla="*/ 46205 h 3200400"/>
              <a:gd name="connsiteX9" fmla="*/ 6498974 w 6505574"/>
              <a:gd name="connsiteY9" fmla="*/ 49759 h 3200400"/>
              <a:gd name="connsiteX10" fmla="*/ 6498974 w 6505574"/>
              <a:gd name="connsiteY10" fmla="*/ 56868 h 3200400"/>
              <a:gd name="connsiteX11" fmla="*/ 6485773 w 6505574"/>
              <a:gd name="connsiteY11" fmla="*/ 122621 h 3200400"/>
              <a:gd name="connsiteX12" fmla="*/ 6472573 w 6505574"/>
              <a:gd name="connsiteY12" fmla="*/ 177712 h 3200400"/>
              <a:gd name="connsiteX13" fmla="*/ 6456072 w 6505574"/>
              <a:gd name="connsiteY13" fmla="*/ 231025 h 3200400"/>
              <a:gd name="connsiteX14" fmla="*/ 6432971 w 6505574"/>
              <a:gd name="connsiteY14" fmla="*/ 282562 h 3200400"/>
              <a:gd name="connsiteX15" fmla="*/ 6409870 w 6505574"/>
              <a:gd name="connsiteY15" fmla="*/ 334098 h 3200400"/>
              <a:gd name="connsiteX16" fmla="*/ 6380168 w 6505574"/>
              <a:gd name="connsiteY16" fmla="*/ 385635 h 3200400"/>
              <a:gd name="connsiteX17" fmla="*/ 6350467 w 6505574"/>
              <a:gd name="connsiteY17" fmla="*/ 435394 h 3200400"/>
              <a:gd name="connsiteX18" fmla="*/ 6314165 w 6505574"/>
              <a:gd name="connsiteY18" fmla="*/ 483376 h 3200400"/>
              <a:gd name="connsiteX19" fmla="*/ 6274563 w 6505574"/>
              <a:gd name="connsiteY19" fmla="*/ 531358 h 3200400"/>
              <a:gd name="connsiteX20" fmla="*/ 6231661 w 6505574"/>
              <a:gd name="connsiteY20" fmla="*/ 579341 h 3200400"/>
              <a:gd name="connsiteX21" fmla="*/ 6185459 w 6505574"/>
              <a:gd name="connsiteY21" fmla="*/ 625546 h 3200400"/>
              <a:gd name="connsiteX22" fmla="*/ 6132657 w 6505574"/>
              <a:gd name="connsiteY22" fmla="*/ 669974 h 3200400"/>
              <a:gd name="connsiteX23" fmla="*/ 6079854 w 6505574"/>
              <a:gd name="connsiteY23" fmla="*/ 714402 h 3200400"/>
              <a:gd name="connsiteX24" fmla="*/ 6023752 w 6505574"/>
              <a:gd name="connsiteY24" fmla="*/ 757052 h 3200400"/>
              <a:gd name="connsiteX25" fmla="*/ 5961049 w 6505574"/>
              <a:gd name="connsiteY25" fmla="*/ 799703 h 3200400"/>
              <a:gd name="connsiteX26" fmla="*/ 5898346 w 6505574"/>
              <a:gd name="connsiteY26" fmla="*/ 842354 h 3200400"/>
              <a:gd name="connsiteX27" fmla="*/ 5829042 w 6505574"/>
              <a:gd name="connsiteY27" fmla="*/ 883228 h 3200400"/>
              <a:gd name="connsiteX28" fmla="*/ 5772940 w 6505574"/>
              <a:gd name="connsiteY28" fmla="*/ 915216 h 3200400"/>
              <a:gd name="connsiteX29" fmla="*/ 5716837 w 6505574"/>
              <a:gd name="connsiteY29" fmla="*/ 945427 h 3200400"/>
              <a:gd name="connsiteX30" fmla="*/ 5657434 w 6505574"/>
              <a:gd name="connsiteY30" fmla="*/ 975638 h 3200400"/>
              <a:gd name="connsiteX31" fmla="*/ 5598031 w 6505574"/>
              <a:gd name="connsiteY31" fmla="*/ 1004072 h 3200400"/>
              <a:gd name="connsiteX32" fmla="*/ 5475926 w 6505574"/>
              <a:gd name="connsiteY32" fmla="*/ 1060940 h 3200400"/>
              <a:gd name="connsiteX33" fmla="*/ 5347220 w 6505574"/>
              <a:gd name="connsiteY33" fmla="*/ 1112476 h 3200400"/>
              <a:gd name="connsiteX34" fmla="*/ 5215213 w 6505574"/>
              <a:gd name="connsiteY34" fmla="*/ 1162235 h 3200400"/>
              <a:gd name="connsiteX35" fmla="*/ 5079907 w 6505574"/>
              <a:gd name="connsiteY35" fmla="*/ 1208441 h 3200400"/>
              <a:gd name="connsiteX36" fmla="*/ 4941300 w 6505574"/>
              <a:gd name="connsiteY36" fmla="*/ 1252868 h 3200400"/>
              <a:gd name="connsiteX37" fmla="*/ 4799394 w 6505574"/>
              <a:gd name="connsiteY37" fmla="*/ 1295519 h 3200400"/>
              <a:gd name="connsiteX38" fmla="*/ 4697089 w 6505574"/>
              <a:gd name="connsiteY38" fmla="*/ 1322176 h 3200400"/>
              <a:gd name="connsiteX39" fmla="*/ 4598084 w 6505574"/>
              <a:gd name="connsiteY39" fmla="*/ 1348833 h 3200400"/>
              <a:gd name="connsiteX40" fmla="*/ 4396775 w 6505574"/>
              <a:gd name="connsiteY40" fmla="*/ 1398592 h 3200400"/>
              <a:gd name="connsiteX41" fmla="*/ 4192165 w 6505574"/>
              <a:gd name="connsiteY41" fmla="*/ 1444797 h 3200400"/>
              <a:gd name="connsiteX42" fmla="*/ 3987556 w 6505574"/>
              <a:gd name="connsiteY42" fmla="*/ 1491002 h 3200400"/>
              <a:gd name="connsiteX43" fmla="*/ 3548635 w 6505574"/>
              <a:gd name="connsiteY43" fmla="*/ 1590521 h 3200400"/>
              <a:gd name="connsiteX44" fmla="*/ 3109714 w 6505574"/>
              <a:gd name="connsiteY44" fmla="*/ 1691817 h 3200400"/>
              <a:gd name="connsiteX45" fmla="*/ 2674093 w 6505574"/>
              <a:gd name="connsiteY45" fmla="*/ 1794890 h 3200400"/>
              <a:gd name="connsiteX46" fmla="*/ 2459584 w 6505574"/>
              <a:gd name="connsiteY46" fmla="*/ 1848203 h 3200400"/>
              <a:gd name="connsiteX47" fmla="*/ 2245073 w 6505574"/>
              <a:gd name="connsiteY47" fmla="*/ 1903294 h 3200400"/>
              <a:gd name="connsiteX48" fmla="*/ 1941459 w 6505574"/>
              <a:gd name="connsiteY48" fmla="*/ 1983264 h 3200400"/>
              <a:gd name="connsiteX49" fmla="*/ 1789652 w 6505574"/>
              <a:gd name="connsiteY49" fmla="*/ 2024138 h 3200400"/>
              <a:gd name="connsiteX50" fmla="*/ 1641145 w 6505574"/>
              <a:gd name="connsiteY50" fmla="*/ 2066788 h 3200400"/>
              <a:gd name="connsiteX51" fmla="*/ 1495938 w 6505574"/>
              <a:gd name="connsiteY51" fmla="*/ 2111216 h 3200400"/>
              <a:gd name="connsiteX52" fmla="*/ 1350731 w 6505574"/>
              <a:gd name="connsiteY52" fmla="*/ 2157421 h 3200400"/>
              <a:gd name="connsiteX53" fmla="*/ 1205524 w 6505574"/>
              <a:gd name="connsiteY53" fmla="*/ 2205404 h 3200400"/>
              <a:gd name="connsiteX54" fmla="*/ 1063618 w 6505574"/>
              <a:gd name="connsiteY54" fmla="*/ 2255163 h 3200400"/>
              <a:gd name="connsiteX55" fmla="*/ 967914 w 6505574"/>
              <a:gd name="connsiteY55" fmla="*/ 2290705 h 3200400"/>
              <a:gd name="connsiteX56" fmla="*/ 872209 w 6505574"/>
              <a:gd name="connsiteY56" fmla="*/ 2328025 h 3200400"/>
              <a:gd name="connsiteX57" fmla="*/ 779804 w 6505574"/>
              <a:gd name="connsiteY57" fmla="*/ 2367121 h 3200400"/>
              <a:gd name="connsiteX58" fmla="*/ 690700 w 6505574"/>
              <a:gd name="connsiteY58" fmla="*/ 2407995 h 3200400"/>
              <a:gd name="connsiteX59" fmla="*/ 601596 w 6505574"/>
              <a:gd name="connsiteY59" fmla="*/ 2450646 h 3200400"/>
              <a:gd name="connsiteX60" fmla="*/ 519092 w 6505574"/>
              <a:gd name="connsiteY60" fmla="*/ 2495074 h 3200400"/>
              <a:gd name="connsiteX61" fmla="*/ 436588 w 6505574"/>
              <a:gd name="connsiteY61" fmla="*/ 2541279 h 3200400"/>
              <a:gd name="connsiteX62" fmla="*/ 360685 w 6505574"/>
              <a:gd name="connsiteY62" fmla="*/ 2591038 h 3200400"/>
              <a:gd name="connsiteX63" fmla="*/ 304582 w 6505574"/>
              <a:gd name="connsiteY63" fmla="*/ 2631912 h 3200400"/>
              <a:gd name="connsiteX64" fmla="*/ 251779 w 6505574"/>
              <a:gd name="connsiteY64" fmla="*/ 2672786 h 3200400"/>
              <a:gd name="connsiteX65" fmla="*/ 205577 w 6505574"/>
              <a:gd name="connsiteY65" fmla="*/ 2713659 h 3200400"/>
              <a:gd name="connsiteX66" fmla="*/ 162675 w 6505574"/>
              <a:gd name="connsiteY66" fmla="*/ 2756310 h 3200400"/>
              <a:gd name="connsiteX67" fmla="*/ 123073 w 6505574"/>
              <a:gd name="connsiteY67" fmla="*/ 2800738 h 3200400"/>
              <a:gd name="connsiteX68" fmla="*/ 93372 w 6505574"/>
              <a:gd name="connsiteY68" fmla="*/ 2843389 h 3200400"/>
              <a:gd name="connsiteX69" fmla="*/ 63671 w 6505574"/>
              <a:gd name="connsiteY69" fmla="*/ 2887817 h 3200400"/>
              <a:gd name="connsiteX70" fmla="*/ 43870 w 6505574"/>
              <a:gd name="connsiteY70" fmla="*/ 2934022 h 3200400"/>
              <a:gd name="connsiteX71" fmla="*/ 24069 w 6505574"/>
              <a:gd name="connsiteY71" fmla="*/ 2978450 h 3200400"/>
              <a:gd name="connsiteX72" fmla="*/ 10868 w 6505574"/>
              <a:gd name="connsiteY72" fmla="*/ 3024655 h 3200400"/>
              <a:gd name="connsiteX73" fmla="*/ 4268 w 6505574"/>
              <a:gd name="connsiteY73" fmla="*/ 3072637 h 3200400"/>
              <a:gd name="connsiteX74" fmla="*/ 968 w 6505574"/>
              <a:gd name="connsiteY74" fmla="*/ 3120619 h 3200400"/>
              <a:gd name="connsiteX75" fmla="*/ 4268 w 6505574"/>
              <a:gd name="connsiteY75" fmla="*/ 3168602 h 3200400"/>
              <a:gd name="connsiteX76" fmla="*/ 8642 w 6505574"/>
              <a:gd name="connsiteY76" fmla="*/ 3200400 h 3200400"/>
              <a:gd name="connsiteX77" fmla="*/ 0 w 6505574"/>
              <a:gd name="connsiteY77" fmla="*/ 320040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505574" h="3200400">
                <a:moveTo>
                  <a:pt x="0" y="0"/>
                </a:moveTo>
                <a:lnTo>
                  <a:pt x="6475873" y="0"/>
                </a:lnTo>
                <a:lnTo>
                  <a:pt x="6492374" y="0"/>
                </a:lnTo>
                <a:lnTo>
                  <a:pt x="6502274" y="3554"/>
                </a:lnTo>
                <a:lnTo>
                  <a:pt x="6505574" y="7109"/>
                </a:lnTo>
                <a:lnTo>
                  <a:pt x="6505574" y="15994"/>
                </a:lnTo>
                <a:lnTo>
                  <a:pt x="6505574" y="30211"/>
                </a:lnTo>
                <a:lnTo>
                  <a:pt x="6505574" y="44428"/>
                </a:lnTo>
                <a:lnTo>
                  <a:pt x="6498974" y="46205"/>
                </a:lnTo>
                <a:lnTo>
                  <a:pt x="6498974" y="49759"/>
                </a:lnTo>
                <a:lnTo>
                  <a:pt x="6498974" y="56868"/>
                </a:lnTo>
                <a:lnTo>
                  <a:pt x="6485773" y="122621"/>
                </a:lnTo>
                <a:lnTo>
                  <a:pt x="6472573" y="177712"/>
                </a:lnTo>
                <a:lnTo>
                  <a:pt x="6456072" y="231025"/>
                </a:lnTo>
                <a:lnTo>
                  <a:pt x="6432971" y="282562"/>
                </a:lnTo>
                <a:lnTo>
                  <a:pt x="6409870" y="334098"/>
                </a:lnTo>
                <a:lnTo>
                  <a:pt x="6380168" y="385635"/>
                </a:lnTo>
                <a:lnTo>
                  <a:pt x="6350467" y="435394"/>
                </a:lnTo>
                <a:lnTo>
                  <a:pt x="6314165" y="483376"/>
                </a:lnTo>
                <a:lnTo>
                  <a:pt x="6274563" y="531358"/>
                </a:lnTo>
                <a:lnTo>
                  <a:pt x="6231661" y="579341"/>
                </a:lnTo>
                <a:lnTo>
                  <a:pt x="6185459" y="625546"/>
                </a:lnTo>
                <a:lnTo>
                  <a:pt x="6132657" y="669974"/>
                </a:lnTo>
                <a:lnTo>
                  <a:pt x="6079854" y="714402"/>
                </a:lnTo>
                <a:lnTo>
                  <a:pt x="6023752" y="757052"/>
                </a:lnTo>
                <a:lnTo>
                  <a:pt x="5961049" y="799703"/>
                </a:lnTo>
                <a:lnTo>
                  <a:pt x="5898346" y="842354"/>
                </a:lnTo>
                <a:lnTo>
                  <a:pt x="5829042" y="883228"/>
                </a:lnTo>
                <a:lnTo>
                  <a:pt x="5772940" y="915216"/>
                </a:lnTo>
                <a:lnTo>
                  <a:pt x="5716837" y="945427"/>
                </a:lnTo>
                <a:lnTo>
                  <a:pt x="5657434" y="975638"/>
                </a:lnTo>
                <a:lnTo>
                  <a:pt x="5598031" y="1004072"/>
                </a:lnTo>
                <a:lnTo>
                  <a:pt x="5475926" y="1060940"/>
                </a:lnTo>
                <a:lnTo>
                  <a:pt x="5347220" y="1112476"/>
                </a:lnTo>
                <a:lnTo>
                  <a:pt x="5215213" y="1162235"/>
                </a:lnTo>
                <a:lnTo>
                  <a:pt x="5079907" y="1208441"/>
                </a:lnTo>
                <a:lnTo>
                  <a:pt x="4941300" y="1252868"/>
                </a:lnTo>
                <a:lnTo>
                  <a:pt x="4799394" y="1295519"/>
                </a:lnTo>
                <a:lnTo>
                  <a:pt x="4697089" y="1322176"/>
                </a:lnTo>
                <a:lnTo>
                  <a:pt x="4598084" y="1348833"/>
                </a:lnTo>
                <a:lnTo>
                  <a:pt x="4396775" y="1398592"/>
                </a:lnTo>
                <a:lnTo>
                  <a:pt x="4192165" y="1444797"/>
                </a:lnTo>
                <a:lnTo>
                  <a:pt x="3987556" y="1491002"/>
                </a:lnTo>
                <a:lnTo>
                  <a:pt x="3548635" y="1590521"/>
                </a:lnTo>
                <a:lnTo>
                  <a:pt x="3109714" y="1691817"/>
                </a:lnTo>
                <a:lnTo>
                  <a:pt x="2674093" y="1794890"/>
                </a:lnTo>
                <a:lnTo>
                  <a:pt x="2459584" y="1848203"/>
                </a:lnTo>
                <a:lnTo>
                  <a:pt x="2245073" y="1903294"/>
                </a:lnTo>
                <a:lnTo>
                  <a:pt x="1941459" y="1983264"/>
                </a:lnTo>
                <a:lnTo>
                  <a:pt x="1789652" y="2024138"/>
                </a:lnTo>
                <a:lnTo>
                  <a:pt x="1641145" y="2066788"/>
                </a:lnTo>
                <a:lnTo>
                  <a:pt x="1495938" y="2111216"/>
                </a:lnTo>
                <a:lnTo>
                  <a:pt x="1350731" y="2157421"/>
                </a:lnTo>
                <a:lnTo>
                  <a:pt x="1205524" y="2205404"/>
                </a:lnTo>
                <a:lnTo>
                  <a:pt x="1063618" y="2255163"/>
                </a:lnTo>
                <a:lnTo>
                  <a:pt x="967914" y="2290705"/>
                </a:lnTo>
                <a:lnTo>
                  <a:pt x="872209" y="2328025"/>
                </a:lnTo>
                <a:lnTo>
                  <a:pt x="779804" y="2367121"/>
                </a:lnTo>
                <a:lnTo>
                  <a:pt x="690700" y="2407995"/>
                </a:lnTo>
                <a:lnTo>
                  <a:pt x="601596" y="2450646"/>
                </a:lnTo>
                <a:lnTo>
                  <a:pt x="519092" y="2495074"/>
                </a:lnTo>
                <a:lnTo>
                  <a:pt x="436588" y="2541279"/>
                </a:lnTo>
                <a:lnTo>
                  <a:pt x="360685" y="2591038"/>
                </a:lnTo>
                <a:lnTo>
                  <a:pt x="304582" y="2631912"/>
                </a:lnTo>
                <a:lnTo>
                  <a:pt x="251779" y="2672786"/>
                </a:lnTo>
                <a:lnTo>
                  <a:pt x="205577" y="2713659"/>
                </a:lnTo>
                <a:lnTo>
                  <a:pt x="162675" y="2756310"/>
                </a:lnTo>
                <a:lnTo>
                  <a:pt x="123073" y="2800738"/>
                </a:lnTo>
                <a:lnTo>
                  <a:pt x="93372" y="2843389"/>
                </a:lnTo>
                <a:lnTo>
                  <a:pt x="63671" y="2887817"/>
                </a:lnTo>
                <a:lnTo>
                  <a:pt x="43870" y="2934022"/>
                </a:lnTo>
                <a:lnTo>
                  <a:pt x="24069" y="2978450"/>
                </a:lnTo>
                <a:lnTo>
                  <a:pt x="10868" y="3024655"/>
                </a:lnTo>
                <a:lnTo>
                  <a:pt x="4268" y="3072637"/>
                </a:lnTo>
                <a:lnTo>
                  <a:pt x="968" y="3120619"/>
                </a:lnTo>
                <a:lnTo>
                  <a:pt x="4268" y="3168602"/>
                </a:lnTo>
                <a:lnTo>
                  <a:pt x="8642" y="3200400"/>
                </a:lnTo>
                <a:lnTo>
                  <a:pt x="0" y="320040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145396" y="150733"/>
            <a:ext cx="6712603" cy="1068467"/>
          </a:xfrm>
          <a:prstGeom prst="rect">
            <a:avLst/>
          </a:prstGeom>
        </p:spPr>
        <p:txBody>
          <a:bodyPr>
            <a:noAutofit/>
          </a:bodyPr>
          <a:lstStyle>
            <a:lvl1pPr marL="0" indent="0">
              <a:lnSpc>
                <a:spcPct val="100000"/>
              </a:lnSpc>
              <a:buNone/>
              <a:defRPr sz="2400" b="0">
                <a:solidFill>
                  <a:schemeClr val="bg1"/>
                </a:solidFill>
                <a:latin typeface="+mj-lt"/>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3091211854"/>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4864048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73D6EF-22C5-4A47-B2D4-B00356CD792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5" y="1"/>
            <a:ext cx="12192000" cy="6857999"/>
          </a:xfrm>
          <a:prstGeom prst="rect">
            <a:avLst/>
          </a:prstGeom>
        </p:spPr>
      </p:pic>
      <p:pic>
        <p:nvPicPr>
          <p:cNvPr id="4" name="Picture 3">
            <a:extLst>
              <a:ext uri="{FF2B5EF4-FFF2-40B4-BE49-F238E27FC236}">
                <a16:creationId xmlns:a16="http://schemas.microsoft.com/office/drawing/2014/main" id="{ABC56B2F-28A4-49B9-8359-32602C30058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489435" y="0"/>
            <a:ext cx="6699505" cy="6858000"/>
          </a:xfrm>
          <a:prstGeom prst="rect">
            <a:avLst/>
          </a:prstGeom>
        </p:spPr>
      </p:pic>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6" imgW="270" imgH="270" progId="TCLayout.ActiveDocument.1">
                  <p:embed/>
                </p:oleObj>
              </mc:Choice>
              <mc:Fallback>
                <p:oleObj name="think-cell Slide" r:id="rId6" imgW="270" imgH="270" progId="TCLayout.ActiveDocument.1">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le 1"/>
          <p:cNvSpPr>
            <a:spLocks noGrp="1"/>
          </p:cNvSpPr>
          <p:nvPr>
            <p:ph type="ctrTitle" hasCustomPrompt="1"/>
          </p:nvPr>
        </p:nvSpPr>
        <p:spPr>
          <a:xfrm>
            <a:off x="6548102" y="5020286"/>
            <a:ext cx="4876800"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lnSpc>
                <a:spcPct val="100000"/>
              </a:lnSpc>
              <a:spcBef>
                <a:spcPts val="600"/>
              </a:spcBef>
              <a:defRPr lang="en-US" sz="3400" b="0" dirty="0">
                <a:solidFill>
                  <a:schemeClr val="bg1"/>
                </a:solidFill>
              </a:defRPr>
            </a:lvl1pPr>
          </a:lstStyle>
          <a:p>
            <a:pPr marL="0" lvl="0"/>
            <a:r>
              <a:rPr lang="en-US"/>
              <a:t>Click to insert title</a:t>
            </a:r>
          </a:p>
        </p:txBody>
      </p:sp>
      <p:pic>
        <p:nvPicPr>
          <p:cNvPr id="10" name="Picture 9">
            <a:extLst>
              <a:ext uri="{FF2B5EF4-FFF2-40B4-BE49-F238E27FC236}">
                <a16:creationId xmlns:a16="http://schemas.microsoft.com/office/drawing/2014/main" id="{FE3B21EA-B444-4384-B010-077E621331AB}"/>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257736" y="6294458"/>
            <a:ext cx="2113243" cy="471764"/>
          </a:xfrm>
          <a:prstGeom prst="rect">
            <a:avLst/>
          </a:prstGeom>
        </p:spPr>
      </p:pic>
    </p:spTree>
    <p:extLst>
      <p:ext uri="{BB962C8B-B14F-4D97-AF65-F5344CB8AC3E}">
        <p14:creationId xmlns:p14="http://schemas.microsoft.com/office/powerpoint/2010/main" val="460643523"/>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E0006B7-F53E-49DC-9132-9AB169978FCF}"/>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Graphic 12">
            <a:extLst>
              <a:ext uri="{FF2B5EF4-FFF2-40B4-BE49-F238E27FC236}">
                <a16:creationId xmlns:a16="http://schemas.microsoft.com/office/drawing/2014/main" id="{84479152-7D9A-4358-BD75-0D9960BA7C0A}"/>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21126" b="21349"/>
          <a:stretch/>
        </p:blipFill>
        <p:spPr>
          <a:xfrm flipH="1">
            <a:off x="6053660" y="2927926"/>
            <a:ext cx="6138340" cy="3930073"/>
          </a:xfrm>
          <a:prstGeom prst="rect">
            <a:avLst/>
          </a:prstGeom>
        </p:spPr>
      </p:pic>
      <p:sp>
        <p:nvSpPr>
          <p:cNvPr id="11" name="Title 1"/>
          <p:cNvSpPr>
            <a:spLocks noGrp="1"/>
          </p:cNvSpPr>
          <p:nvPr>
            <p:ph type="ctrTitle" hasCustomPrompt="1"/>
          </p:nvPr>
        </p:nvSpPr>
        <p:spPr>
          <a:xfrm>
            <a:off x="6797938" y="4008438"/>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Click to insert title</a:t>
            </a:r>
          </a:p>
        </p:txBody>
      </p:sp>
      <p:sp>
        <p:nvSpPr>
          <p:cNvPr id="12" name="Subtitle 2"/>
          <p:cNvSpPr>
            <a:spLocks noGrp="1"/>
          </p:cNvSpPr>
          <p:nvPr>
            <p:ph type="subTitle" idx="1" hasCustomPrompt="1"/>
          </p:nvPr>
        </p:nvSpPr>
        <p:spPr>
          <a:xfrm>
            <a:off x="6797938" y="487203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363"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pic>
        <p:nvPicPr>
          <p:cNvPr id="9" name="Graphic 9">
            <a:extLst>
              <a:ext uri="{FF2B5EF4-FFF2-40B4-BE49-F238E27FC236}">
                <a16:creationId xmlns:a16="http://schemas.microsoft.com/office/drawing/2014/main" id="{DD5EAD0B-7CAE-490A-A7C7-C4E895DA2D7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11924" y="363235"/>
            <a:ext cx="1814303" cy="404776"/>
          </a:xfrm>
          <a:prstGeom prst="rect">
            <a:avLst/>
          </a:prstGeom>
        </p:spPr>
      </p:pic>
    </p:spTree>
    <p:extLst>
      <p:ext uri="{BB962C8B-B14F-4D97-AF65-F5344CB8AC3E}">
        <p14:creationId xmlns:p14="http://schemas.microsoft.com/office/powerpoint/2010/main" val="1228129829"/>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6897053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_Only">
    <p:bg>
      <p:bgRef idx="1001">
        <a:schemeClr val="bg1"/>
      </p:bgRef>
    </p:bg>
    <p:spTree>
      <p:nvGrpSpPr>
        <p:cNvPr id="1" name=""/>
        <p:cNvGrpSpPr/>
        <p:nvPr/>
      </p:nvGrpSpPr>
      <p:grpSpPr>
        <a:xfrm>
          <a:off x="0" y="0"/>
          <a:ext cx="0" cy="0"/>
          <a:chOff x="0" y="0"/>
          <a:chExt cx="0" cy="0"/>
        </a:xfrm>
      </p:grpSpPr>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36513" y="0"/>
            <a:ext cx="10771487" cy="863600"/>
          </a:xfrm>
          <a:prstGeom prst="rect">
            <a:avLst/>
          </a:prstGeom>
        </p:spPr>
        <p:txBody>
          <a:bodyPr vert="horz" lIns="0" tIns="0" rIns="0" bIns="0" rtlCol="0" anchor="ctr">
            <a:noAutofit/>
          </a:bodyPr>
          <a:lstStyle>
            <a:lvl1pPr>
              <a:defRPr kumimoji="0" lang="pt-PT" sz="3000" b="0" i="0" u="none" strike="noStrike" cap="none" spc="0" normalizeH="0" baseline="0" dirty="0">
                <a:ln>
                  <a:noFill/>
                </a:ln>
                <a:solidFill>
                  <a:srgbClr val="0070AD"/>
                </a:solidFill>
                <a:effectLst/>
                <a:uLnTx/>
                <a:uFillTx/>
                <a:latin typeface="Verdana"/>
                <a:ea typeface="+mj-ea"/>
                <a:cs typeface="+mj-cs"/>
              </a:defRPr>
            </a:lvl1pPr>
          </a:lstStyle>
          <a:p>
            <a:pPr marL="0" marR="0" lvl="0" indent="0" fontAlgn="auto">
              <a:lnSpc>
                <a:spcPct val="90000"/>
              </a:lnSpc>
              <a:spcAft>
                <a:spcPts val="0"/>
              </a:spcAft>
              <a:buClrTx/>
              <a:buSzTx/>
              <a:buFontTx/>
              <a:tabLst/>
            </a:pPr>
            <a:r>
              <a:rPr lang="en-US"/>
              <a:t>Click to add title</a:t>
            </a:r>
            <a:endParaRPr lang="pt-PT"/>
          </a:p>
        </p:txBody>
      </p:sp>
    </p:spTree>
    <p:extLst>
      <p:ext uri="{BB962C8B-B14F-4D97-AF65-F5344CB8AC3E}">
        <p14:creationId xmlns:p14="http://schemas.microsoft.com/office/powerpoint/2010/main" val="10046505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5" y="4"/>
          <a:ext cx="180998" cy="143985"/>
        </p:xfrm>
        <a:graphic>
          <a:graphicData uri="http://schemas.openxmlformats.org/presentationml/2006/ole">
            <mc:AlternateContent xmlns:mc="http://schemas.openxmlformats.org/markup-compatibility/2006">
              <mc:Choice xmlns:v="urn:schemas-microsoft-com:vml" Requires="v">
                <p:oleObj spid="_x0000_s1844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 y="4"/>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12192000" cy="897460"/>
          </a:xfrm>
        </p:spPr>
        <p:txBody>
          <a:bodyPr vert="horz" lIns="297529" tIns="33059" rIns="165294" bIns="33059" rtlCol="0" anchor="ctr">
            <a:noAutofit/>
          </a:bodyPr>
          <a:lstStyle>
            <a:lvl1pPr algn="l" defTabSz="914342" rtl="0" eaLnBrk="1" latinLnBrk="0" hangingPunct="1">
              <a:lnSpc>
                <a:spcPct val="85000"/>
              </a:lnSpc>
              <a:spcBef>
                <a:spcPct val="0"/>
              </a:spcBef>
              <a:buNone/>
              <a:defRPr lang="en-US" sz="2400" b="0" kern="1200" noProof="0" dirty="0">
                <a:solidFill>
                  <a:schemeClr val="tx1"/>
                </a:solidFill>
                <a:latin typeface="Arial Narrow" pitchFamily="34" charset="0"/>
                <a:ea typeface="+mj-ea"/>
                <a:cs typeface="+mj-cs"/>
              </a:defRPr>
            </a:lvl1pPr>
          </a:lstStyle>
          <a:p>
            <a:r>
              <a:rPr lang="en-US" noProof="0"/>
              <a:t>Click to edit Master title style</a:t>
            </a:r>
            <a:endParaRPr lang="en-US"/>
          </a:p>
        </p:txBody>
      </p:sp>
      <p:sp>
        <p:nvSpPr>
          <p:cNvPr id="3" name="Content Placeholder 2"/>
          <p:cNvSpPr>
            <a:spLocks noGrp="1"/>
          </p:cNvSpPr>
          <p:nvPr>
            <p:ph idx="1"/>
            <p:custDataLst>
              <p:tags r:id="rId4"/>
            </p:custDataLst>
          </p:nvPr>
        </p:nvSpPr>
        <p:spPr>
          <a:xfrm>
            <a:off x="420081" y="1309688"/>
            <a:ext cx="11351846" cy="4957762"/>
          </a:xfrm>
        </p:spPr>
        <p:txBody>
          <a:bodyPr/>
          <a:lstStyle>
            <a:lvl1pPr>
              <a:defRPr b="0"/>
            </a:lvl1pPr>
            <a:lvl2pPr marL="457200" indent="-228600">
              <a:defRPr/>
            </a:lvl2pPr>
            <a:lvl3pPr marL="685800" indent="-228600">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6730716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ase Layout">
    <p:spTree>
      <p:nvGrpSpPr>
        <p:cNvPr id="1" name=""/>
        <p:cNvGrpSpPr/>
        <p:nvPr/>
      </p:nvGrpSpPr>
      <p:grpSpPr>
        <a:xfrm>
          <a:off x="0" y="0"/>
          <a:ext cx="0" cy="0"/>
          <a:chOff x="0" y="0"/>
          <a:chExt cx="0" cy="0"/>
        </a:xfrm>
      </p:grpSpPr>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126907"/>
            <a:ext cx="10829507" cy="387443"/>
          </a:xfrm>
          <a:prstGeom prst="rect">
            <a:avLst/>
          </a:prstGeom>
        </p:spPr>
        <p:txBody>
          <a:bodyPr vert="horz" lIns="0" tIns="0" rIns="0" bIns="0" rtlCol="0" anchor="t">
            <a:noAutofit/>
          </a:bodyPr>
          <a:lstStyle>
            <a:lvl1pPr>
              <a:lnSpc>
                <a:spcPct val="100000"/>
              </a:lnSpc>
              <a:defRPr lang="pt-PT" sz="2400" b="1" dirty="0">
                <a:solidFill>
                  <a:schemeClr val="accent3">
                    <a:lumMod val="90000"/>
                    <a:lumOff val="10000"/>
                  </a:schemeClr>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4695724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9392901" cy="1104900"/>
          </a:xfrm>
        </p:spPr>
        <p:txBody>
          <a:bodyPr/>
          <a:lstStyle>
            <a:lvl1pPr>
              <a:defRPr sz="2600" b="1"/>
            </a:lvl1pPr>
          </a:lstStyle>
          <a:p>
            <a:r>
              <a:rPr lang="en-US"/>
              <a:t>Click to edit Master title style</a:t>
            </a:r>
          </a:p>
        </p:txBody>
      </p:sp>
    </p:spTree>
    <p:extLst>
      <p:ext uri="{BB962C8B-B14F-4D97-AF65-F5344CB8AC3E}">
        <p14:creationId xmlns:p14="http://schemas.microsoft.com/office/powerpoint/2010/main" val="1778890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Slide 1">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1" name="Rectangle 7">
            <a:extLst>
              <a:ext uri="{FF2B5EF4-FFF2-40B4-BE49-F238E27FC236}">
                <a16:creationId xmlns:a16="http://schemas.microsoft.com/office/drawing/2014/main" id="{01EA6515-AC7F-45B6-BCFA-65D30FE6B44F}"/>
              </a:ext>
            </a:extLst>
          </p:cNvPr>
          <p:cNvSpPr>
            <a:spLocks noChangeArrowheads="1"/>
          </p:cNvSpPr>
          <p:nvPr userDrawn="1"/>
        </p:nvSpPr>
        <p:spPr bwMode="auto">
          <a:xfrm>
            <a:off x="1828800" y="574675"/>
            <a:ext cx="8518525" cy="5686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8">
            <a:extLst>
              <a:ext uri="{FF2B5EF4-FFF2-40B4-BE49-F238E27FC236}">
                <a16:creationId xmlns:a16="http://schemas.microsoft.com/office/drawing/2014/main" id="{8CAF002E-7014-4269-BAE5-0DE8163D2C2D}"/>
              </a:ext>
            </a:extLst>
          </p:cNvPr>
          <p:cNvSpPr>
            <a:spLocks/>
          </p:cNvSpPr>
          <p:nvPr userDrawn="1"/>
        </p:nvSpPr>
        <p:spPr bwMode="auto">
          <a:xfrm>
            <a:off x="0" y="-2382"/>
            <a:ext cx="12192000" cy="5828507"/>
          </a:xfrm>
          <a:custGeom>
            <a:avLst/>
            <a:gdLst>
              <a:gd name="T0" fmla="*/ 0 w 10400"/>
              <a:gd name="T1" fmla="*/ 0 h 5752"/>
              <a:gd name="T2" fmla="*/ 10400 w 10400"/>
              <a:gd name="T3" fmla="*/ 0 h 5752"/>
              <a:gd name="T4" fmla="*/ 10400 w 10400"/>
              <a:gd name="T5" fmla="*/ 3741 h 5752"/>
              <a:gd name="T6" fmla="*/ 5051 w 10400"/>
              <a:gd name="T7" fmla="*/ 3636 h 5752"/>
              <a:gd name="T8" fmla="*/ 0 w 10400"/>
              <a:gd name="T9" fmla="*/ 5566 h 5752"/>
              <a:gd name="T10" fmla="*/ 0 w 10400"/>
              <a:gd name="T11" fmla="*/ 0 h 5752"/>
            </a:gdLst>
            <a:ahLst/>
            <a:cxnLst>
              <a:cxn ang="0">
                <a:pos x="T0" y="T1"/>
              </a:cxn>
              <a:cxn ang="0">
                <a:pos x="T2" y="T3"/>
              </a:cxn>
              <a:cxn ang="0">
                <a:pos x="T4" y="T5"/>
              </a:cxn>
              <a:cxn ang="0">
                <a:pos x="T6" y="T7"/>
              </a:cxn>
              <a:cxn ang="0">
                <a:pos x="T8" y="T9"/>
              </a:cxn>
              <a:cxn ang="0">
                <a:pos x="T10" y="T11"/>
              </a:cxn>
            </a:cxnLst>
            <a:rect l="0" t="0" r="r" b="b"/>
            <a:pathLst>
              <a:path w="10400" h="5752">
                <a:moveTo>
                  <a:pt x="0" y="0"/>
                </a:moveTo>
                <a:lnTo>
                  <a:pt x="10400" y="0"/>
                </a:lnTo>
                <a:lnTo>
                  <a:pt x="10400" y="3741"/>
                </a:lnTo>
                <a:cubicBezTo>
                  <a:pt x="9891" y="2940"/>
                  <a:pt x="7383" y="2128"/>
                  <a:pt x="5051" y="3636"/>
                </a:cubicBezTo>
                <a:cubicBezTo>
                  <a:pt x="3108" y="4891"/>
                  <a:pt x="1566" y="5752"/>
                  <a:pt x="0" y="5566"/>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39" name="Group 538">
            <a:extLst>
              <a:ext uri="{FF2B5EF4-FFF2-40B4-BE49-F238E27FC236}">
                <a16:creationId xmlns:a16="http://schemas.microsoft.com/office/drawing/2014/main" id="{18E4D809-BC89-4498-91CB-2C399968055D}"/>
              </a:ext>
            </a:extLst>
          </p:cNvPr>
          <p:cNvGrpSpPr/>
          <p:nvPr userDrawn="1"/>
        </p:nvGrpSpPr>
        <p:grpSpPr>
          <a:xfrm>
            <a:off x="5336003" y="1431235"/>
            <a:ext cx="5933660" cy="4971947"/>
            <a:chOff x="5238750" y="1736725"/>
            <a:chExt cx="5070476" cy="4089400"/>
          </a:xfrm>
        </p:grpSpPr>
        <p:sp>
          <p:nvSpPr>
            <p:cNvPr id="343" name="Freeform 9">
              <a:extLst>
                <a:ext uri="{FF2B5EF4-FFF2-40B4-BE49-F238E27FC236}">
                  <a16:creationId xmlns:a16="http://schemas.microsoft.com/office/drawing/2014/main" id="{61C93341-5D9B-4908-AD69-143C13CFE61F}"/>
                </a:ext>
              </a:extLst>
            </p:cNvPr>
            <p:cNvSpPr>
              <a:spLocks/>
            </p:cNvSpPr>
            <p:nvPr userDrawn="1"/>
          </p:nvSpPr>
          <p:spPr bwMode="auto">
            <a:xfrm>
              <a:off x="7127875" y="1820863"/>
              <a:ext cx="152400" cy="153988"/>
            </a:xfrm>
            <a:custGeom>
              <a:avLst/>
              <a:gdLst>
                <a:gd name="T0" fmla="*/ 124 w 187"/>
                <a:gd name="T1" fmla="*/ 155 h 187"/>
                <a:gd name="T2" fmla="*/ 25 w 187"/>
                <a:gd name="T3" fmla="*/ 162 h 187"/>
                <a:gd name="T4" fmla="*/ 32 w 187"/>
                <a:gd name="T5" fmla="*/ 64 h 187"/>
                <a:gd name="T6" fmla="*/ 63 w 187"/>
                <a:gd name="T7" fmla="*/ 32 h 187"/>
                <a:gd name="T8" fmla="*/ 162 w 187"/>
                <a:gd name="T9" fmla="*/ 26 h 187"/>
                <a:gd name="T10" fmla="*/ 155 w 187"/>
                <a:gd name="T11" fmla="*/ 124 h 187"/>
                <a:gd name="T12" fmla="*/ 124 w 187"/>
                <a:gd name="T13" fmla="*/ 155 h 187"/>
              </a:gdLst>
              <a:ahLst/>
              <a:cxnLst>
                <a:cxn ang="0">
                  <a:pos x="T0" y="T1"/>
                </a:cxn>
                <a:cxn ang="0">
                  <a:pos x="T2" y="T3"/>
                </a:cxn>
                <a:cxn ang="0">
                  <a:pos x="T4" y="T5"/>
                </a:cxn>
                <a:cxn ang="0">
                  <a:pos x="T6" y="T7"/>
                </a:cxn>
                <a:cxn ang="0">
                  <a:pos x="T8" y="T9"/>
                </a:cxn>
                <a:cxn ang="0">
                  <a:pos x="T10" y="T11"/>
                </a:cxn>
                <a:cxn ang="0">
                  <a:pos x="T12" y="T13"/>
                </a:cxn>
              </a:cxnLst>
              <a:rect l="0" t="0" r="r" b="b"/>
              <a:pathLst>
                <a:path w="187" h="187">
                  <a:moveTo>
                    <a:pt x="124" y="155"/>
                  </a:moveTo>
                  <a:cubicBezTo>
                    <a:pt x="95" y="184"/>
                    <a:pt x="50" y="187"/>
                    <a:pt x="25" y="162"/>
                  </a:cubicBezTo>
                  <a:cubicBezTo>
                    <a:pt x="0" y="137"/>
                    <a:pt x="3" y="93"/>
                    <a:pt x="32" y="64"/>
                  </a:cubicBezTo>
                  <a:lnTo>
                    <a:pt x="63" y="32"/>
                  </a:lnTo>
                  <a:cubicBezTo>
                    <a:pt x="92" y="3"/>
                    <a:pt x="136" y="0"/>
                    <a:pt x="162" y="26"/>
                  </a:cubicBezTo>
                  <a:cubicBezTo>
                    <a:pt x="187" y="51"/>
                    <a:pt x="184" y="95"/>
                    <a:pt x="155" y="124"/>
                  </a:cubicBezTo>
                  <a:lnTo>
                    <a:pt x="124" y="155"/>
                  </a:ln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0">
              <a:extLst>
                <a:ext uri="{FF2B5EF4-FFF2-40B4-BE49-F238E27FC236}">
                  <a16:creationId xmlns:a16="http://schemas.microsoft.com/office/drawing/2014/main" id="{5442539F-BB76-4C3F-B39C-E3BEA4693C06}"/>
                </a:ext>
              </a:extLst>
            </p:cNvPr>
            <p:cNvSpPr>
              <a:spLocks/>
            </p:cNvSpPr>
            <p:nvPr userDrawn="1"/>
          </p:nvSpPr>
          <p:spPr bwMode="auto">
            <a:xfrm>
              <a:off x="7172325" y="1962150"/>
              <a:ext cx="152400" cy="122238"/>
            </a:xfrm>
            <a:custGeom>
              <a:avLst/>
              <a:gdLst>
                <a:gd name="T0" fmla="*/ 67 w 186"/>
                <a:gd name="T1" fmla="*/ 145 h 148"/>
                <a:gd name="T2" fmla="*/ 3 w 186"/>
                <a:gd name="T3" fmla="*/ 81 h 148"/>
                <a:gd name="T4" fmla="*/ 77 w 186"/>
                <a:gd name="T5" fmla="*/ 6 h 148"/>
                <a:gd name="T6" fmla="*/ 118 w 186"/>
                <a:gd name="T7" fmla="*/ 3 h 148"/>
                <a:gd name="T8" fmla="*/ 183 w 186"/>
                <a:gd name="T9" fmla="*/ 68 h 148"/>
                <a:gd name="T10" fmla="*/ 109 w 186"/>
                <a:gd name="T11" fmla="*/ 143 h 148"/>
                <a:gd name="T12" fmla="*/ 67 w 186"/>
                <a:gd name="T13" fmla="*/ 145 h 148"/>
              </a:gdLst>
              <a:ahLst/>
              <a:cxnLst>
                <a:cxn ang="0">
                  <a:pos x="T0" y="T1"/>
                </a:cxn>
                <a:cxn ang="0">
                  <a:pos x="T2" y="T3"/>
                </a:cxn>
                <a:cxn ang="0">
                  <a:pos x="T4" y="T5"/>
                </a:cxn>
                <a:cxn ang="0">
                  <a:pos x="T6" y="T7"/>
                </a:cxn>
                <a:cxn ang="0">
                  <a:pos x="T8" y="T9"/>
                </a:cxn>
                <a:cxn ang="0">
                  <a:pos x="T10" y="T11"/>
                </a:cxn>
                <a:cxn ang="0">
                  <a:pos x="T12" y="T13"/>
                </a:cxn>
              </a:cxnLst>
              <a:rect l="0" t="0" r="r" b="b"/>
              <a:pathLst>
                <a:path w="186" h="148">
                  <a:moveTo>
                    <a:pt x="67" y="145"/>
                  </a:moveTo>
                  <a:cubicBezTo>
                    <a:pt x="29" y="148"/>
                    <a:pt x="0" y="119"/>
                    <a:pt x="3" y="81"/>
                  </a:cubicBezTo>
                  <a:cubicBezTo>
                    <a:pt x="5" y="42"/>
                    <a:pt x="39" y="9"/>
                    <a:pt x="77" y="6"/>
                  </a:cubicBezTo>
                  <a:lnTo>
                    <a:pt x="118" y="3"/>
                  </a:lnTo>
                  <a:cubicBezTo>
                    <a:pt x="157" y="0"/>
                    <a:pt x="186" y="30"/>
                    <a:pt x="183" y="68"/>
                  </a:cubicBezTo>
                  <a:cubicBezTo>
                    <a:pt x="181" y="107"/>
                    <a:pt x="147" y="140"/>
                    <a:pt x="109" y="143"/>
                  </a:cubicBezTo>
                  <a:lnTo>
                    <a:pt x="67" y="145"/>
                  </a:ln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1">
              <a:extLst>
                <a:ext uri="{FF2B5EF4-FFF2-40B4-BE49-F238E27FC236}">
                  <a16:creationId xmlns:a16="http://schemas.microsoft.com/office/drawing/2014/main" id="{0E130A52-74EF-4F76-B3CD-506D746D5BE7}"/>
                </a:ext>
              </a:extLst>
            </p:cNvPr>
            <p:cNvSpPr>
              <a:spLocks/>
            </p:cNvSpPr>
            <p:nvPr userDrawn="1"/>
          </p:nvSpPr>
          <p:spPr bwMode="auto">
            <a:xfrm>
              <a:off x="7110413" y="2081213"/>
              <a:ext cx="150813" cy="150813"/>
            </a:xfrm>
            <a:custGeom>
              <a:avLst/>
              <a:gdLst>
                <a:gd name="T0" fmla="*/ 25 w 183"/>
                <a:gd name="T1" fmla="*/ 131 h 183"/>
                <a:gd name="T2" fmla="*/ 32 w 183"/>
                <a:gd name="T3" fmla="*/ 32 h 183"/>
                <a:gd name="T4" fmla="*/ 131 w 183"/>
                <a:gd name="T5" fmla="*/ 26 h 183"/>
                <a:gd name="T6" fmla="*/ 158 w 183"/>
                <a:gd name="T7" fmla="*/ 53 h 183"/>
                <a:gd name="T8" fmla="*/ 151 w 183"/>
                <a:gd name="T9" fmla="*/ 151 h 183"/>
                <a:gd name="T10" fmla="*/ 52 w 183"/>
                <a:gd name="T11" fmla="*/ 158 h 183"/>
                <a:gd name="T12" fmla="*/ 25 w 183"/>
                <a:gd name="T13" fmla="*/ 131 h 183"/>
              </a:gdLst>
              <a:ahLst/>
              <a:cxnLst>
                <a:cxn ang="0">
                  <a:pos x="T0" y="T1"/>
                </a:cxn>
                <a:cxn ang="0">
                  <a:pos x="T2" y="T3"/>
                </a:cxn>
                <a:cxn ang="0">
                  <a:pos x="T4" y="T5"/>
                </a:cxn>
                <a:cxn ang="0">
                  <a:pos x="T6" y="T7"/>
                </a:cxn>
                <a:cxn ang="0">
                  <a:pos x="T8" y="T9"/>
                </a:cxn>
                <a:cxn ang="0">
                  <a:pos x="T10" y="T11"/>
                </a:cxn>
                <a:cxn ang="0">
                  <a:pos x="T12" y="T13"/>
                </a:cxn>
              </a:cxnLst>
              <a:rect l="0" t="0" r="r" b="b"/>
              <a:pathLst>
                <a:path w="183" h="183">
                  <a:moveTo>
                    <a:pt x="25" y="131"/>
                  </a:moveTo>
                  <a:cubicBezTo>
                    <a:pt x="0" y="106"/>
                    <a:pt x="3" y="62"/>
                    <a:pt x="32" y="32"/>
                  </a:cubicBezTo>
                  <a:cubicBezTo>
                    <a:pt x="61" y="3"/>
                    <a:pt x="105" y="0"/>
                    <a:pt x="131" y="26"/>
                  </a:cubicBezTo>
                  <a:lnTo>
                    <a:pt x="158" y="53"/>
                  </a:lnTo>
                  <a:cubicBezTo>
                    <a:pt x="183" y="78"/>
                    <a:pt x="180" y="122"/>
                    <a:pt x="151" y="151"/>
                  </a:cubicBezTo>
                  <a:cubicBezTo>
                    <a:pt x="122" y="180"/>
                    <a:pt x="78" y="183"/>
                    <a:pt x="52" y="158"/>
                  </a:cubicBezTo>
                  <a:lnTo>
                    <a:pt x="25" y="131"/>
                  </a:ln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2">
              <a:extLst>
                <a:ext uri="{FF2B5EF4-FFF2-40B4-BE49-F238E27FC236}">
                  <a16:creationId xmlns:a16="http://schemas.microsoft.com/office/drawing/2014/main" id="{9AE2F311-8E4F-4D51-A8D8-553151945F5C}"/>
                </a:ext>
              </a:extLst>
            </p:cNvPr>
            <p:cNvSpPr>
              <a:spLocks/>
            </p:cNvSpPr>
            <p:nvPr userDrawn="1"/>
          </p:nvSpPr>
          <p:spPr bwMode="auto">
            <a:xfrm>
              <a:off x="6992938" y="2143125"/>
              <a:ext cx="120650" cy="152400"/>
            </a:xfrm>
            <a:custGeom>
              <a:avLst/>
              <a:gdLst>
                <a:gd name="T0" fmla="*/ 6 w 148"/>
                <a:gd name="T1" fmla="*/ 77 h 186"/>
                <a:gd name="T2" fmla="*/ 80 w 148"/>
                <a:gd name="T3" fmla="*/ 3 h 186"/>
                <a:gd name="T4" fmla="*/ 145 w 148"/>
                <a:gd name="T5" fmla="*/ 68 h 186"/>
                <a:gd name="T6" fmla="*/ 142 w 148"/>
                <a:gd name="T7" fmla="*/ 109 h 186"/>
                <a:gd name="T8" fmla="*/ 68 w 148"/>
                <a:gd name="T9" fmla="*/ 184 h 186"/>
                <a:gd name="T10" fmla="*/ 3 w 148"/>
                <a:gd name="T11" fmla="*/ 119 h 186"/>
                <a:gd name="T12" fmla="*/ 6 w 148"/>
                <a:gd name="T13" fmla="*/ 77 h 186"/>
              </a:gdLst>
              <a:ahLst/>
              <a:cxnLst>
                <a:cxn ang="0">
                  <a:pos x="T0" y="T1"/>
                </a:cxn>
                <a:cxn ang="0">
                  <a:pos x="T2" y="T3"/>
                </a:cxn>
                <a:cxn ang="0">
                  <a:pos x="T4" y="T5"/>
                </a:cxn>
                <a:cxn ang="0">
                  <a:pos x="T6" y="T7"/>
                </a:cxn>
                <a:cxn ang="0">
                  <a:pos x="T8" y="T9"/>
                </a:cxn>
                <a:cxn ang="0">
                  <a:pos x="T10" y="T11"/>
                </a:cxn>
                <a:cxn ang="0">
                  <a:pos x="T12" y="T13"/>
                </a:cxn>
              </a:cxnLst>
              <a:rect l="0" t="0" r="r" b="b"/>
              <a:pathLst>
                <a:path w="148" h="186">
                  <a:moveTo>
                    <a:pt x="6" y="77"/>
                  </a:moveTo>
                  <a:cubicBezTo>
                    <a:pt x="8" y="39"/>
                    <a:pt x="42" y="6"/>
                    <a:pt x="80" y="3"/>
                  </a:cubicBezTo>
                  <a:cubicBezTo>
                    <a:pt x="119" y="0"/>
                    <a:pt x="148" y="29"/>
                    <a:pt x="145" y="68"/>
                  </a:cubicBezTo>
                  <a:lnTo>
                    <a:pt x="142" y="109"/>
                  </a:lnTo>
                  <a:cubicBezTo>
                    <a:pt x="140" y="147"/>
                    <a:pt x="106" y="181"/>
                    <a:pt x="68" y="184"/>
                  </a:cubicBezTo>
                  <a:cubicBezTo>
                    <a:pt x="29" y="186"/>
                    <a:pt x="0" y="157"/>
                    <a:pt x="3" y="119"/>
                  </a:cubicBezTo>
                  <a:lnTo>
                    <a:pt x="6" y="77"/>
                  </a:ln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3">
              <a:extLst>
                <a:ext uri="{FF2B5EF4-FFF2-40B4-BE49-F238E27FC236}">
                  <a16:creationId xmlns:a16="http://schemas.microsoft.com/office/drawing/2014/main" id="{3A085642-75EB-410B-BDF6-828F69489CFD}"/>
                </a:ext>
              </a:extLst>
            </p:cNvPr>
            <p:cNvSpPr>
              <a:spLocks/>
            </p:cNvSpPr>
            <p:nvPr userDrawn="1"/>
          </p:nvSpPr>
          <p:spPr bwMode="auto">
            <a:xfrm>
              <a:off x="6850063" y="2098675"/>
              <a:ext cx="153988" cy="152400"/>
            </a:xfrm>
            <a:custGeom>
              <a:avLst/>
              <a:gdLst>
                <a:gd name="T0" fmla="*/ 63 w 187"/>
                <a:gd name="T1" fmla="*/ 32 h 187"/>
                <a:gd name="T2" fmla="*/ 162 w 187"/>
                <a:gd name="T3" fmla="*/ 25 h 187"/>
                <a:gd name="T4" fmla="*/ 155 w 187"/>
                <a:gd name="T5" fmla="*/ 124 h 187"/>
                <a:gd name="T6" fmla="*/ 124 w 187"/>
                <a:gd name="T7" fmla="*/ 155 h 187"/>
                <a:gd name="T8" fmla="*/ 25 w 187"/>
                <a:gd name="T9" fmla="*/ 162 h 187"/>
                <a:gd name="T10" fmla="*/ 32 w 187"/>
                <a:gd name="T11" fmla="*/ 64 h 187"/>
                <a:gd name="T12" fmla="*/ 63 w 187"/>
                <a:gd name="T13" fmla="*/ 32 h 187"/>
              </a:gdLst>
              <a:ahLst/>
              <a:cxnLst>
                <a:cxn ang="0">
                  <a:pos x="T0" y="T1"/>
                </a:cxn>
                <a:cxn ang="0">
                  <a:pos x="T2" y="T3"/>
                </a:cxn>
                <a:cxn ang="0">
                  <a:pos x="T4" y="T5"/>
                </a:cxn>
                <a:cxn ang="0">
                  <a:pos x="T6" y="T7"/>
                </a:cxn>
                <a:cxn ang="0">
                  <a:pos x="T8" y="T9"/>
                </a:cxn>
                <a:cxn ang="0">
                  <a:pos x="T10" y="T11"/>
                </a:cxn>
                <a:cxn ang="0">
                  <a:pos x="T12" y="T13"/>
                </a:cxn>
              </a:cxnLst>
              <a:rect l="0" t="0" r="r" b="b"/>
              <a:pathLst>
                <a:path w="187" h="187">
                  <a:moveTo>
                    <a:pt x="63" y="32"/>
                  </a:moveTo>
                  <a:cubicBezTo>
                    <a:pt x="92" y="3"/>
                    <a:pt x="136" y="0"/>
                    <a:pt x="162" y="25"/>
                  </a:cubicBezTo>
                  <a:cubicBezTo>
                    <a:pt x="187" y="51"/>
                    <a:pt x="184" y="95"/>
                    <a:pt x="155" y="124"/>
                  </a:cubicBezTo>
                  <a:lnTo>
                    <a:pt x="124" y="155"/>
                  </a:lnTo>
                  <a:cubicBezTo>
                    <a:pt x="95" y="184"/>
                    <a:pt x="51" y="187"/>
                    <a:pt x="25" y="162"/>
                  </a:cubicBezTo>
                  <a:cubicBezTo>
                    <a:pt x="0" y="137"/>
                    <a:pt x="3" y="93"/>
                    <a:pt x="32" y="64"/>
                  </a:cubicBezTo>
                  <a:lnTo>
                    <a:pt x="63" y="32"/>
                  </a:ln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4">
              <a:extLst>
                <a:ext uri="{FF2B5EF4-FFF2-40B4-BE49-F238E27FC236}">
                  <a16:creationId xmlns:a16="http://schemas.microsoft.com/office/drawing/2014/main" id="{88000AD9-4EEB-48E5-86CC-3C0749DC8621}"/>
                </a:ext>
              </a:extLst>
            </p:cNvPr>
            <p:cNvSpPr>
              <a:spLocks/>
            </p:cNvSpPr>
            <p:nvPr userDrawn="1"/>
          </p:nvSpPr>
          <p:spPr bwMode="auto">
            <a:xfrm>
              <a:off x="6805613" y="1989138"/>
              <a:ext cx="152400" cy="120650"/>
            </a:xfrm>
            <a:custGeom>
              <a:avLst/>
              <a:gdLst>
                <a:gd name="T0" fmla="*/ 118 w 186"/>
                <a:gd name="T1" fmla="*/ 2 h 147"/>
                <a:gd name="T2" fmla="*/ 183 w 186"/>
                <a:gd name="T3" fmla="*/ 67 h 147"/>
                <a:gd name="T4" fmla="*/ 109 w 186"/>
                <a:gd name="T5" fmla="*/ 142 h 147"/>
                <a:gd name="T6" fmla="*/ 68 w 186"/>
                <a:gd name="T7" fmla="*/ 144 h 147"/>
                <a:gd name="T8" fmla="*/ 3 w 186"/>
                <a:gd name="T9" fmla="*/ 80 h 147"/>
                <a:gd name="T10" fmla="*/ 77 w 186"/>
                <a:gd name="T11" fmla="*/ 5 h 147"/>
                <a:gd name="T12" fmla="*/ 118 w 186"/>
                <a:gd name="T13" fmla="*/ 2 h 147"/>
              </a:gdLst>
              <a:ahLst/>
              <a:cxnLst>
                <a:cxn ang="0">
                  <a:pos x="T0" y="T1"/>
                </a:cxn>
                <a:cxn ang="0">
                  <a:pos x="T2" y="T3"/>
                </a:cxn>
                <a:cxn ang="0">
                  <a:pos x="T4" y="T5"/>
                </a:cxn>
                <a:cxn ang="0">
                  <a:pos x="T6" y="T7"/>
                </a:cxn>
                <a:cxn ang="0">
                  <a:pos x="T8" y="T9"/>
                </a:cxn>
                <a:cxn ang="0">
                  <a:pos x="T10" y="T11"/>
                </a:cxn>
                <a:cxn ang="0">
                  <a:pos x="T12" y="T13"/>
                </a:cxn>
              </a:cxnLst>
              <a:rect l="0" t="0" r="r" b="b"/>
              <a:pathLst>
                <a:path w="186" h="147">
                  <a:moveTo>
                    <a:pt x="118" y="2"/>
                  </a:moveTo>
                  <a:cubicBezTo>
                    <a:pt x="157" y="0"/>
                    <a:pt x="186" y="29"/>
                    <a:pt x="183" y="67"/>
                  </a:cubicBezTo>
                  <a:cubicBezTo>
                    <a:pt x="181" y="106"/>
                    <a:pt x="147" y="139"/>
                    <a:pt x="109" y="142"/>
                  </a:cubicBezTo>
                  <a:lnTo>
                    <a:pt x="68" y="144"/>
                  </a:lnTo>
                  <a:cubicBezTo>
                    <a:pt x="29" y="147"/>
                    <a:pt x="0" y="118"/>
                    <a:pt x="3" y="80"/>
                  </a:cubicBezTo>
                  <a:cubicBezTo>
                    <a:pt x="5" y="41"/>
                    <a:pt x="39" y="8"/>
                    <a:pt x="77" y="5"/>
                  </a:cubicBezTo>
                  <a:lnTo>
                    <a:pt x="118" y="2"/>
                  </a:lnTo>
                  <a:close/>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15">
              <a:extLst>
                <a:ext uri="{FF2B5EF4-FFF2-40B4-BE49-F238E27FC236}">
                  <a16:creationId xmlns:a16="http://schemas.microsoft.com/office/drawing/2014/main" id="{77CCCCF2-91B4-430E-BE25-18EBB02DD171}"/>
                </a:ext>
              </a:extLst>
            </p:cNvPr>
            <p:cNvSpPr>
              <a:spLocks/>
            </p:cNvSpPr>
            <p:nvPr userDrawn="1"/>
          </p:nvSpPr>
          <p:spPr bwMode="auto">
            <a:xfrm>
              <a:off x="6870700" y="1839913"/>
              <a:ext cx="149225" cy="150813"/>
            </a:xfrm>
            <a:custGeom>
              <a:avLst/>
              <a:gdLst>
                <a:gd name="T0" fmla="*/ 158 w 183"/>
                <a:gd name="T1" fmla="*/ 53 h 183"/>
                <a:gd name="T2" fmla="*/ 151 w 183"/>
                <a:gd name="T3" fmla="*/ 151 h 183"/>
                <a:gd name="T4" fmla="*/ 52 w 183"/>
                <a:gd name="T5" fmla="*/ 158 h 183"/>
                <a:gd name="T6" fmla="*/ 25 w 183"/>
                <a:gd name="T7" fmla="*/ 131 h 183"/>
                <a:gd name="T8" fmla="*/ 32 w 183"/>
                <a:gd name="T9" fmla="*/ 32 h 183"/>
                <a:gd name="T10" fmla="*/ 131 w 183"/>
                <a:gd name="T11" fmla="*/ 25 h 183"/>
                <a:gd name="T12" fmla="*/ 158 w 183"/>
                <a:gd name="T13" fmla="*/ 53 h 183"/>
              </a:gdLst>
              <a:ahLst/>
              <a:cxnLst>
                <a:cxn ang="0">
                  <a:pos x="T0" y="T1"/>
                </a:cxn>
                <a:cxn ang="0">
                  <a:pos x="T2" y="T3"/>
                </a:cxn>
                <a:cxn ang="0">
                  <a:pos x="T4" y="T5"/>
                </a:cxn>
                <a:cxn ang="0">
                  <a:pos x="T6" y="T7"/>
                </a:cxn>
                <a:cxn ang="0">
                  <a:pos x="T8" y="T9"/>
                </a:cxn>
                <a:cxn ang="0">
                  <a:pos x="T10" y="T11"/>
                </a:cxn>
                <a:cxn ang="0">
                  <a:pos x="T12" y="T13"/>
                </a:cxn>
              </a:cxnLst>
              <a:rect l="0" t="0" r="r" b="b"/>
              <a:pathLst>
                <a:path w="183" h="183">
                  <a:moveTo>
                    <a:pt x="158" y="53"/>
                  </a:moveTo>
                  <a:cubicBezTo>
                    <a:pt x="183" y="78"/>
                    <a:pt x="180" y="122"/>
                    <a:pt x="151" y="151"/>
                  </a:cubicBezTo>
                  <a:cubicBezTo>
                    <a:pt x="122" y="180"/>
                    <a:pt x="78" y="183"/>
                    <a:pt x="52" y="158"/>
                  </a:cubicBezTo>
                  <a:lnTo>
                    <a:pt x="25" y="131"/>
                  </a:lnTo>
                  <a:cubicBezTo>
                    <a:pt x="0" y="106"/>
                    <a:pt x="3" y="61"/>
                    <a:pt x="32" y="32"/>
                  </a:cubicBezTo>
                  <a:cubicBezTo>
                    <a:pt x="61" y="3"/>
                    <a:pt x="105" y="0"/>
                    <a:pt x="131" y="25"/>
                  </a:cubicBezTo>
                  <a:lnTo>
                    <a:pt x="158" y="53"/>
                  </a:ln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6">
              <a:extLst>
                <a:ext uri="{FF2B5EF4-FFF2-40B4-BE49-F238E27FC236}">
                  <a16:creationId xmlns:a16="http://schemas.microsoft.com/office/drawing/2014/main" id="{FC11DD05-95ED-4C00-BA5C-2D7429EA4608}"/>
                </a:ext>
              </a:extLst>
            </p:cNvPr>
            <p:cNvSpPr>
              <a:spLocks/>
            </p:cNvSpPr>
            <p:nvPr userDrawn="1"/>
          </p:nvSpPr>
          <p:spPr bwMode="auto">
            <a:xfrm>
              <a:off x="7018338" y="1776413"/>
              <a:ext cx="120650" cy="152400"/>
            </a:xfrm>
            <a:custGeom>
              <a:avLst/>
              <a:gdLst>
                <a:gd name="T0" fmla="*/ 142 w 148"/>
                <a:gd name="T1" fmla="*/ 109 h 186"/>
                <a:gd name="T2" fmla="*/ 68 w 148"/>
                <a:gd name="T3" fmla="*/ 184 h 186"/>
                <a:gd name="T4" fmla="*/ 3 w 148"/>
                <a:gd name="T5" fmla="*/ 119 h 186"/>
                <a:gd name="T6" fmla="*/ 6 w 148"/>
                <a:gd name="T7" fmla="*/ 78 h 186"/>
                <a:gd name="T8" fmla="*/ 80 w 148"/>
                <a:gd name="T9" fmla="*/ 3 h 186"/>
                <a:gd name="T10" fmla="*/ 145 w 148"/>
                <a:gd name="T11" fmla="*/ 68 h 186"/>
                <a:gd name="T12" fmla="*/ 142 w 148"/>
                <a:gd name="T13" fmla="*/ 109 h 186"/>
              </a:gdLst>
              <a:ahLst/>
              <a:cxnLst>
                <a:cxn ang="0">
                  <a:pos x="T0" y="T1"/>
                </a:cxn>
                <a:cxn ang="0">
                  <a:pos x="T2" y="T3"/>
                </a:cxn>
                <a:cxn ang="0">
                  <a:pos x="T4" y="T5"/>
                </a:cxn>
                <a:cxn ang="0">
                  <a:pos x="T6" y="T7"/>
                </a:cxn>
                <a:cxn ang="0">
                  <a:pos x="T8" y="T9"/>
                </a:cxn>
                <a:cxn ang="0">
                  <a:pos x="T10" y="T11"/>
                </a:cxn>
                <a:cxn ang="0">
                  <a:pos x="T12" y="T13"/>
                </a:cxn>
              </a:cxnLst>
              <a:rect l="0" t="0" r="r" b="b"/>
              <a:pathLst>
                <a:path w="148" h="186">
                  <a:moveTo>
                    <a:pt x="142" y="109"/>
                  </a:moveTo>
                  <a:cubicBezTo>
                    <a:pt x="140" y="148"/>
                    <a:pt x="106" y="181"/>
                    <a:pt x="68" y="184"/>
                  </a:cubicBezTo>
                  <a:cubicBezTo>
                    <a:pt x="29" y="186"/>
                    <a:pt x="0" y="157"/>
                    <a:pt x="3" y="119"/>
                  </a:cubicBezTo>
                  <a:lnTo>
                    <a:pt x="6" y="78"/>
                  </a:lnTo>
                  <a:cubicBezTo>
                    <a:pt x="8" y="39"/>
                    <a:pt x="42" y="6"/>
                    <a:pt x="80" y="3"/>
                  </a:cubicBezTo>
                  <a:cubicBezTo>
                    <a:pt x="119" y="0"/>
                    <a:pt x="148" y="29"/>
                    <a:pt x="145" y="68"/>
                  </a:cubicBezTo>
                  <a:lnTo>
                    <a:pt x="142" y="109"/>
                  </a:ln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17">
              <a:extLst>
                <a:ext uri="{FF2B5EF4-FFF2-40B4-BE49-F238E27FC236}">
                  <a16:creationId xmlns:a16="http://schemas.microsoft.com/office/drawing/2014/main" id="{0CDC8AD2-F0D8-4CAA-A702-98171B0C2CBE}"/>
                </a:ext>
              </a:extLst>
            </p:cNvPr>
            <p:cNvSpPr>
              <a:spLocks noEditPoints="1"/>
            </p:cNvSpPr>
            <p:nvPr userDrawn="1"/>
          </p:nvSpPr>
          <p:spPr bwMode="auto">
            <a:xfrm>
              <a:off x="6880225" y="1852613"/>
              <a:ext cx="371475" cy="369888"/>
            </a:xfrm>
            <a:custGeom>
              <a:avLst/>
              <a:gdLst>
                <a:gd name="T0" fmla="*/ 176 w 453"/>
                <a:gd name="T1" fmla="*/ 173 h 450"/>
                <a:gd name="T2" fmla="*/ 252 w 453"/>
                <a:gd name="T3" fmla="*/ 149 h 450"/>
                <a:gd name="T4" fmla="*/ 237 w 453"/>
                <a:gd name="T5" fmla="*/ 247 h 450"/>
                <a:gd name="T6" fmla="*/ 161 w 453"/>
                <a:gd name="T7" fmla="*/ 272 h 450"/>
                <a:gd name="T8" fmla="*/ 176 w 453"/>
                <a:gd name="T9" fmla="*/ 173 h 450"/>
                <a:gd name="T10" fmla="*/ 443 w 453"/>
                <a:gd name="T11" fmla="*/ 139 h 450"/>
                <a:gd name="T12" fmla="*/ 433 w 453"/>
                <a:gd name="T13" fmla="*/ 110 h 450"/>
                <a:gd name="T14" fmla="*/ 433 w 453"/>
                <a:gd name="T15" fmla="*/ 109 h 450"/>
                <a:gd name="T16" fmla="*/ 407 w 453"/>
                <a:gd name="T17" fmla="*/ 68 h 450"/>
                <a:gd name="T18" fmla="*/ 395 w 453"/>
                <a:gd name="T19" fmla="*/ 55 h 450"/>
                <a:gd name="T20" fmla="*/ 346 w 453"/>
                <a:gd name="T21" fmla="*/ 20 h 450"/>
                <a:gd name="T22" fmla="*/ 341 w 453"/>
                <a:gd name="T23" fmla="*/ 17 h 450"/>
                <a:gd name="T24" fmla="*/ 311 w 453"/>
                <a:gd name="T25" fmla="*/ 7 h 450"/>
                <a:gd name="T26" fmla="*/ 290 w 453"/>
                <a:gd name="T27" fmla="*/ 2 h 450"/>
                <a:gd name="T28" fmla="*/ 268 w 453"/>
                <a:gd name="T29" fmla="*/ 0 h 450"/>
                <a:gd name="T30" fmla="*/ 237 w 453"/>
                <a:gd name="T31" fmla="*/ 1 h 450"/>
                <a:gd name="T32" fmla="*/ 171 w 453"/>
                <a:gd name="T33" fmla="*/ 16 h 450"/>
                <a:gd name="T34" fmla="*/ 139 w 453"/>
                <a:gd name="T35" fmla="*/ 31 h 450"/>
                <a:gd name="T36" fmla="*/ 137 w 453"/>
                <a:gd name="T37" fmla="*/ 33 h 450"/>
                <a:gd name="T38" fmla="*/ 122 w 453"/>
                <a:gd name="T39" fmla="*/ 42 h 450"/>
                <a:gd name="T40" fmla="*/ 79 w 453"/>
                <a:gd name="T41" fmla="*/ 77 h 450"/>
                <a:gd name="T42" fmla="*/ 36 w 453"/>
                <a:gd name="T43" fmla="*/ 133 h 450"/>
                <a:gd name="T44" fmla="*/ 34 w 453"/>
                <a:gd name="T45" fmla="*/ 137 h 450"/>
                <a:gd name="T46" fmla="*/ 27 w 453"/>
                <a:gd name="T47" fmla="*/ 151 h 450"/>
                <a:gd name="T48" fmla="*/ 19 w 453"/>
                <a:gd name="T49" fmla="*/ 169 h 450"/>
                <a:gd name="T50" fmla="*/ 3 w 453"/>
                <a:gd name="T51" fmla="*/ 274 h 450"/>
                <a:gd name="T52" fmla="*/ 6 w 453"/>
                <a:gd name="T53" fmla="*/ 290 h 450"/>
                <a:gd name="T54" fmla="*/ 9 w 453"/>
                <a:gd name="T55" fmla="*/ 308 h 450"/>
                <a:gd name="T56" fmla="*/ 10 w 453"/>
                <a:gd name="T57" fmla="*/ 309 h 450"/>
                <a:gd name="T58" fmla="*/ 20 w 453"/>
                <a:gd name="T59" fmla="*/ 339 h 450"/>
                <a:gd name="T60" fmla="*/ 58 w 453"/>
                <a:gd name="T61" fmla="*/ 393 h 450"/>
                <a:gd name="T62" fmla="*/ 66 w 453"/>
                <a:gd name="T63" fmla="*/ 401 h 450"/>
                <a:gd name="T64" fmla="*/ 70 w 453"/>
                <a:gd name="T65" fmla="*/ 404 h 450"/>
                <a:gd name="T66" fmla="*/ 101 w 453"/>
                <a:gd name="T67" fmla="*/ 425 h 450"/>
                <a:gd name="T68" fmla="*/ 112 w 453"/>
                <a:gd name="T69" fmla="*/ 430 h 450"/>
                <a:gd name="T70" fmla="*/ 142 w 453"/>
                <a:gd name="T71" fmla="*/ 441 h 450"/>
                <a:gd name="T72" fmla="*/ 238 w 453"/>
                <a:gd name="T73" fmla="*/ 444 h 450"/>
                <a:gd name="T74" fmla="*/ 281 w 453"/>
                <a:gd name="T75" fmla="*/ 431 h 450"/>
                <a:gd name="T76" fmla="*/ 307 w 453"/>
                <a:gd name="T77" fmla="*/ 420 h 450"/>
                <a:gd name="T78" fmla="*/ 313 w 453"/>
                <a:gd name="T79" fmla="*/ 416 h 450"/>
                <a:gd name="T80" fmla="*/ 373 w 453"/>
                <a:gd name="T81" fmla="*/ 371 h 450"/>
                <a:gd name="T82" fmla="*/ 412 w 453"/>
                <a:gd name="T83" fmla="*/ 323 h 450"/>
                <a:gd name="T84" fmla="*/ 419 w 453"/>
                <a:gd name="T85" fmla="*/ 311 h 450"/>
                <a:gd name="T86" fmla="*/ 434 w 453"/>
                <a:gd name="T87" fmla="*/ 279 h 450"/>
                <a:gd name="T88" fmla="*/ 444 w 453"/>
                <a:gd name="T89" fmla="*/ 246 h 450"/>
                <a:gd name="T90" fmla="*/ 443 w 453"/>
                <a:gd name="T91" fmla="*/ 13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3" h="450">
                  <a:moveTo>
                    <a:pt x="176" y="173"/>
                  </a:moveTo>
                  <a:cubicBezTo>
                    <a:pt x="198" y="152"/>
                    <a:pt x="227" y="143"/>
                    <a:pt x="252" y="149"/>
                  </a:cubicBezTo>
                  <a:cubicBezTo>
                    <a:pt x="271" y="177"/>
                    <a:pt x="265" y="219"/>
                    <a:pt x="237" y="247"/>
                  </a:cubicBezTo>
                  <a:cubicBezTo>
                    <a:pt x="215" y="269"/>
                    <a:pt x="186" y="278"/>
                    <a:pt x="161" y="272"/>
                  </a:cubicBezTo>
                  <a:cubicBezTo>
                    <a:pt x="142" y="244"/>
                    <a:pt x="147" y="202"/>
                    <a:pt x="176" y="173"/>
                  </a:cubicBezTo>
                  <a:close/>
                  <a:moveTo>
                    <a:pt x="443" y="139"/>
                  </a:moveTo>
                  <a:cubicBezTo>
                    <a:pt x="441" y="129"/>
                    <a:pt x="438" y="120"/>
                    <a:pt x="433" y="110"/>
                  </a:cubicBezTo>
                  <a:lnTo>
                    <a:pt x="433" y="109"/>
                  </a:lnTo>
                  <a:cubicBezTo>
                    <a:pt x="426" y="94"/>
                    <a:pt x="418" y="80"/>
                    <a:pt x="407" y="68"/>
                  </a:cubicBezTo>
                  <a:cubicBezTo>
                    <a:pt x="403" y="63"/>
                    <a:pt x="400" y="59"/>
                    <a:pt x="395" y="55"/>
                  </a:cubicBezTo>
                  <a:cubicBezTo>
                    <a:pt x="381" y="40"/>
                    <a:pt x="364" y="29"/>
                    <a:pt x="346" y="20"/>
                  </a:cubicBezTo>
                  <a:cubicBezTo>
                    <a:pt x="345" y="19"/>
                    <a:pt x="343" y="18"/>
                    <a:pt x="341" y="17"/>
                  </a:cubicBezTo>
                  <a:cubicBezTo>
                    <a:pt x="331" y="13"/>
                    <a:pt x="321" y="9"/>
                    <a:pt x="311" y="7"/>
                  </a:cubicBezTo>
                  <a:cubicBezTo>
                    <a:pt x="304" y="5"/>
                    <a:pt x="297" y="3"/>
                    <a:pt x="290" y="2"/>
                  </a:cubicBezTo>
                  <a:cubicBezTo>
                    <a:pt x="282" y="1"/>
                    <a:pt x="275" y="0"/>
                    <a:pt x="268" y="0"/>
                  </a:cubicBezTo>
                  <a:cubicBezTo>
                    <a:pt x="258" y="0"/>
                    <a:pt x="247" y="0"/>
                    <a:pt x="237" y="1"/>
                  </a:cubicBezTo>
                  <a:cubicBezTo>
                    <a:pt x="215" y="3"/>
                    <a:pt x="193" y="8"/>
                    <a:pt x="171" y="16"/>
                  </a:cubicBezTo>
                  <a:cubicBezTo>
                    <a:pt x="161" y="21"/>
                    <a:pt x="150" y="26"/>
                    <a:pt x="139" y="31"/>
                  </a:cubicBezTo>
                  <a:lnTo>
                    <a:pt x="137" y="33"/>
                  </a:lnTo>
                  <a:cubicBezTo>
                    <a:pt x="132" y="36"/>
                    <a:pt x="127" y="39"/>
                    <a:pt x="122" y="42"/>
                  </a:cubicBezTo>
                  <a:cubicBezTo>
                    <a:pt x="107" y="52"/>
                    <a:pt x="93" y="64"/>
                    <a:pt x="79" y="77"/>
                  </a:cubicBezTo>
                  <a:cubicBezTo>
                    <a:pt x="62" y="94"/>
                    <a:pt x="48" y="113"/>
                    <a:pt x="36" y="133"/>
                  </a:cubicBezTo>
                  <a:lnTo>
                    <a:pt x="34" y="137"/>
                  </a:lnTo>
                  <a:cubicBezTo>
                    <a:pt x="31" y="141"/>
                    <a:pt x="29" y="146"/>
                    <a:pt x="27" y="151"/>
                  </a:cubicBezTo>
                  <a:cubicBezTo>
                    <a:pt x="24" y="157"/>
                    <a:pt x="21" y="163"/>
                    <a:pt x="19" y="169"/>
                  </a:cubicBezTo>
                  <a:cubicBezTo>
                    <a:pt x="6" y="204"/>
                    <a:pt x="0" y="240"/>
                    <a:pt x="3" y="274"/>
                  </a:cubicBezTo>
                  <a:cubicBezTo>
                    <a:pt x="4" y="280"/>
                    <a:pt x="5" y="285"/>
                    <a:pt x="6" y="290"/>
                  </a:cubicBezTo>
                  <a:cubicBezTo>
                    <a:pt x="6" y="296"/>
                    <a:pt x="8" y="302"/>
                    <a:pt x="9" y="308"/>
                  </a:cubicBezTo>
                  <a:lnTo>
                    <a:pt x="10" y="309"/>
                  </a:lnTo>
                  <a:cubicBezTo>
                    <a:pt x="12" y="319"/>
                    <a:pt x="16" y="329"/>
                    <a:pt x="20" y="339"/>
                  </a:cubicBezTo>
                  <a:cubicBezTo>
                    <a:pt x="29" y="358"/>
                    <a:pt x="42" y="377"/>
                    <a:pt x="58" y="393"/>
                  </a:cubicBezTo>
                  <a:cubicBezTo>
                    <a:pt x="60" y="396"/>
                    <a:pt x="63" y="398"/>
                    <a:pt x="66" y="401"/>
                  </a:cubicBezTo>
                  <a:lnTo>
                    <a:pt x="70" y="404"/>
                  </a:lnTo>
                  <a:cubicBezTo>
                    <a:pt x="80" y="412"/>
                    <a:pt x="90" y="419"/>
                    <a:pt x="101" y="425"/>
                  </a:cubicBezTo>
                  <a:cubicBezTo>
                    <a:pt x="104" y="427"/>
                    <a:pt x="108" y="429"/>
                    <a:pt x="112" y="430"/>
                  </a:cubicBezTo>
                  <a:cubicBezTo>
                    <a:pt x="121" y="435"/>
                    <a:pt x="132" y="438"/>
                    <a:pt x="142" y="441"/>
                  </a:cubicBezTo>
                  <a:cubicBezTo>
                    <a:pt x="173" y="449"/>
                    <a:pt x="205" y="450"/>
                    <a:pt x="238" y="444"/>
                  </a:cubicBezTo>
                  <a:cubicBezTo>
                    <a:pt x="253" y="441"/>
                    <a:pt x="267" y="437"/>
                    <a:pt x="281" y="431"/>
                  </a:cubicBezTo>
                  <a:cubicBezTo>
                    <a:pt x="290" y="428"/>
                    <a:pt x="298" y="424"/>
                    <a:pt x="307" y="420"/>
                  </a:cubicBezTo>
                  <a:cubicBezTo>
                    <a:pt x="309" y="419"/>
                    <a:pt x="311" y="418"/>
                    <a:pt x="313" y="416"/>
                  </a:cubicBezTo>
                  <a:cubicBezTo>
                    <a:pt x="335" y="404"/>
                    <a:pt x="355" y="389"/>
                    <a:pt x="373" y="371"/>
                  </a:cubicBezTo>
                  <a:cubicBezTo>
                    <a:pt x="388" y="356"/>
                    <a:pt x="401" y="340"/>
                    <a:pt x="412" y="323"/>
                  </a:cubicBezTo>
                  <a:cubicBezTo>
                    <a:pt x="414" y="319"/>
                    <a:pt x="417" y="315"/>
                    <a:pt x="419" y="311"/>
                  </a:cubicBezTo>
                  <a:cubicBezTo>
                    <a:pt x="425" y="300"/>
                    <a:pt x="430" y="290"/>
                    <a:pt x="434" y="279"/>
                  </a:cubicBezTo>
                  <a:cubicBezTo>
                    <a:pt x="438" y="268"/>
                    <a:pt x="441" y="257"/>
                    <a:pt x="444" y="246"/>
                  </a:cubicBezTo>
                  <a:cubicBezTo>
                    <a:pt x="453" y="210"/>
                    <a:pt x="453" y="173"/>
                    <a:pt x="443" y="139"/>
                  </a:cubicBez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18">
              <a:extLst>
                <a:ext uri="{FF2B5EF4-FFF2-40B4-BE49-F238E27FC236}">
                  <a16:creationId xmlns:a16="http://schemas.microsoft.com/office/drawing/2014/main" id="{A1FAF56D-BCF7-4DE0-BF92-6425D159D32A}"/>
                </a:ext>
              </a:extLst>
            </p:cNvPr>
            <p:cNvSpPr>
              <a:spLocks noEditPoints="1"/>
            </p:cNvSpPr>
            <p:nvPr userDrawn="1"/>
          </p:nvSpPr>
          <p:spPr bwMode="auto">
            <a:xfrm>
              <a:off x="6902450" y="1874838"/>
              <a:ext cx="327025" cy="325438"/>
            </a:xfrm>
            <a:custGeom>
              <a:avLst/>
              <a:gdLst>
                <a:gd name="T0" fmla="*/ 148 w 399"/>
                <a:gd name="T1" fmla="*/ 147 h 397"/>
                <a:gd name="T2" fmla="*/ 224 w 399"/>
                <a:gd name="T3" fmla="*/ 123 h 397"/>
                <a:gd name="T4" fmla="*/ 209 w 399"/>
                <a:gd name="T5" fmla="*/ 221 h 397"/>
                <a:gd name="T6" fmla="*/ 133 w 399"/>
                <a:gd name="T7" fmla="*/ 246 h 397"/>
                <a:gd name="T8" fmla="*/ 148 w 399"/>
                <a:gd name="T9" fmla="*/ 147 h 397"/>
                <a:gd name="T10" fmla="*/ 388 w 399"/>
                <a:gd name="T11" fmla="*/ 118 h 397"/>
                <a:gd name="T12" fmla="*/ 383 w 399"/>
                <a:gd name="T13" fmla="*/ 102 h 397"/>
                <a:gd name="T14" fmla="*/ 375 w 399"/>
                <a:gd name="T15" fmla="*/ 86 h 397"/>
                <a:gd name="T16" fmla="*/ 375 w 399"/>
                <a:gd name="T17" fmla="*/ 86 h 397"/>
                <a:gd name="T18" fmla="*/ 359 w 399"/>
                <a:gd name="T19" fmla="*/ 62 h 397"/>
                <a:gd name="T20" fmla="*/ 347 w 399"/>
                <a:gd name="T21" fmla="*/ 49 h 397"/>
                <a:gd name="T22" fmla="*/ 302 w 399"/>
                <a:gd name="T23" fmla="*/ 17 h 397"/>
                <a:gd name="T24" fmla="*/ 294 w 399"/>
                <a:gd name="T25" fmla="*/ 14 h 397"/>
                <a:gd name="T26" fmla="*/ 279 w 399"/>
                <a:gd name="T27" fmla="*/ 8 h 397"/>
                <a:gd name="T28" fmla="*/ 246 w 399"/>
                <a:gd name="T29" fmla="*/ 1 h 397"/>
                <a:gd name="T30" fmla="*/ 229 w 399"/>
                <a:gd name="T31" fmla="*/ 0 h 397"/>
                <a:gd name="T32" fmla="*/ 144 w 399"/>
                <a:gd name="T33" fmla="*/ 17 h 397"/>
                <a:gd name="T34" fmla="*/ 128 w 399"/>
                <a:gd name="T35" fmla="*/ 25 h 397"/>
                <a:gd name="T36" fmla="*/ 126 w 399"/>
                <a:gd name="T37" fmla="*/ 26 h 397"/>
                <a:gd name="T38" fmla="*/ 91 w 399"/>
                <a:gd name="T39" fmla="*/ 48 h 397"/>
                <a:gd name="T40" fmla="*/ 69 w 399"/>
                <a:gd name="T41" fmla="*/ 68 h 397"/>
                <a:gd name="T42" fmla="*/ 40 w 399"/>
                <a:gd name="T43" fmla="*/ 103 h 397"/>
                <a:gd name="T44" fmla="*/ 26 w 399"/>
                <a:gd name="T45" fmla="*/ 127 h 397"/>
                <a:gd name="T46" fmla="*/ 18 w 399"/>
                <a:gd name="T47" fmla="*/ 143 h 397"/>
                <a:gd name="T48" fmla="*/ 17 w 399"/>
                <a:gd name="T49" fmla="*/ 145 h 397"/>
                <a:gd name="T50" fmla="*/ 1 w 399"/>
                <a:gd name="T51" fmla="*/ 231 h 397"/>
                <a:gd name="T52" fmla="*/ 3 w 399"/>
                <a:gd name="T53" fmla="*/ 255 h 397"/>
                <a:gd name="T54" fmla="*/ 9 w 399"/>
                <a:gd name="T55" fmla="*/ 278 h 397"/>
                <a:gd name="T56" fmla="*/ 14 w 399"/>
                <a:gd name="T57" fmla="*/ 293 h 397"/>
                <a:gd name="T58" fmla="*/ 49 w 399"/>
                <a:gd name="T59" fmla="*/ 347 h 397"/>
                <a:gd name="T60" fmla="*/ 55 w 399"/>
                <a:gd name="T61" fmla="*/ 352 h 397"/>
                <a:gd name="T62" fmla="*/ 61 w 399"/>
                <a:gd name="T63" fmla="*/ 357 h 397"/>
                <a:gd name="T64" fmla="*/ 61 w 399"/>
                <a:gd name="T65" fmla="*/ 358 h 397"/>
                <a:gd name="T66" fmla="*/ 76 w 399"/>
                <a:gd name="T67" fmla="*/ 368 h 397"/>
                <a:gd name="T68" fmla="*/ 103 w 399"/>
                <a:gd name="T69" fmla="*/ 382 h 397"/>
                <a:gd name="T70" fmla="*/ 118 w 399"/>
                <a:gd name="T71" fmla="*/ 388 h 397"/>
                <a:gd name="T72" fmla="*/ 148 w 399"/>
                <a:gd name="T73" fmla="*/ 394 h 397"/>
                <a:gd name="T74" fmla="*/ 212 w 399"/>
                <a:gd name="T75" fmla="*/ 391 h 397"/>
                <a:gd name="T76" fmla="*/ 253 w 399"/>
                <a:gd name="T77" fmla="*/ 378 h 397"/>
                <a:gd name="T78" fmla="*/ 258 w 399"/>
                <a:gd name="T79" fmla="*/ 376 h 397"/>
                <a:gd name="T80" fmla="*/ 269 w 399"/>
                <a:gd name="T81" fmla="*/ 371 h 397"/>
                <a:gd name="T82" fmla="*/ 328 w 399"/>
                <a:gd name="T83" fmla="*/ 328 h 397"/>
                <a:gd name="T84" fmla="*/ 368 w 399"/>
                <a:gd name="T85" fmla="*/ 275 h 397"/>
                <a:gd name="T86" fmla="*/ 371 w 399"/>
                <a:gd name="T87" fmla="*/ 269 h 397"/>
                <a:gd name="T88" fmla="*/ 379 w 399"/>
                <a:gd name="T89" fmla="*/ 252 h 397"/>
                <a:gd name="T90" fmla="*/ 389 w 399"/>
                <a:gd name="T91" fmla="*/ 224 h 397"/>
                <a:gd name="T92" fmla="*/ 388 w 399"/>
                <a:gd name="T93" fmla="*/ 11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9" h="397">
                  <a:moveTo>
                    <a:pt x="148" y="147"/>
                  </a:moveTo>
                  <a:cubicBezTo>
                    <a:pt x="170" y="126"/>
                    <a:pt x="199" y="117"/>
                    <a:pt x="224" y="123"/>
                  </a:cubicBezTo>
                  <a:cubicBezTo>
                    <a:pt x="243" y="151"/>
                    <a:pt x="237" y="193"/>
                    <a:pt x="209" y="221"/>
                  </a:cubicBezTo>
                  <a:cubicBezTo>
                    <a:pt x="187" y="243"/>
                    <a:pt x="158" y="252"/>
                    <a:pt x="133" y="246"/>
                  </a:cubicBezTo>
                  <a:cubicBezTo>
                    <a:pt x="114" y="218"/>
                    <a:pt x="119" y="176"/>
                    <a:pt x="148" y="147"/>
                  </a:cubicBezTo>
                  <a:close/>
                  <a:moveTo>
                    <a:pt x="388" y="118"/>
                  </a:moveTo>
                  <a:cubicBezTo>
                    <a:pt x="387" y="112"/>
                    <a:pt x="385" y="107"/>
                    <a:pt x="383" y="102"/>
                  </a:cubicBezTo>
                  <a:cubicBezTo>
                    <a:pt x="381" y="97"/>
                    <a:pt x="378" y="92"/>
                    <a:pt x="375" y="86"/>
                  </a:cubicBezTo>
                  <a:lnTo>
                    <a:pt x="375" y="86"/>
                  </a:lnTo>
                  <a:cubicBezTo>
                    <a:pt x="370" y="77"/>
                    <a:pt x="365" y="69"/>
                    <a:pt x="359" y="62"/>
                  </a:cubicBezTo>
                  <a:cubicBezTo>
                    <a:pt x="356" y="57"/>
                    <a:pt x="352" y="53"/>
                    <a:pt x="347" y="49"/>
                  </a:cubicBezTo>
                  <a:cubicBezTo>
                    <a:pt x="334" y="35"/>
                    <a:pt x="318" y="25"/>
                    <a:pt x="302" y="17"/>
                  </a:cubicBezTo>
                  <a:cubicBezTo>
                    <a:pt x="299" y="16"/>
                    <a:pt x="297" y="14"/>
                    <a:pt x="294" y="14"/>
                  </a:cubicBezTo>
                  <a:cubicBezTo>
                    <a:pt x="289" y="11"/>
                    <a:pt x="284" y="9"/>
                    <a:pt x="279" y="8"/>
                  </a:cubicBezTo>
                  <a:cubicBezTo>
                    <a:pt x="268" y="5"/>
                    <a:pt x="257" y="3"/>
                    <a:pt x="246" y="1"/>
                  </a:cubicBezTo>
                  <a:cubicBezTo>
                    <a:pt x="241" y="1"/>
                    <a:pt x="235" y="0"/>
                    <a:pt x="229" y="0"/>
                  </a:cubicBezTo>
                  <a:cubicBezTo>
                    <a:pt x="201" y="0"/>
                    <a:pt x="172" y="5"/>
                    <a:pt x="144" y="17"/>
                  </a:cubicBezTo>
                  <a:cubicBezTo>
                    <a:pt x="138" y="20"/>
                    <a:pt x="133" y="22"/>
                    <a:pt x="128" y="25"/>
                  </a:cubicBezTo>
                  <a:lnTo>
                    <a:pt x="126" y="26"/>
                  </a:lnTo>
                  <a:cubicBezTo>
                    <a:pt x="114" y="32"/>
                    <a:pt x="102" y="40"/>
                    <a:pt x="91" y="48"/>
                  </a:cubicBezTo>
                  <a:cubicBezTo>
                    <a:pt x="84" y="54"/>
                    <a:pt x="76" y="61"/>
                    <a:pt x="69" y="68"/>
                  </a:cubicBezTo>
                  <a:cubicBezTo>
                    <a:pt x="58" y="79"/>
                    <a:pt x="48" y="91"/>
                    <a:pt x="40" y="103"/>
                  </a:cubicBezTo>
                  <a:cubicBezTo>
                    <a:pt x="35" y="111"/>
                    <a:pt x="30" y="119"/>
                    <a:pt x="26" y="127"/>
                  </a:cubicBezTo>
                  <a:cubicBezTo>
                    <a:pt x="23" y="132"/>
                    <a:pt x="20" y="138"/>
                    <a:pt x="18" y="143"/>
                  </a:cubicBezTo>
                  <a:lnTo>
                    <a:pt x="17" y="145"/>
                  </a:lnTo>
                  <a:cubicBezTo>
                    <a:pt x="6" y="173"/>
                    <a:pt x="0" y="202"/>
                    <a:pt x="1" y="231"/>
                  </a:cubicBezTo>
                  <a:cubicBezTo>
                    <a:pt x="1" y="239"/>
                    <a:pt x="2" y="247"/>
                    <a:pt x="3" y="255"/>
                  </a:cubicBezTo>
                  <a:cubicBezTo>
                    <a:pt x="5" y="263"/>
                    <a:pt x="6" y="271"/>
                    <a:pt x="9" y="278"/>
                  </a:cubicBezTo>
                  <a:cubicBezTo>
                    <a:pt x="10" y="283"/>
                    <a:pt x="12" y="288"/>
                    <a:pt x="14" y="293"/>
                  </a:cubicBezTo>
                  <a:cubicBezTo>
                    <a:pt x="22" y="313"/>
                    <a:pt x="34" y="331"/>
                    <a:pt x="49" y="347"/>
                  </a:cubicBezTo>
                  <a:cubicBezTo>
                    <a:pt x="51" y="349"/>
                    <a:pt x="53" y="350"/>
                    <a:pt x="55" y="352"/>
                  </a:cubicBezTo>
                  <a:cubicBezTo>
                    <a:pt x="57" y="354"/>
                    <a:pt x="59" y="356"/>
                    <a:pt x="61" y="357"/>
                  </a:cubicBezTo>
                  <a:lnTo>
                    <a:pt x="61" y="358"/>
                  </a:lnTo>
                  <a:cubicBezTo>
                    <a:pt x="66" y="361"/>
                    <a:pt x="71" y="365"/>
                    <a:pt x="76" y="368"/>
                  </a:cubicBezTo>
                  <a:cubicBezTo>
                    <a:pt x="84" y="374"/>
                    <a:pt x="93" y="378"/>
                    <a:pt x="103" y="382"/>
                  </a:cubicBezTo>
                  <a:cubicBezTo>
                    <a:pt x="108" y="384"/>
                    <a:pt x="113" y="386"/>
                    <a:pt x="118" y="388"/>
                  </a:cubicBezTo>
                  <a:cubicBezTo>
                    <a:pt x="128" y="391"/>
                    <a:pt x="138" y="393"/>
                    <a:pt x="148" y="394"/>
                  </a:cubicBezTo>
                  <a:cubicBezTo>
                    <a:pt x="169" y="397"/>
                    <a:pt x="191" y="396"/>
                    <a:pt x="212" y="391"/>
                  </a:cubicBezTo>
                  <a:cubicBezTo>
                    <a:pt x="226" y="388"/>
                    <a:pt x="240" y="384"/>
                    <a:pt x="253" y="378"/>
                  </a:cubicBezTo>
                  <a:cubicBezTo>
                    <a:pt x="255" y="378"/>
                    <a:pt x="256" y="377"/>
                    <a:pt x="258" y="376"/>
                  </a:cubicBezTo>
                  <a:cubicBezTo>
                    <a:pt x="262" y="375"/>
                    <a:pt x="266" y="373"/>
                    <a:pt x="269" y="371"/>
                  </a:cubicBezTo>
                  <a:cubicBezTo>
                    <a:pt x="290" y="360"/>
                    <a:pt x="310" y="345"/>
                    <a:pt x="328" y="328"/>
                  </a:cubicBezTo>
                  <a:cubicBezTo>
                    <a:pt x="344" y="312"/>
                    <a:pt x="358" y="294"/>
                    <a:pt x="368" y="275"/>
                  </a:cubicBezTo>
                  <a:cubicBezTo>
                    <a:pt x="369" y="273"/>
                    <a:pt x="370" y="271"/>
                    <a:pt x="371" y="269"/>
                  </a:cubicBezTo>
                  <a:cubicBezTo>
                    <a:pt x="374" y="263"/>
                    <a:pt x="377" y="258"/>
                    <a:pt x="379" y="252"/>
                  </a:cubicBezTo>
                  <a:cubicBezTo>
                    <a:pt x="383" y="243"/>
                    <a:pt x="386" y="234"/>
                    <a:pt x="389" y="224"/>
                  </a:cubicBezTo>
                  <a:cubicBezTo>
                    <a:pt x="399" y="188"/>
                    <a:pt x="399" y="151"/>
                    <a:pt x="388" y="118"/>
                  </a:cubicBez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19">
              <a:extLst>
                <a:ext uri="{FF2B5EF4-FFF2-40B4-BE49-F238E27FC236}">
                  <a16:creationId xmlns:a16="http://schemas.microsoft.com/office/drawing/2014/main" id="{FC6CE6B4-7FF7-4780-84AB-9E3F50A207FC}"/>
                </a:ext>
              </a:extLst>
            </p:cNvPr>
            <p:cNvSpPr>
              <a:spLocks noEditPoints="1"/>
            </p:cNvSpPr>
            <p:nvPr userDrawn="1"/>
          </p:nvSpPr>
          <p:spPr bwMode="auto">
            <a:xfrm>
              <a:off x="6980238" y="1954213"/>
              <a:ext cx="168275" cy="169863"/>
            </a:xfrm>
            <a:custGeom>
              <a:avLst/>
              <a:gdLst>
                <a:gd name="T0" fmla="*/ 54 w 205"/>
                <a:gd name="T1" fmla="*/ 50 h 207"/>
                <a:gd name="T2" fmla="*/ 130 w 205"/>
                <a:gd name="T3" fmla="*/ 26 h 207"/>
                <a:gd name="T4" fmla="*/ 115 w 205"/>
                <a:gd name="T5" fmla="*/ 124 h 207"/>
                <a:gd name="T6" fmla="*/ 39 w 205"/>
                <a:gd name="T7" fmla="*/ 149 h 207"/>
                <a:gd name="T8" fmla="*/ 54 w 205"/>
                <a:gd name="T9" fmla="*/ 50 h 207"/>
                <a:gd name="T10" fmla="*/ 199 w 205"/>
                <a:gd name="T11" fmla="*/ 55 h 207"/>
                <a:gd name="T12" fmla="*/ 180 w 205"/>
                <a:gd name="T13" fmla="*/ 26 h 207"/>
                <a:gd name="T14" fmla="*/ 145 w 205"/>
                <a:gd name="T15" fmla="*/ 5 h 207"/>
                <a:gd name="T16" fmla="*/ 102 w 205"/>
                <a:gd name="T17" fmla="*/ 2 h 207"/>
                <a:gd name="T18" fmla="*/ 39 w 205"/>
                <a:gd name="T19" fmla="*/ 35 h 207"/>
                <a:gd name="T20" fmla="*/ 6 w 205"/>
                <a:gd name="T21" fmla="*/ 132 h 207"/>
                <a:gd name="T22" fmla="*/ 23 w 205"/>
                <a:gd name="T23" fmla="*/ 170 h 207"/>
                <a:gd name="T24" fmla="*/ 29 w 205"/>
                <a:gd name="T25" fmla="*/ 176 h 207"/>
                <a:gd name="T26" fmla="*/ 132 w 205"/>
                <a:gd name="T27" fmla="*/ 192 h 207"/>
                <a:gd name="T28" fmla="*/ 170 w 205"/>
                <a:gd name="T29" fmla="*/ 166 h 207"/>
                <a:gd name="T30" fmla="*/ 190 w 205"/>
                <a:gd name="T31" fmla="*/ 140 h 207"/>
                <a:gd name="T32" fmla="*/ 204 w 205"/>
                <a:gd name="T33" fmla="*/ 98 h 207"/>
                <a:gd name="T34" fmla="*/ 199 w 205"/>
                <a:gd name="T35" fmla="*/ 5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07">
                  <a:moveTo>
                    <a:pt x="54" y="50"/>
                  </a:moveTo>
                  <a:cubicBezTo>
                    <a:pt x="76" y="29"/>
                    <a:pt x="105" y="20"/>
                    <a:pt x="130" y="26"/>
                  </a:cubicBezTo>
                  <a:cubicBezTo>
                    <a:pt x="149" y="54"/>
                    <a:pt x="143" y="96"/>
                    <a:pt x="115" y="124"/>
                  </a:cubicBezTo>
                  <a:cubicBezTo>
                    <a:pt x="93" y="146"/>
                    <a:pt x="64" y="155"/>
                    <a:pt x="39" y="149"/>
                  </a:cubicBezTo>
                  <a:cubicBezTo>
                    <a:pt x="20" y="121"/>
                    <a:pt x="25" y="79"/>
                    <a:pt x="54" y="50"/>
                  </a:cubicBezTo>
                  <a:close/>
                  <a:moveTo>
                    <a:pt x="199" y="55"/>
                  </a:moveTo>
                  <a:cubicBezTo>
                    <a:pt x="195" y="44"/>
                    <a:pt x="188" y="34"/>
                    <a:pt x="180" y="26"/>
                  </a:cubicBezTo>
                  <a:cubicBezTo>
                    <a:pt x="170" y="16"/>
                    <a:pt x="158" y="9"/>
                    <a:pt x="145" y="5"/>
                  </a:cubicBezTo>
                  <a:cubicBezTo>
                    <a:pt x="131" y="1"/>
                    <a:pt x="116" y="0"/>
                    <a:pt x="102" y="2"/>
                  </a:cubicBezTo>
                  <a:cubicBezTo>
                    <a:pt x="79" y="6"/>
                    <a:pt x="57" y="17"/>
                    <a:pt x="39" y="35"/>
                  </a:cubicBezTo>
                  <a:cubicBezTo>
                    <a:pt x="11" y="63"/>
                    <a:pt x="0" y="100"/>
                    <a:pt x="6" y="132"/>
                  </a:cubicBezTo>
                  <a:cubicBezTo>
                    <a:pt x="9" y="146"/>
                    <a:pt x="15" y="159"/>
                    <a:pt x="23" y="170"/>
                  </a:cubicBezTo>
                  <a:cubicBezTo>
                    <a:pt x="25" y="172"/>
                    <a:pt x="27" y="174"/>
                    <a:pt x="29" y="176"/>
                  </a:cubicBezTo>
                  <a:cubicBezTo>
                    <a:pt x="55" y="202"/>
                    <a:pt x="96" y="207"/>
                    <a:pt x="132" y="192"/>
                  </a:cubicBezTo>
                  <a:cubicBezTo>
                    <a:pt x="146" y="186"/>
                    <a:pt x="159" y="178"/>
                    <a:pt x="170" y="166"/>
                  </a:cubicBezTo>
                  <a:cubicBezTo>
                    <a:pt x="178" y="158"/>
                    <a:pt x="185" y="149"/>
                    <a:pt x="190" y="140"/>
                  </a:cubicBezTo>
                  <a:cubicBezTo>
                    <a:pt x="198" y="126"/>
                    <a:pt x="202" y="112"/>
                    <a:pt x="204" y="98"/>
                  </a:cubicBezTo>
                  <a:cubicBezTo>
                    <a:pt x="205" y="83"/>
                    <a:pt x="204" y="68"/>
                    <a:pt x="199" y="55"/>
                  </a:cubicBez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0">
              <a:extLst>
                <a:ext uri="{FF2B5EF4-FFF2-40B4-BE49-F238E27FC236}">
                  <a16:creationId xmlns:a16="http://schemas.microsoft.com/office/drawing/2014/main" id="{4425096A-FC76-49E0-8533-FF78880642F8}"/>
                </a:ext>
              </a:extLst>
            </p:cNvPr>
            <p:cNvSpPr>
              <a:spLocks/>
            </p:cNvSpPr>
            <p:nvPr userDrawn="1"/>
          </p:nvSpPr>
          <p:spPr bwMode="auto">
            <a:xfrm>
              <a:off x="7011988" y="1974850"/>
              <a:ext cx="123825" cy="130175"/>
            </a:xfrm>
            <a:custGeom>
              <a:avLst/>
              <a:gdLst>
                <a:gd name="T0" fmla="*/ 116 w 151"/>
                <a:gd name="T1" fmla="*/ 125 h 158"/>
                <a:gd name="T2" fmla="*/ 28 w 151"/>
                <a:gd name="T3" fmla="*/ 146 h 158"/>
                <a:gd name="T4" fmla="*/ 7 w 151"/>
                <a:gd name="T5" fmla="*/ 133 h 158"/>
                <a:gd name="T6" fmla="*/ 0 w 151"/>
                <a:gd name="T7" fmla="*/ 123 h 158"/>
                <a:gd name="T8" fmla="*/ 76 w 151"/>
                <a:gd name="T9" fmla="*/ 98 h 158"/>
                <a:gd name="T10" fmla="*/ 91 w 151"/>
                <a:gd name="T11" fmla="*/ 0 h 158"/>
                <a:gd name="T12" fmla="*/ 123 w 151"/>
                <a:gd name="T13" fmla="*/ 17 h 158"/>
                <a:gd name="T14" fmla="*/ 123 w 151"/>
                <a:gd name="T15" fmla="*/ 17 h 158"/>
                <a:gd name="T16" fmla="*/ 116 w 151"/>
                <a:gd name="T17" fmla="*/ 12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58">
                  <a:moveTo>
                    <a:pt x="116" y="125"/>
                  </a:moveTo>
                  <a:cubicBezTo>
                    <a:pt x="91" y="150"/>
                    <a:pt x="55" y="158"/>
                    <a:pt x="28" y="146"/>
                  </a:cubicBezTo>
                  <a:cubicBezTo>
                    <a:pt x="20" y="143"/>
                    <a:pt x="13" y="139"/>
                    <a:pt x="7" y="133"/>
                  </a:cubicBezTo>
                  <a:cubicBezTo>
                    <a:pt x="5" y="130"/>
                    <a:pt x="2" y="127"/>
                    <a:pt x="0" y="123"/>
                  </a:cubicBezTo>
                  <a:cubicBezTo>
                    <a:pt x="25" y="129"/>
                    <a:pt x="54" y="120"/>
                    <a:pt x="76" y="98"/>
                  </a:cubicBezTo>
                  <a:cubicBezTo>
                    <a:pt x="104" y="70"/>
                    <a:pt x="110" y="28"/>
                    <a:pt x="91" y="0"/>
                  </a:cubicBezTo>
                  <a:cubicBezTo>
                    <a:pt x="103" y="2"/>
                    <a:pt x="114" y="8"/>
                    <a:pt x="123" y="17"/>
                  </a:cubicBezTo>
                  <a:lnTo>
                    <a:pt x="123" y="17"/>
                  </a:lnTo>
                  <a:cubicBezTo>
                    <a:pt x="151" y="45"/>
                    <a:pt x="148" y="93"/>
                    <a:pt x="116" y="125"/>
                  </a:cubicBez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1">
              <a:extLst>
                <a:ext uri="{FF2B5EF4-FFF2-40B4-BE49-F238E27FC236}">
                  <a16:creationId xmlns:a16="http://schemas.microsoft.com/office/drawing/2014/main" id="{42C8D749-3E09-4096-BB21-CC8A060E9DDF}"/>
                </a:ext>
              </a:extLst>
            </p:cNvPr>
            <p:cNvSpPr>
              <a:spLocks/>
            </p:cNvSpPr>
            <p:nvPr userDrawn="1"/>
          </p:nvSpPr>
          <p:spPr bwMode="auto">
            <a:xfrm>
              <a:off x="6927850" y="1833563"/>
              <a:ext cx="38100" cy="26988"/>
            </a:xfrm>
            <a:custGeom>
              <a:avLst/>
              <a:gdLst>
                <a:gd name="T0" fmla="*/ 45 w 45"/>
                <a:gd name="T1" fmla="*/ 24 h 34"/>
                <a:gd name="T2" fmla="*/ 10 w 45"/>
                <a:gd name="T3" fmla="*/ 0 h 34"/>
                <a:gd name="T4" fmla="*/ 11 w 45"/>
                <a:gd name="T5" fmla="*/ 17 h 34"/>
                <a:gd name="T6" fmla="*/ 45 w 45"/>
                <a:gd name="T7" fmla="*/ 24 h 34"/>
              </a:gdLst>
              <a:ahLst/>
              <a:cxnLst>
                <a:cxn ang="0">
                  <a:pos x="T0" y="T1"/>
                </a:cxn>
                <a:cxn ang="0">
                  <a:pos x="T2" y="T3"/>
                </a:cxn>
                <a:cxn ang="0">
                  <a:pos x="T4" y="T5"/>
                </a:cxn>
                <a:cxn ang="0">
                  <a:pos x="T6" y="T7"/>
                </a:cxn>
              </a:cxnLst>
              <a:rect l="0" t="0" r="r" b="b"/>
              <a:pathLst>
                <a:path w="45" h="34">
                  <a:moveTo>
                    <a:pt x="45" y="24"/>
                  </a:moveTo>
                  <a:lnTo>
                    <a:pt x="10" y="0"/>
                  </a:lnTo>
                  <a:cubicBezTo>
                    <a:pt x="10" y="0"/>
                    <a:pt x="0" y="1"/>
                    <a:pt x="11" y="17"/>
                  </a:cubicBezTo>
                  <a:cubicBezTo>
                    <a:pt x="22" y="34"/>
                    <a:pt x="45" y="24"/>
                    <a:pt x="45" y="24"/>
                  </a:cubicBez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22">
              <a:extLst>
                <a:ext uri="{FF2B5EF4-FFF2-40B4-BE49-F238E27FC236}">
                  <a16:creationId xmlns:a16="http://schemas.microsoft.com/office/drawing/2014/main" id="{342DF01A-FD2D-4BC5-836B-8BCAC777690E}"/>
                </a:ext>
              </a:extLst>
            </p:cNvPr>
            <p:cNvSpPr>
              <a:spLocks/>
            </p:cNvSpPr>
            <p:nvPr userDrawn="1"/>
          </p:nvSpPr>
          <p:spPr bwMode="auto">
            <a:xfrm>
              <a:off x="7069138" y="1763713"/>
              <a:ext cx="39688" cy="38100"/>
            </a:xfrm>
            <a:custGeom>
              <a:avLst/>
              <a:gdLst>
                <a:gd name="T0" fmla="*/ 49 w 49"/>
                <a:gd name="T1" fmla="*/ 25 h 46"/>
                <a:gd name="T2" fmla="*/ 12 w 49"/>
                <a:gd name="T3" fmla="*/ 0 h 46"/>
                <a:gd name="T4" fmla="*/ 12 w 49"/>
                <a:gd name="T5" fmla="*/ 25 h 46"/>
                <a:gd name="T6" fmla="*/ 39 w 49"/>
                <a:gd name="T7" fmla="*/ 42 h 46"/>
                <a:gd name="T8" fmla="*/ 49 w 49"/>
                <a:gd name="T9" fmla="*/ 25 h 46"/>
              </a:gdLst>
              <a:ahLst/>
              <a:cxnLst>
                <a:cxn ang="0">
                  <a:pos x="T0" y="T1"/>
                </a:cxn>
                <a:cxn ang="0">
                  <a:pos x="T2" y="T3"/>
                </a:cxn>
                <a:cxn ang="0">
                  <a:pos x="T4" y="T5"/>
                </a:cxn>
                <a:cxn ang="0">
                  <a:pos x="T6" y="T7"/>
                </a:cxn>
                <a:cxn ang="0">
                  <a:pos x="T8" y="T9"/>
                </a:cxn>
              </a:cxnLst>
              <a:rect l="0" t="0" r="r" b="b"/>
              <a:pathLst>
                <a:path w="49" h="46">
                  <a:moveTo>
                    <a:pt x="49" y="25"/>
                  </a:moveTo>
                  <a:lnTo>
                    <a:pt x="12" y="0"/>
                  </a:lnTo>
                  <a:cubicBezTo>
                    <a:pt x="12" y="0"/>
                    <a:pt x="0" y="10"/>
                    <a:pt x="12" y="25"/>
                  </a:cubicBezTo>
                  <a:cubicBezTo>
                    <a:pt x="25" y="39"/>
                    <a:pt x="29" y="46"/>
                    <a:pt x="39" y="42"/>
                  </a:cubicBezTo>
                  <a:cubicBezTo>
                    <a:pt x="48" y="38"/>
                    <a:pt x="49" y="25"/>
                    <a:pt x="49" y="25"/>
                  </a:cubicBezTo>
                  <a:close/>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23">
              <a:extLst>
                <a:ext uri="{FF2B5EF4-FFF2-40B4-BE49-F238E27FC236}">
                  <a16:creationId xmlns:a16="http://schemas.microsoft.com/office/drawing/2014/main" id="{35CD58A3-291B-4AC5-80F5-B8FB0ADB13BE}"/>
                </a:ext>
              </a:extLst>
            </p:cNvPr>
            <p:cNvSpPr>
              <a:spLocks/>
            </p:cNvSpPr>
            <p:nvPr userDrawn="1"/>
          </p:nvSpPr>
          <p:spPr bwMode="auto">
            <a:xfrm>
              <a:off x="7205663" y="1812925"/>
              <a:ext cx="46038" cy="39688"/>
            </a:xfrm>
            <a:custGeom>
              <a:avLst/>
              <a:gdLst>
                <a:gd name="T0" fmla="*/ 55 w 55"/>
                <a:gd name="T1" fmla="*/ 26 h 48"/>
                <a:gd name="T2" fmla="*/ 16 w 55"/>
                <a:gd name="T3" fmla="*/ 0 h 48"/>
                <a:gd name="T4" fmla="*/ 16 w 55"/>
                <a:gd name="T5" fmla="*/ 24 h 48"/>
                <a:gd name="T6" fmla="*/ 48 w 55"/>
                <a:gd name="T7" fmla="*/ 44 h 48"/>
                <a:gd name="T8" fmla="*/ 55 w 55"/>
                <a:gd name="T9" fmla="*/ 26 h 48"/>
              </a:gdLst>
              <a:ahLst/>
              <a:cxnLst>
                <a:cxn ang="0">
                  <a:pos x="T0" y="T1"/>
                </a:cxn>
                <a:cxn ang="0">
                  <a:pos x="T2" y="T3"/>
                </a:cxn>
                <a:cxn ang="0">
                  <a:pos x="T4" y="T5"/>
                </a:cxn>
                <a:cxn ang="0">
                  <a:pos x="T6" y="T7"/>
                </a:cxn>
                <a:cxn ang="0">
                  <a:pos x="T8" y="T9"/>
                </a:cxn>
              </a:cxnLst>
              <a:rect l="0" t="0" r="r" b="b"/>
              <a:pathLst>
                <a:path w="55" h="48">
                  <a:moveTo>
                    <a:pt x="55" y="26"/>
                  </a:moveTo>
                  <a:lnTo>
                    <a:pt x="16" y="0"/>
                  </a:lnTo>
                  <a:cubicBezTo>
                    <a:pt x="16" y="0"/>
                    <a:pt x="0" y="4"/>
                    <a:pt x="16" y="24"/>
                  </a:cubicBezTo>
                  <a:cubicBezTo>
                    <a:pt x="32" y="45"/>
                    <a:pt x="41" y="48"/>
                    <a:pt x="48" y="44"/>
                  </a:cubicBezTo>
                  <a:cubicBezTo>
                    <a:pt x="54" y="39"/>
                    <a:pt x="55" y="26"/>
                    <a:pt x="55" y="26"/>
                  </a:cubicBez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24">
              <a:extLst>
                <a:ext uri="{FF2B5EF4-FFF2-40B4-BE49-F238E27FC236}">
                  <a16:creationId xmlns:a16="http://schemas.microsoft.com/office/drawing/2014/main" id="{D31AC5B9-9469-40C9-AA2F-31D0BCB61BB4}"/>
                </a:ext>
              </a:extLst>
            </p:cNvPr>
            <p:cNvSpPr>
              <a:spLocks/>
            </p:cNvSpPr>
            <p:nvPr userDrawn="1"/>
          </p:nvSpPr>
          <p:spPr bwMode="auto">
            <a:xfrm>
              <a:off x="7254875" y="1951038"/>
              <a:ext cx="49213" cy="41275"/>
            </a:xfrm>
            <a:custGeom>
              <a:avLst/>
              <a:gdLst>
                <a:gd name="T0" fmla="*/ 56 w 59"/>
                <a:gd name="T1" fmla="*/ 28 h 52"/>
                <a:gd name="T2" fmla="*/ 15 w 59"/>
                <a:gd name="T3" fmla="*/ 0 h 52"/>
                <a:gd name="T4" fmla="*/ 15 w 59"/>
                <a:gd name="T5" fmla="*/ 24 h 52"/>
                <a:gd name="T6" fmla="*/ 54 w 59"/>
                <a:gd name="T7" fmla="*/ 49 h 52"/>
                <a:gd name="T8" fmla="*/ 56 w 59"/>
                <a:gd name="T9" fmla="*/ 28 h 52"/>
              </a:gdLst>
              <a:ahLst/>
              <a:cxnLst>
                <a:cxn ang="0">
                  <a:pos x="T0" y="T1"/>
                </a:cxn>
                <a:cxn ang="0">
                  <a:pos x="T2" y="T3"/>
                </a:cxn>
                <a:cxn ang="0">
                  <a:pos x="T4" y="T5"/>
                </a:cxn>
                <a:cxn ang="0">
                  <a:pos x="T6" y="T7"/>
                </a:cxn>
                <a:cxn ang="0">
                  <a:pos x="T8" y="T9"/>
                </a:cxn>
              </a:cxnLst>
              <a:rect l="0" t="0" r="r" b="b"/>
              <a:pathLst>
                <a:path w="59" h="52">
                  <a:moveTo>
                    <a:pt x="56" y="28"/>
                  </a:moveTo>
                  <a:lnTo>
                    <a:pt x="15" y="0"/>
                  </a:lnTo>
                  <a:cubicBezTo>
                    <a:pt x="15" y="0"/>
                    <a:pt x="0" y="4"/>
                    <a:pt x="15" y="24"/>
                  </a:cubicBezTo>
                  <a:cubicBezTo>
                    <a:pt x="30" y="44"/>
                    <a:pt x="48" y="52"/>
                    <a:pt x="54" y="49"/>
                  </a:cubicBezTo>
                  <a:cubicBezTo>
                    <a:pt x="59" y="46"/>
                    <a:pt x="56" y="28"/>
                    <a:pt x="56" y="28"/>
                  </a:cubicBez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25">
              <a:extLst>
                <a:ext uri="{FF2B5EF4-FFF2-40B4-BE49-F238E27FC236}">
                  <a16:creationId xmlns:a16="http://schemas.microsoft.com/office/drawing/2014/main" id="{8300321F-BDE7-4688-9F97-9353856A0E15}"/>
                </a:ext>
              </a:extLst>
            </p:cNvPr>
            <p:cNvSpPr>
              <a:spLocks/>
            </p:cNvSpPr>
            <p:nvPr userDrawn="1"/>
          </p:nvSpPr>
          <p:spPr bwMode="auto">
            <a:xfrm>
              <a:off x="7131050" y="2181225"/>
              <a:ext cx="39688" cy="38100"/>
            </a:xfrm>
            <a:custGeom>
              <a:avLst/>
              <a:gdLst>
                <a:gd name="T0" fmla="*/ 0 w 48"/>
                <a:gd name="T1" fmla="*/ 19 h 46"/>
                <a:gd name="T2" fmla="*/ 39 w 48"/>
                <a:gd name="T3" fmla="*/ 46 h 46"/>
                <a:gd name="T4" fmla="*/ 45 w 48"/>
                <a:gd name="T5" fmla="*/ 36 h 46"/>
                <a:gd name="T6" fmla="*/ 25 w 48"/>
                <a:gd name="T7" fmla="*/ 7 h 46"/>
                <a:gd name="T8" fmla="*/ 0 w 48"/>
                <a:gd name="T9" fmla="*/ 19 h 46"/>
              </a:gdLst>
              <a:ahLst/>
              <a:cxnLst>
                <a:cxn ang="0">
                  <a:pos x="T0" y="T1"/>
                </a:cxn>
                <a:cxn ang="0">
                  <a:pos x="T2" y="T3"/>
                </a:cxn>
                <a:cxn ang="0">
                  <a:pos x="T4" y="T5"/>
                </a:cxn>
                <a:cxn ang="0">
                  <a:pos x="T6" y="T7"/>
                </a:cxn>
                <a:cxn ang="0">
                  <a:pos x="T8" y="T9"/>
                </a:cxn>
              </a:cxnLst>
              <a:rect l="0" t="0" r="r" b="b"/>
              <a:pathLst>
                <a:path w="48" h="46">
                  <a:moveTo>
                    <a:pt x="0" y="19"/>
                  </a:moveTo>
                  <a:lnTo>
                    <a:pt x="39" y="46"/>
                  </a:lnTo>
                  <a:cubicBezTo>
                    <a:pt x="39" y="46"/>
                    <a:pt x="48" y="46"/>
                    <a:pt x="45" y="36"/>
                  </a:cubicBezTo>
                  <a:cubicBezTo>
                    <a:pt x="43" y="26"/>
                    <a:pt x="40" y="13"/>
                    <a:pt x="25" y="7"/>
                  </a:cubicBezTo>
                  <a:cubicBezTo>
                    <a:pt x="11" y="0"/>
                    <a:pt x="0" y="19"/>
                    <a:pt x="0" y="19"/>
                  </a:cubicBezTo>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6">
              <a:extLst>
                <a:ext uri="{FF2B5EF4-FFF2-40B4-BE49-F238E27FC236}">
                  <a16:creationId xmlns:a16="http://schemas.microsoft.com/office/drawing/2014/main" id="{85C8FC1E-877F-47B2-9973-2949182D1C55}"/>
                </a:ext>
              </a:extLst>
            </p:cNvPr>
            <p:cNvSpPr>
              <a:spLocks/>
            </p:cNvSpPr>
            <p:nvPr userDrawn="1"/>
          </p:nvSpPr>
          <p:spPr bwMode="auto">
            <a:xfrm>
              <a:off x="6972300" y="2247900"/>
              <a:ext cx="55563" cy="41275"/>
            </a:xfrm>
            <a:custGeom>
              <a:avLst/>
              <a:gdLst>
                <a:gd name="T0" fmla="*/ 68 w 68"/>
                <a:gd name="T1" fmla="*/ 40 h 50"/>
                <a:gd name="T2" fmla="*/ 61 w 68"/>
                <a:gd name="T3" fmla="*/ 50 h 50"/>
                <a:gd name="T4" fmla="*/ 12 w 68"/>
                <a:gd name="T5" fmla="*/ 18 h 50"/>
                <a:gd name="T6" fmla="*/ 28 w 68"/>
                <a:gd name="T7" fmla="*/ 0 h 50"/>
                <a:gd name="T8" fmla="*/ 68 w 68"/>
                <a:gd name="T9" fmla="*/ 40 h 50"/>
              </a:gdLst>
              <a:ahLst/>
              <a:cxnLst>
                <a:cxn ang="0">
                  <a:pos x="T0" y="T1"/>
                </a:cxn>
                <a:cxn ang="0">
                  <a:pos x="T2" y="T3"/>
                </a:cxn>
                <a:cxn ang="0">
                  <a:pos x="T4" y="T5"/>
                </a:cxn>
                <a:cxn ang="0">
                  <a:pos x="T6" y="T7"/>
                </a:cxn>
                <a:cxn ang="0">
                  <a:pos x="T8" y="T9"/>
                </a:cxn>
              </a:cxnLst>
              <a:rect l="0" t="0" r="r" b="b"/>
              <a:pathLst>
                <a:path w="68" h="50">
                  <a:moveTo>
                    <a:pt x="68" y="40"/>
                  </a:moveTo>
                  <a:lnTo>
                    <a:pt x="61" y="50"/>
                  </a:lnTo>
                  <a:lnTo>
                    <a:pt x="12" y="18"/>
                  </a:lnTo>
                  <a:cubicBezTo>
                    <a:pt x="12" y="18"/>
                    <a:pt x="0" y="0"/>
                    <a:pt x="28" y="0"/>
                  </a:cubicBezTo>
                  <a:cubicBezTo>
                    <a:pt x="56" y="0"/>
                    <a:pt x="68" y="40"/>
                    <a:pt x="68" y="40"/>
                  </a:cubicBezTo>
                  <a:close/>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27">
              <a:extLst>
                <a:ext uri="{FF2B5EF4-FFF2-40B4-BE49-F238E27FC236}">
                  <a16:creationId xmlns:a16="http://schemas.microsoft.com/office/drawing/2014/main" id="{45E0A654-768B-4C44-BD82-507D605EEA27}"/>
                </a:ext>
              </a:extLst>
            </p:cNvPr>
            <p:cNvSpPr>
              <a:spLocks/>
            </p:cNvSpPr>
            <p:nvPr userDrawn="1"/>
          </p:nvSpPr>
          <p:spPr bwMode="auto">
            <a:xfrm>
              <a:off x="6838950" y="2171700"/>
              <a:ext cx="69850" cy="63500"/>
            </a:xfrm>
            <a:custGeom>
              <a:avLst/>
              <a:gdLst>
                <a:gd name="T0" fmla="*/ 47 w 86"/>
                <a:gd name="T1" fmla="*/ 79 h 79"/>
                <a:gd name="T2" fmla="*/ 0 w 86"/>
                <a:gd name="T3" fmla="*/ 46 h 79"/>
                <a:gd name="T4" fmla="*/ 53 w 86"/>
                <a:gd name="T5" fmla="*/ 0 h 79"/>
                <a:gd name="T6" fmla="*/ 80 w 86"/>
                <a:gd name="T7" fmla="*/ 53 h 79"/>
                <a:gd name="T8" fmla="*/ 47 w 86"/>
                <a:gd name="T9" fmla="*/ 79 h 79"/>
              </a:gdLst>
              <a:ahLst/>
              <a:cxnLst>
                <a:cxn ang="0">
                  <a:pos x="T0" y="T1"/>
                </a:cxn>
                <a:cxn ang="0">
                  <a:pos x="T2" y="T3"/>
                </a:cxn>
                <a:cxn ang="0">
                  <a:pos x="T4" y="T5"/>
                </a:cxn>
                <a:cxn ang="0">
                  <a:pos x="T6" y="T7"/>
                </a:cxn>
                <a:cxn ang="0">
                  <a:pos x="T8" y="T9"/>
                </a:cxn>
              </a:cxnLst>
              <a:rect l="0" t="0" r="r" b="b"/>
              <a:pathLst>
                <a:path w="86" h="79">
                  <a:moveTo>
                    <a:pt x="47" y="79"/>
                  </a:moveTo>
                  <a:lnTo>
                    <a:pt x="0" y="46"/>
                  </a:lnTo>
                  <a:lnTo>
                    <a:pt x="53" y="0"/>
                  </a:lnTo>
                  <a:cubicBezTo>
                    <a:pt x="53" y="0"/>
                    <a:pt x="86" y="41"/>
                    <a:pt x="80" y="53"/>
                  </a:cubicBezTo>
                  <a:cubicBezTo>
                    <a:pt x="74" y="65"/>
                    <a:pt x="47" y="79"/>
                    <a:pt x="47" y="79"/>
                  </a:cubicBezTo>
                  <a:close/>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28">
              <a:extLst>
                <a:ext uri="{FF2B5EF4-FFF2-40B4-BE49-F238E27FC236}">
                  <a16:creationId xmlns:a16="http://schemas.microsoft.com/office/drawing/2014/main" id="{0AEB2520-AB60-4C70-B367-A0E2BE591FC9}"/>
                </a:ext>
              </a:extLst>
            </p:cNvPr>
            <p:cNvSpPr>
              <a:spLocks/>
            </p:cNvSpPr>
            <p:nvPr userDrawn="1"/>
          </p:nvSpPr>
          <p:spPr bwMode="auto">
            <a:xfrm>
              <a:off x="6797675" y="2033588"/>
              <a:ext cx="65088" cy="66675"/>
            </a:xfrm>
            <a:custGeom>
              <a:avLst/>
              <a:gdLst>
                <a:gd name="T0" fmla="*/ 39 w 79"/>
                <a:gd name="T1" fmla="*/ 80 h 80"/>
                <a:gd name="T2" fmla="*/ 0 w 79"/>
                <a:gd name="T3" fmla="*/ 53 h 80"/>
                <a:gd name="T4" fmla="*/ 46 w 79"/>
                <a:gd name="T5" fmla="*/ 0 h 80"/>
                <a:gd name="T6" fmla="*/ 72 w 79"/>
                <a:gd name="T7" fmla="*/ 54 h 80"/>
                <a:gd name="T8" fmla="*/ 39 w 79"/>
                <a:gd name="T9" fmla="*/ 80 h 80"/>
              </a:gdLst>
              <a:ahLst/>
              <a:cxnLst>
                <a:cxn ang="0">
                  <a:pos x="T0" y="T1"/>
                </a:cxn>
                <a:cxn ang="0">
                  <a:pos x="T2" y="T3"/>
                </a:cxn>
                <a:cxn ang="0">
                  <a:pos x="T4" y="T5"/>
                </a:cxn>
                <a:cxn ang="0">
                  <a:pos x="T6" y="T7"/>
                </a:cxn>
                <a:cxn ang="0">
                  <a:pos x="T8" y="T9"/>
                </a:cxn>
              </a:cxnLst>
              <a:rect l="0" t="0" r="r" b="b"/>
              <a:pathLst>
                <a:path w="79" h="80">
                  <a:moveTo>
                    <a:pt x="39" y="80"/>
                  </a:moveTo>
                  <a:lnTo>
                    <a:pt x="0" y="53"/>
                  </a:lnTo>
                  <a:lnTo>
                    <a:pt x="46" y="0"/>
                  </a:lnTo>
                  <a:cubicBezTo>
                    <a:pt x="46" y="0"/>
                    <a:pt x="79" y="42"/>
                    <a:pt x="72" y="54"/>
                  </a:cubicBezTo>
                  <a:cubicBezTo>
                    <a:pt x="66" y="66"/>
                    <a:pt x="39" y="80"/>
                    <a:pt x="39" y="80"/>
                  </a:cubicBezTo>
                  <a:close/>
                </a:path>
              </a:pathLst>
            </a:custGeom>
            <a:solidFill>
              <a:srgbClr val="A9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29">
              <a:extLst>
                <a:ext uri="{FF2B5EF4-FFF2-40B4-BE49-F238E27FC236}">
                  <a16:creationId xmlns:a16="http://schemas.microsoft.com/office/drawing/2014/main" id="{D97B8B99-4023-443F-96E3-D5323A878C6D}"/>
                </a:ext>
              </a:extLst>
            </p:cNvPr>
            <p:cNvSpPr>
              <a:spLocks/>
            </p:cNvSpPr>
            <p:nvPr userDrawn="1"/>
          </p:nvSpPr>
          <p:spPr bwMode="auto">
            <a:xfrm>
              <a:off x="7094538" y="1798638"/>
              <a:ext cx="153988" cy="153988"/>
            </a:xfrm>
            <a:custGeom>
              <a:avLst/>
              <a:gdLst>
                <a:gd name="T0" fmla="*/ 124 w 188"/>
                <a:gd name="T1" fmla="*/ 155 h 188"/>
                <a:gd name="T2" fmla="*/ 26 w 188"/>
                <a:gd name="T3" fmla="*/ 162 h 188"/>
                <a:gd name="T4" fmla="*/ 33 w 188"/>
                <a:gd name="T5" fmla="*/ 64 h 188"/>
                <a:gd name="T6" fmla="*/ 64 w 188"/>
                <a:gd name="T7" fmla="*/ 32 h 188"/>
                <a:gd name="T8" fmla="*/ 162 w 188"/>
                <a:gd name="T9" fmla="*/ 26 h 188"/>
                <a:gd name="T10" fmla="*/ 156 w 188"/>
                <a:gd name="T11" fmla="*/ 124 h 188"/>
                <a:gd name="T12" fmla="*/ 124 w 188"/>
                <a:gd name="T13" fmla="*/ 155 h 188"/>
              </a:gdLst>
              <a:ahLst/>
              <a:cxnLst>
                <a:cxn ang="0">
                  <a:pos x="T0" y="T1"/>
                </a:cxn>
                <a:cxn ang="0">
                  <a:pos x="T2" y="T3"/>
                </a:cxn>
                <a:cxn ang="0">
                  <a:pos x="T4" y="T5"/>
                </a:cxn>
                <a:cxn ang="0">
                  <a:pos x="T6" y="T7"/>
                </a:cxn>
                <a:cxn ang="0">
                  <a:pos x="T8" y="T9"/>
                </a:cxn>
                <a:cxn ang="0">
                  <a:pos x="T10" y="T11"/>
                </a:cxn>
                <a:cxn ang="0">
                  <a:pos x="T12" y="T13"/>
                </a:cxn>
              </a:cxnLst>
              <a:rect l="0" t="0" r="r" b="b"/>
              <a:pathLst>
                <a:path w="188" h="188">
                  <a:moveTo>
                    <a:pt x="124" y="155"/>
                  </a:moveTo>
                  <a:cubicBezTo>
                    <a:pt x="95" y="184"/>
                    <a:pt x="51" y="188"/>
                    <a:pt x="26" y="162"/>
                  </a:cubicBezTo>
                  <a:cubicBezTo>
                    <a:pt x="0" y="137"/>
                    <a:pt x="4" y="93"/>
                    <a:pt x="33" y="64"/>
                  </a:cubicBezTo>
                  <a:lnTo>
                    <a:pt x="64" y="32"/>
                  </a:lnTo>
                  <a:cubicBezTo>
                    <a:pt x="93" y="3"/>
                    <a:pt x="137" y="0"/>
                    <a:pt x="162" y="26"/>
                  </a:cubicBezTo>
                  <a:cubicBezTo>
                    <a:pt x="188" y="51"/>
                    <a:pt x="185" y="95"/>
                    <a:pt x="156" y="124"/>
                  </a:cubicBezTo>
                  <a:lnTo>
                    <a:pt x="124" y="155"/>
                  </a:lnTo>
                  <a:close/>
                </a:path>
              </a:pathLst>
            </a:custGeom>
            <a:solidFill>
              <a:srgbClr val="D73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30">
              <a:extLst>
                <a:ext uri="{FF2B5EF4-FFF2-40B4-BE49-F238E27FC236}">
                  <a16:creationId xmlns:a16="http://schemas.microsoft.com/office/drawing/2014/main" id="{C6C93C1B-1FEE-49CB-B636-6B9747F1D892}"/>
                </a:ext>
              </a:extLst>
            </p:cNvPr>
            <p:cNvSpPr>
              <a:spLocks/>
            </p:cNvSpPr>
            <p:nvPr userDrawn="1"/>
          </p:nvSpPr>
          <p:spPr bwMode="auto">
            <a:xfrm>
              <a:off x="7138988" y="1941513"/>
              <a:ext cx="152400" cy="120650"/>
            </a:xfrm>
            <a:custGeom>
              <a:avLst/>
              <a:gdLst>
                <a:gd name="T0" fmla="*/ 67 w 186"/>
                <a:gd name="T1" fmla="*/ 145 h 147"/>
                <a:gd name="T2" fmla="*/ 2 w 186"/>
                <a:gd name="T3" fmla="*/ 80 h 147"/>
                <a:gd name="T4" fmla="*/ 77 w 186"/>
                <a:gd name="T5" fmla="*/ 5 h 147"/>
                <a:gd name="T6" fmla="*/ 118 w 186"/>
                <a:gd name="T7" fmla="*/ 2 h 147"/>
                <a:gd name="T8" fmla="*/ 183 w 186"/>
                <a:gd name="T9" fmla="*/ 67 h 147"/>
                <a:gd name="T10" fmla="*/ 108 w 186"/>
                <a:gd name="T11" fmla="*/ 142 h 147"/>
                <a:gd name="T12" fmla="*/ 67 w 186"/>
                <a:gd name="T13" fmla="*/ 145 h 147"/>
              </a:gdLst>
              <a:ahLst/>
              <a:cxnLst>
                <a:cxn ang="0">
                  <a:pos x="T0" y="T1"/>
                </a:cxn>
                <a:cxn ang="0">
                  <a:pos x="T2" y="T3"/>
                </a:cxn>
                <a:cxn ang="0">
                  <a:pos x="T4" y="T5"/>
                </a:cxn>
                <a:cxn ang="0">
                  <a:pos x="T6" y="T7"/>
                </a:cxn>
                <a:cxn ang="0">
                  <a:pos x="T8" y="T9"/>
                </a:cxn>
                <a:cxn ang="0">
                  <a:pos x="T10" y="T11"/>
                </a:cxn>
                <a:cxn ang="0">
                  <a:pos x="T12" y="T13"/>
                </a:cxn>
              </a:cxnLst>
              <a:rect l="0" t="0" r="r" b="b"/>
              <a:pathLst>
                <a:path w="186" h="147">
                  <a:moveTo>
                    <a:pt x="67" y="145"/>
                  </a:moveTo>
                  <a:cubicBezTo>
                    <a:pt x="29" y="147"/>
                    <a:pt x="0" y="118"/>
                    <a:pt x="2" y="80"/>
                  </a:cubicBezTo>
                  <a:cubicBezTo>
                    <a:pt x="5" y="41"/>
                    <a:pt x="38" y="8"/>
                    <a:pt x="77" y="5"/>
                  </a:cubicBezTo>
                  <a:lnTo>
                    <a:pt x="118" y="2"/>
                  </a:lnTo>
                  <a:cubicBezTo>
                    <a:pt x="156" y="0"/>
                    <a:pt x="186" y="29"/>
                    <a:pt x="183" y="67"/>
                  </a:cubicBezTo>
                  <a:cubicBezTo>
                    <a:pt x="180" y="106"/>
                    <a:pt x="147" y="139"/>
                    <a:pt x="108" y="142"/>
                  </a:cubicBezTo>
                  <a:lnTo>
                    <a:pt x="67" y="145"/>
                  </a:lnTo>
                  <a:close/>
                </a:path>
              </a:pathLst>
            </a:custGeom>
            <a:solidFill>
              <a:srgbClr val="D73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31">
              <a:extLst>
                <a:ext uri="{FF2B5EF4-FFF2-40B4-BE49-F238E27FC236}">
                  <a16:creationId xmlns:a16="http://schemas.microsoft.com/office/drawing/2014/main" id="{0C332091-E4C3-4C45-8205-CE81CE315B2E}"/>
                </a:ext>
              </a:extLst>
            </p:cNvPr>
            <p:cNvSpPr>
              <a:spLocks/>
            </p:cNvSpPr>
            <p:nvPr userDrawn="1"/>
          </p:nvSpPr>
          <p:spPr bwMode="auto">
            <a:xfrm>
              <a:off x="7078663" y="2058988"/>
              <a:ext cx="149225" cy="150813"/>
            </a:xfrm>
            <a:custGeom>
              <a:avLst/>
              <a:gdLst>
                <a:gd name="T0" fmla="*/ 25 w 183"/>
                <a:gd name="T1" fmla="*/ 131 h 184"/>
                <a:gd name="T2" fmla="*/ 32 w 183"/>
                <a:gd name="T3" fmla="*/ 33 h 184"/>
                <a:gd name="T4" fmla="*/ 130 w 183"/>
                <a:gd name="T5" fmla="*/ 26 h 184"/>
                <a:gd name="T6" fmla="*/ 157 w 183"/>
                <a:gd name="T7" fmla="*/ 53 h 184"/>
                <a:gd name="T8" fmla="*/ 151 w 183"/>
                <a:gd name="T9" fmla="*/ 151 h 184"/>
                <a:gd name="T10" fmla="*/ 52 w 183"/>
                <a:gd name="T11" fmla="*/ 158 h 184"/>
                <a:gd name="T12" fmla="*/ 25 w 183"/>
                <a:gd name="T13" fmla="*/ 131 h 184"/>
              </a:gdLst>
              <a:ahLst/>
              <a:cxnLst>
                <a:cxn ang="0">
                  <a:pos x="T0" y="T1"/>
                </a:cxn>
                <a:cxn ang="0">
                  <a:pos x="T2" y="T3"/>
                </a:cxn>
                <a:cxn ang="0">
                  <a:pos x="T4" y="T5"/>
                </a:cxn>
                <a:cxn ang="0">
                  <a:pos x="T6" y="T7"/>
                </a:cxn>
                <a:cxn ang="0">
                  <a:pos x="T8" y="T9"/>
                </a:cxn>
                <a:cxn ang="0">
                  <a:pos x="T10" y="T11"/>
                </a:cxn>
                <a:cxn ang="0">
                  <a:pos x="T12" y="T13"/>
                </a:cxn>
              </a:cxnLst>
              <a:rect l="0" t="0" r="r" b="b"/>
              <a:pathLst>
                <a:path w="183" h="184">
                  <a:moveTo>
                    <a:pt x="25" y="131"/>
                  </a:moveTo>
                  <a:cubicBezTo>
                    <a:pt x="0" y="106"/>
                    <a:pt x="3" y="62"/>
                    <a:pt x="32" y="33"/>
                  </a:cubicBezTo>
                  <a:cubicBezTo>
                    <a:pt x="61" y="3"/>
                    <a:pt x="105" y="0"/>
                    <a:pt x="130" y="26"/>
                  </a:cubicBezTo>
                  <a:lnTo>
                    <a:pt x="157" y="53"/>
                  </a:lnTo>
                  <a:cubicBezTo>
                    <a:pt x="183" y="78"/>
                    <a:pt x="180" y="122"/>
                    <a:pt x="151" y="151"/>
                  </a:cubicBezTo>
                  <a:cubicBezTo>
                    <a:pt x="121" y="180"/>
                    <a:pt x="77" y="184"/>
                    <a:pt x="52" y="158"/>
                  </a:cubicBezTo>
                  <a:lnTo>
                    <a:pt x="25" y="131"/>
                  </a:lnTo>
                </a:path>
              </a:pathLst>
            </a:custGeom>
            <a:solidFill>
              <a:srgbClr val="D73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32">
              <a:extLst>
                <a:ext uri="{FF2B5EF4-FFF2-40B4-BE49-F238E27FC236}">
                  <a16:creationId xmlns:a16="http://schemas.microsoft.com/office/drawing/2014/main" id="{DD22FC83-F3CC-4C1F-9EE5-613F528BCCDD}"/>
                </a:ext>
              </a:extLst>
            </p:cNvPr>
            <p:cNvSpPr>
              <a:spLocks/>
            </p:cNvSpPr>
            <p:nvPr userDrawn="1"/>
          </p:nvSpPr>
          <p:spPr bwMode="auto">
            <a:xfrm>
              <a:off x="6959600" y="2120900"/>
              <a:ext cx="120650" cy="152400"/>
            </a:xfrm>
            <a:custGeom>
              <a:avLst/>
              <a:gdLst>
                <a:gd name="T0" fmla="*/ 5 w 147"/>
                <a:gd name="T1" fmla="*/ 78 h 186"/>
                <a:gd name="T2" fmla="*/ 80 w 147"/>
                <a:gd name="T3" fmla="*/ 3 h 186"/>
                <a:gd name="T4" fmla="*/ 145 w 147"/>
                <a:gd name="T5" fmla="*/ 68 h 186"/>
                <a:gd name="T6" fmla="*/ 142 w 147"/>
                <a:gd name="T7" fmla="*/ 109 h 186"/>
                <a:gd name="T8" fmla="*/ 67 w 147"/>
                <a:gd name="T9" fmla="*/ 184 h 186"/>
                <a:gd name="T10" fmla="*/ 2 w 147"/>
                <a:gd name="T11" fmla="*/ 119 h 186"/>
                <a:gd name="T12" fmla="*/ 5 w 147"/>
                <a:gd name="T13" fmla="*/ 78 h 186"/>
              </a:gdLst>
              <a:ahLst/>
              <a:cxnLst>
                <a:cxn ang="0">
                  <a:pos x="T0" y="T1"/>
                </a:cxn>
                <a:cxn ang="0">
                  <a:pos x="T2" y="T3"/>
                </a:cxn>
                <a:cxn ang="0">
                  <a:pos x="T4" y="T5"/>
                </a:cxn>
                <a:cxn ang="0">
                  <a:pos x="T6" y="T7"/>
                </a:cxn>
                <a:cxn ang="0">
                  <a:pos x="T8" y="T9"/>
                </a:cxn>
                <a:cxn ang="0">
                  <a:pos x="T10" y="T11"/>
                </a:cxn>
                <a:cxn ang="0">
                  <a:pos x="T12" y="T13"/>
                </a:cxn>
              </a:cxnLst>
              <a:rect l="0" t="0" r="r" b="b"/>
              <a:pathLst>
                <a:path w="147" h="186">
                  <a:moveTo>
                    <a:pt x="5" y="78"/>
                  </a:moveTo>
                  <a:cubicBezTo>
                    <a:pt x="8" y="39"/>
                    <a:pt x="41" y="6"/>
                    <a:pt x="80" y="3"/>
                  </a:cubicBezTo>
                  <a:cubicBezTo>
                    <a:pt x="118" y="0"/>
                    <a:pt x="147" y="29"/>
                    <a:pt x="145" y="68"/>
                  </a:cubicBezTo>
                  <a:lnTo>
                    <a:pt x="142" y="109"/>
                  </a:lnTo>
                  <a:cubicBezTo>
                    <a:pt x="139" y="148"/>
                    <a:pt x="106" y="181"/>
                    <a:pt x="67" y="184"/>
                  </a:cubicBezTo>
                  <a:cubicBezTo>
                    <a:pt x="29" y="186"/>
                    <a:pt x="0" y="157"/>
                    <a:pt x="2" y="119"/>
                  </a:cubicBezTo>
                  <a:lnTo>
                    <a:pt x="5" y="78"/>
                  </a:lnTo>
                </a:path>
              </a:pathLst>
            </a:custGeom>
            <a:solidFill>
              <a:srgbClr val="D73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33">
              <a:extLst>
                <a:ext uri="{FF2B5EF4-FFF2-40B4-BE49-F238E27FC236}">
                  <a16:creationId xmlns:a16="http://schemas.microsoft.com/office/drawing/2014/main" id="{88BA951C-84E1-4368-B93E-D008525DB25E}"/>
                </a:ext>
              </a:extLst>
            </p:cNvPr>
            <p:cNvSpPr>
              <a:spLocks/>
            </p:cNvSpPr>
            <p:nvPr userDrawn="1"/>
          </p:nvSpPr>
          <p:spPr bwMode="auto">
            <a:xfrm>
              <a:off x="6818313" y="2076450"/>
              <a:ext cx="152400" cy="152400"/>
            </a:xfrm>
            <a:custGeom>
              <a:avLst/>
              <a:gdLst>
                <a:gd name="T0" fmla="*/ 63 w 187"/>
                <a:gd name="T1" fmla="*/ 32 h 187"/>
                <a:gd name="T2" fmla="*/ 161 w 187"/>
                <a:gd name="T3" fmla="*/ 26 h 187"/>
                <a:gd name="T4" fmla="*/ 155 w 187"/>
                <a:gd name="T5" fmla="*/ 124 h 187"/>
                <a:gd name="T6" fmla="*/ 123 w 187"/>
                <a:gd name="T7" fmla="*/ 155 h 187"/>
                <a:gd name="T8" fmla="*/ 25 w 187"/>
                <a:gd name="T9" fmla="*/ 162 h 187"/>
                <a:gd name="T10" fmla="*/ 32 w 187"/>
                <a:gd name="T11" fmla="*/ 64 h 187"/>
                <a:gd name="T12" fmla="*/ 63 w 187"/>
                <a:gd name="T13" fmla="*/ 32 h 187"/>
              </a:gdLst>
              <a:ahLst/>
              <a:cxnLst>
                <a:cxn ang="0">
                  <a:pos x="T0" y="T1"/>
                </a:cxn>
                <a:cxn ang="0">
                  <a:pos x="T2" y="T3"/>
                </a:cxn>
                <a:cxn ang="0">
                  <a:pos x="T4" y="T5"/>
                </a:cxn>
                <a:cxn ang="0">
                  <a:pos x="T6" y="T7"/>
                </a:cxn>
                <a:cxn ang="0">
                  <a:pos x="T8" y="T9"/>
                </a:cxn>
                <a:cxn ang="0">
                  <a:pos x="T10" y="T11"/>
                </a:cxn>
                <a:cxn ang="0">
                  <a:pos x="T12" y="T13"/>
                </a:cxn>
              </a:cxnLst>
              <a:rect l="0" t="0" r="r" b="b"/>
              <a:pathLst>
                <a:path w="187" h="187">
                  <a:moveTo>
                    <a:pt x="63" y="32"/>
                  </a:moveTo>
                  <a:cubicBezTo>
                    <a:pt x="92" y="3"/>
                    <a:pt x="136" y="0"/>
                    <a:pt x="161" y="26"/>
                  </a:cubicBezTo>
                  <a:cubicBezTo>
                    <a:pt x="187" y="51"/>
                    <a:pt x="184" y="95"/>
                    <a:pt x="155" y="124"/>
                  </a:cubicBezTo>
                  <a:lnTo>
                    <a:pt x="123" y="155"/>
                  </a:lnTo>
                  <a:cubicBezTo>
                    <a:pt x="94" y="184"/>
                    <a:pt x="50" y="187"/>
                    <a:pt x="25" y="162"/>
                  </a:cubicBezTo>
                  <a:cubicBezTo>
                    <a:pt x="0" y="137"/>
                    <a:pt x="3" y="93"/>
                    <a:pt x="32" y="64"/>
                  </a:cubicBezTo>
                  <a:lnTo>
                    <a:pt x="63" y="32"/>
                  </a:lnTo>
                </a:path>
              </a:pathLst>
            </a:custGeom>
            <a:solidFill>
              <a:srgbClr val="D73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34">
              <a:extLst>
                <a:ext uri="{FF2B5EF4-FFF2-40B4-BE49-F238E27FC236}">
                  <a16:creationId xmlns:a16="http://schemas.microsoft.com/office/drawing/2014/main" id="{8CFC9F42-EE03-47E1-9E6F-0F4F01E04787}"/>
                </a:ext>
              </a:extLst>
            </p:cNvPr>
            <p:cNvSpPr>
              <a:spLocks/>
            </p:cNvSpPr>
            <p:nvPr userDrawn="1"/>
          </p:nvSpPr>
          <p:spPr bwMode="auto">
            <a:xfrm>
              <a:off x="6773863" y="1966913"/>
              <a:ext cx="152400" cy="120650"/>
            </a:xfrm>
            <a:custGeom>
              <a:avLst/>
              <a:gdLst>
                <a:gd name="T0" fmla="*/ 118 w 186"/>
                <a:gd name="T1" fmla="*/ 2 h 147"/>
                <a:gd name="T2" fmla="*/ 183 w 186"/>
                <a:gd name="T3" fmla="*/ 67 h 147"/>
                <a:gd name="T4" fmla="*/ 108 w 186"/>
                <a:gd name="T5" fmla="*/ 142 h 147"/>
                <a:gd name="T6" fmla="*/ 67 w 186"/>
                <a:gd name="T7" fmla="*/ 145 h 147"/>
                <a:gd name="T8" fmla="*/ 2 w 186"/>
                <a:gd name="T9" fmla="*/ 80 h 147"/>
                <a:gd name="T10" fmla="*/ 77 w 186"/>
                <a:gd name="T11" fmla="*/ 5 h 147"/>
                <a:gd name="T12" fmla="*/ 118 w 186"/>
                <a:gd name="T13" fmla="*/ 2 h 147"/>
              </a:gdLst>
              <a:ahLst/>
              <a:cxnLst>
                <a:cxn ang="0">
                  <a:pos x="T0" y="T1"/>
                </a:cxn>
                <a:cxn ang="0">
                  <a:pos x="T2" y="T3"/>
                </a:cxn>
                <a:cxn ang="0">
                  <a:pos x="T4" y="T5"/>
                </a:cxn>
                <a:cxn ang="0">
                  <a:pos x="T6" y="T7"/>
                </a:cxn>
                <a:cxn ang="0">
                  <a:pos x="T8" y="T9"/>
                </a:cxn>
                <a:cxn ang="0">
                  <a:pos x="T10" y="T11"/>
                </a:cxn>
                <a:cxn ang="0">
                  <a:pos x="T12" y="T13"/>
                </a:cxn>
              </a:cxnLst>
              <a:rect l="0" t="0" r="r" b="b"/>
              <a:pathLst>
                <a:path w="186" h="147">
                  <a:moveTo>
                    <a:pt x="118" y="2"/>
                  </a:moveTo>
                  <a:cubicBezTo>
                    <a:pt x="157" y="0"/>
                    <a:pt x="186" y="29"/>
                    <a:pt x="183" y="67"/>
                  </a:cubicBezTo>
                  <a:cubicBezTo>
                    <a:pt x="180" y="106"/>
                    <a:pt x="147" y="139"/>
                    <a:pt x="108" y="142"/>
                  </a:cubicBezTo>
                  <a:lnTo>
                    <a:pt x="67" y="145"/>
                  </a:lnTo>
                  <a:cubicBezTo>
                    <a:pt x="29" y="147"/>
                    <a:pt x="0" y="118"/>
                    <a:pt x="2" y="80"/>
                  </a:cubicBezTo>
                  <a:cubicBezTo>
                    <a:pt x="5" y="41"/>
                    <a:pt x="38" y="8"/>
                    <a:pt x="77" y="5"/>
                  </a:cubicBezTo>
                  <a:lnTo>
                    <a:pt x="118" y="2"/>
                  </a:lnTo>
                </a:path>
              </a:pathLst>
            </a:custGeom>
            <a:solidFill>
              <a:srgbClr val="D73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35">
              <a:extLst>
                <a:ext uri="{FF2B5EF4-FFF2-40B4-BE49-F238E27FC236}">
                  <a16:creationId xmlns:a16="http://schemas.microsoft.com/office/drawing/2014/main" id="{B648D9A6-B168-43FE-8E09-445166CAC485}"/>
                </a:ext>
              </a:extLst>
            </p:cNvPr>
            <p:cNvSpPr>
              <a:spLocks/>
            </p:cNvSpPr>
            <p:nvPr userDrawn="1"/>
          </p:nvSpPr>
          <p:spPr bwMode="auto">
            <a:xfrm>
              <a:off x="6837363" y="1817688"/>
              <a:ext cx="150813" cy="150813"/>
            </a:xfrm>
            <a:custGeom>
              <a:avLst/>
              <a:gdLst>
                <a:gd name="T0" fmla="*/ 158 w 184"/>
                <a:gd name="T1" fmla="*/ 53 h 183"/>
                <a:gd name="T2" fmla="*/ 151 w 184"/>
                <a:gd name="T3" fmla="*/ 151 h 183"/>
                <a:gd name="T4" fmla="*/ 53 w 184"/>
                <a:gd name="T5" fmla="*/ 158 h 183"/>
                <a:gd name="T6" fmla="*/ 26 w 184"/>
                <a:gd name="T7" fmla="*/ 131 h 183"/>
                <a:gd name="T8" fmla="*/ 33 w 184"/>
                <a:gd name="T9" fmla="*/ 32 h 183"/>
                <a:gd name="T10" fmla="*/ 131 w 184"/>
                <a:gd name="T11" fmla="*/ 26 h 183"/>
                <a:gd name="T12" fmla="*/ 158 w 184"/>
                <a:gd name="T13" fmla="*/ 53 h 183"/>
              </a:gdLst>
              <a:ahLst/>
              <a:cxnLst>
                <a:cxn ang="0">
                  <a:pos x="T0" y="T1"/>
                </a:cxn>
                <a:cxn ang="0">
                  <a:pos x="T2" y="T3"/>
                </a:cxn>
                <a:cxn ang="0">
                  <a:pos x="T4" y="T5"/>
                </a:cxn>
                <a:cxn ang="0">
                  <a:pos x="T6" y="T7"/>
                </a:cxn>
                <a:cxn ang="0">
                  <a:pos x="T8" y="T9"/>
                </a:cxn>
                <a:cxn ang="0">
                  <a:pos x="T10" y="T11"/>
                </a:cxn>
                <a:cxn ang="0">
                  <a:pos x="T12" y="T13"/>
                </a:cxn>
              </a:cxnLst>
              <a:rect l="0" t="0" r="r" b="b"/>
              <a:pathLst>
                <a:path w="184" h="183">
                  <a:moveTo>
                    <a:pt x="158" y="53"/>
                  </a:moveTo>
                  <a:cubicBezTo>
                    <a:pt x="184" y="78"/>
                    <a:pt x="181" y="122"/>
                    <a:pt x="151" y="151"/>
                  </a:cubicBezTo>
                  <a:cubicBezTo>
                    <a:pt x="122" y="180"/>
                    <a:pt x="78" y="183"/>
                    <a:pt x="53" y="158"/>
                  </a:cubicBezTo>
                  <a:lnTo>
                    <a:pt x="26" y="131"/>
                  </a:lnTo>
                  <a:cubicBezTo>
                    <a:pt x="0" y="106"/>
                    <a:pt x="4" y="62"/>
                    <a:pt x="33" y="32"/>
                  </a:cubicBezTo>
                  <a:cubicBezTo>
                    <a:pt x="62" y="3"/>
                    <a:pt x="106" y="0"/>
                    <a:pt x="131" y="26"/>
                  </a:cubicBezTo>
                  <a:lnTo>
                    <a:pt x="158" y="53"/>
                  </a:lnTo>
                </a:path>
              </a:pathLst>
            </a:custGeom>
            <a:solidFill>
              <a:srgbClr val="D73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36">
              <a:extLst>
                <a:ext uri="{FF2B5EF4-FFF2-40B4-BE49-F238E27FC236}">
                  <a16:creationId xmlns:a16="http://schemas.microsoft.com/office/drawing/2014/main" id="{DF94EF96-BC5B-4A66-AAD2-C17B9DC7E3FF}"/>
                </a:ext>
              </a:extLst>
            </p:cNvPr>
            <p:cNvSpPr>
              <a:spLocks/>
            </p:cNvSpPr>
            <p:nvPr userDrawn="1"/>
          </p:nvSpPr>
          <p:spPr bwMode="auto">
            <a:xfrm>
              <a:off x="6985000" y="1754188"/>
              <a:ext cx="120650" cy="152400"/>
            </a:xfrm>
            <a:custGeom>
              <a:avLst/>
              <a:gdLst>
                <a:gd name="T0" fmla="*/ 142 w 147"/>
                <a:gd name="T1" fmla="*/ 109 h 186"/>
                <a:gd name="T2" fmla="*/ 67 w 147"/>
                <a:gd name="T3" fmla="*/ 184 h 186"/>
                <a:gd name="T4" fmla="*/ 2 w 147"/>
                <a:gd name="T5" fmla="*/ 119 h 186"/>
                <a:gd name="T6" fmla="*/ 5 w 147"/>
                <a:gd name="T7" fmla="*/ 78 h 186"/>
                <a:gd name="T8" fmla="*/ 80 w 147"/>
                <a:gd name="T9" fmla="*/ 3 h 186"/>
                <a:gd name="T10" fmla="*/ 145 w 147"/>
                <a:gd name="T11" fmla="*/ 68 h 186"/>
                <a:gd name="T12" fmla="*/ 142 w 147"/>
                <a:gd name="T13" fmla="*/ 109 h 186"/>
              </a:gdLst>
              <a:ahLst/>
              <a:cxnLst>
                <a:cxn ang="0">
                  <a:pos x="T0" y="T1"/>
                </a:cxn>
                <a:cxn ang="0">
                  <a:pos x="T2" y="T3"/>
                </a:cxn>
                <a:cxn ang="0">
                  <a:pos x="T4" y="T5"/>
                </a:cxn>
                <a:cxn ang="0">
                  <a:pos x="T6" y="T7"/>
                </a:cxn>
                <a:cxn ang="0">
                  <a:pos x="T8" y="T9"/>
                </a:cxn>
                <a:cxn ang="0">
                  <a:pos x="T10" y="T11"/>
                </a:cxn>
                <a:cxn ang="0">
                  <a:pos x="T12" y="T13"/>
                </a:cxn>
              </a:cxnLst>
              <a:rect l="0" t="0" r="r" b="b"/>
              <a:pathLst>
                <a:path w="147" h="186">
                  <a:moveTo>
                    <a:pt x="142" y="109"/>
                  </a:moveTo>
                  <a:cubicBezTo>
                    <a:pt x="139" y="148"/>
                    <a:pt x="106" y="181"/>
                    <a:pt x="67" y="184"/>
                  </a:cubicBezTo>
                  <a:cubicBezTo>
                    <a:pt x="29" y="186"/>
                    <a:pt x="0" y="157"/>
                    <a:pt x="2" y="119"/>
                  </a:cubicBezTo>
                  <a:lnTo>
                    <a:pt x="5" y="78"/>
                  </a:lnTo>
                  <a:cubicBezTo>
                    <a:pt x="8" y="39"/>
                    <a:pt x="41" y="6"/>
                    <a:pt x="80" y="3"/>
                  </a:cubicBezTo>
                  <a:cubicBezTo>
                    <a:pt x="118" y="0"/>
                    <a:pt x="147" y="30"/>
                    <a:pt x="145" y="68"/>
                  </a:cubicBezTo>
                  <a:lnTo>
                    <a:pt x="142" y="109"/>
                  </a:lnTo>
                </a:path>
              </a:pathLst>
            </a:custGeom>
            <a:solidFill>
              <a:srgbClr val="D73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37">
              <a:extLst>
                <a:ext uri="{FF2B5EF4-FFF2-40B4-BE49-F238E27FC236}">
                  <a16:creationId xmlns:a16="http://schemas.microsoft.com/office/drawing/2014/main" id="{3612DA6E-10C0-4B05-BC2D-1EB9CF39850E}"/>
                </a:ext>
              </a:extLst>
            </p:cNvPr>
            <p:cNvSpPr>
              <a:spLocks noEditPoints="1"/>
            </p:cNvSpPr>
            <p:nvPr userDrawn="1"/>
          </p:nvSpPr>
          <p:spPr bwMode="auto">
            <a:xfrm>
              <a:off x="6846888" y="1828800"/>
              <a:ext cx="371475" cy="369888"/>
            </a:xfrm>
            <a:custGeom>
              <a:avLst/>
              <a:gdLst>
                <a:gd name="T0" fmla="*/ 277 w 452"/>
                <a:gd name="T1" fmla="*/ 276 h 450"/>
                <a:gd name="T2" fmla="*/ 201 w 452"/>
                <a:gd name="T3" fmla="*/ 301 h 450"/>
                <a:gd name="T4" fmla="*/ 216 w 452"/>
                <a:gd name="T5" fmla="*/ 202 h 450"/>
                <a:gd name="T6" fmla="*/ 292 w 452"/>
                <a:gd name="T7" fmla="*/ 178 h 450"/>
                <a:gd name="T8" fmla="*/ 277 w 452"/>
                <a:gd name="T9" fmla="*/ 276 h 450"/>
                <a:gd name="T10" fmla="*/ 449 w 452"/>
                <a:gd name="T11" fmla="*/ 175 h 450"/>
                <a:gd name="T12" fmla="*/ 447 w 452"/>
                <a:gd name="T13" fmla="*/ 159 h 450"/>
                <a:gd name="T14" fmla="*/ 443 w 452"/>
                <a:gd name="T15" fmla="*/ 141 h 450"/>
                <a:gd name="T16" fmla="*/ 443 w 452"/>
                <a:gd name="T17" fmla="*/ 141 h 450"/>
                <a:gd name="T18" fmla="*/ 433 w 452"/>
                <a:gd name="T19" fmla="*/ 111 h 450"/>
                <a:gd name="T20" fmla="*/ 395 w 452"/>
                <a:gd name="T21" fmla="*/ 57 h 450"/>
                <a:gd name="T22" fmla="*/ 386 w 452"/>
                <a:gd name="T23" fmla="*/ 49 h 450"/>
                <a:gd name="T24" fmla="*/ 382 w 452"/>
                <a:gd name="T25" fmla="*/ 45 h 450"/>
                <a:gd name="T26" fmla="*/ 352 w 452"/>
                <a:gd name="T27" fmla="*/ 25 h 450"/>
                <a:gd name="T28" fmla="*/ 341 w 452"/>
                <a:gd name="T29" fmla="*/ 19 h 450"/>
                <a:gd name="T30" fmla="*/ 311 w 452"/>
                <a:gd name="T31" fmla="*/ 9 h 450"/>
                <a:gd name="T32" fmla="*/ 215 w 452"/>
                <a:gd name="T33" fmla="*/ 6 h 450"/>
                <a:gd name="T34" fmla="*/ 171 w 452"/>
                <a:gd name="T35" fmla="*/ 18 h 450"/>
                <a:gd name="T36" fmla="*/ 146 w 452"/>
                <a:gd name="T37" fmla="*/ 30 h 450"/>
                <a:gd name="T38" fmla="*/ 139 w 452"/>
                <a:gd name="T39" fmla="*/ 34 h 450"/>
                <a:gd name="T40" fmla="*/ 79 w 452"/>
                <a:gd name="T41" fmla="*/ 79 h 450"/>
                <a:gd name="T42" fmla="*/ 41 w 452"/>
                <a:gd name="T43" fmla="*/ 127 h 450"/>
                <a:gd name="T44" fmla="*/ 34 w 452"/>
                <a:gd name="T45" fmla="*/ 139 h 450"/>
                <a:gd name="T46" fmla="*/ 19 w 452"/>
                <a:gd name="T47" fmla="*/ 171 h 450"/>
                <a:gd name="T48" fmla="*/ 9 w 452"/>
                <a:gd name="T49" fmla="*/ 204 h 450"/>
                <a:gd name="T50" fmla="*/ 9 w 452"/>
                <a:gd name="T51" fmla="*/ 310 h 450"/>
                <a:gd name="T52" fmla="*/ 19 w 452"/>
                <a:gd name="T53" fmla="*/ 339 h 450"/>
                <a:gd name="T54" fmla="*/ 20 w 452"/>
                <a:gd name="T55" fmla="*/ 341 h 450"/>
                <a:gd name="T56" fmla="*/ 46 w 452"/>
                <a:gd name="T57" fmla="*/ 382 h 450"/>
                <a:gd name="T58" fmla="*/ 57 w 452"/>
                <a:gd name="T59" fmla="*/ 395 h 450"/>
                <a:gd name="T60" fmla="*/ 106 w 452"/>
                <a:gd name="T61" fmla="*/ 430 h 450"/>
                <a:gd name="T62" fmla="*/ 111 w 452"/>
                <a:gd name="T63" fmla="*/ 432 h 450"/>
                <a:gd name="T64" fmla="*/ 142 w 452"/>
                <a:gd name="T65" fmla="*/ 443 h 450"/>
                <a:gd name="T66" fmla="*/ 163 w 452"/>
                <a:gd name="T67" fmla="*/ 447 h 450"/>
                <a:gd name="T68" fmla="*/ 184 w 452"/>
                <a:gd name="T69" fmla="*/ 450 h 450"/>
                <a:gd name="T70" fmla="*/ 216 w 452"/>
                <a:gd name="T71" fmla="*/ 449 h 450"/>
                <a:gd name="T72" fmla="*/ 281 w 452"/>
                <a:gd name="T73" fmla="*/ 433 h 450"/>
                <a:gd name="T74" fmla="*/ 313 w 452"/>
                <a:gd name="T75" fmla="*/ 418 h 450"/>
                <a:gd name="T76" fmla="*/ 315 w 452"/>
                <a:gd name="T77" fmla="*/ 417 h 450"/>
                <a:gd name="T78" fmla="*/ 331 w 452"/>
                <a:gd name="T79" fmla="*/ 407 h 450"/>
                <a:gd name="T80" fmla="*/ 373 w 452"/>
                <a:gd name="T81" fmla="*/ 373 h 450"/>
                <a:gd name="T82" fmla="*/ 416 w 452"/>
                <a:gd name="T83" fmla="*/ 317 h 450"/>
                <a:gd name="T84" fmla="*/ 419 w 452"/>
                <a:gd name="T85" fmla="*/ 313 h 450"/>
                <a:gd name="T86" fmla="*/ 426 w 452"/>
                <a:gd name="T87" fmla="*/ 299 h 450"/>
                <a:gd name="T88" fmla="*/ 433 w 452"/>
                <a:gd name="T89" fmla="*/ 281 h 450"/>
                <a:gd name="T90" fmla="*/ 449 w 452"/>
                <a:gd name="T91" fmla="*/ 17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2" h="450">
                  <a:moveTo>
                    <a:pt x="277" y="276"/>
                  </a:moveTo>
                  <a:cubicBezTo>
                    <a:pt x="255" y="298"/>
                    <a:pt x="226" y="307"/>
                    <a:pt x="201" y="301"/>
                  </a:cubicBezTo>
                  <a:cubicBezTo>
                    <a:pt x="182" y="273"/>
                    <a:pt x="187" y="231"/>
                    <a:pt x="216" y="202"/>
                  </a:cubicBezTo>
                  <a:cubicBezTo>
                    <a:pt x="238" y="181"/>
                    <a:pt x="267" y="172"/>
                    <a:pt x="292" y="178"/>
                  </a:cubicBezTo>
                  <a:cubicBezTo>
                    <a:pt x="311" y="206"/>
                    <a:pt x="305" y="248"/>
                    <a:pt x="277" y="276"/>
                  </a:cubicBezTo>
                  <a:close/>
                  <a:moveTo>
                    <a:pt x="449" y="175"/>
                  </a:moveTo>
                  <a:cubicBezTo>
                    <a:pt x="449" y="170"/>
                    <a:pt x="448" y="165"/>
                    <a:pt x="447" y="159"/>
                  </a:cubicBezTo>
                  <a:cubicBezTo>
                    <a:pt x="446" y="153"/>
                    <a:pt x="445" y="147"/>
                    <a:pt x="443" y="141"/>
                  </a:cubicBezTo>
                  <a:lnTo>
                    <a:pt x="443" y="141"/>
                  </a:lnTo>
                  <a:cubicBezTo>
                    <a:pt x="440" y="131"/>
                    <a:pt x="437" y="121"/>
                    <a:pt x="433" y="111"/>
                  </a:cubicBezTo>
                  <a:cubicBezTo>
                    <a:pt x="424" y="91"/>
                    <a:pt x="411" y="73"/>
                    <a:pt x="395" y="57"/>
                  </a:cubicBezTo>
                  <a:cubicBezTo>
                    <a:pt x="392" y="54"/>
                    <a:pt x="389" y="51"/>
                    <a:pt x="386" y="49"/>
                  </a:cubicBezTo>
                  <a:lnTo>
                    <a:pt x="382" y="45"/>
                  </a:lnTo>
                  <a:cubicBezTo>
                    <a:pt x="373" y="37"/>
                    <a:pt x="362" y="30"/>
                    <a:pt x="352" y="25"/>
                  </a:cubicBezTo>
                  <a:cubicBezTo>
                    <a:pt x="348" y="23"/>
                    <a:pt x="344" y="21"/>
                    <a:pt x="341" y="19"/>
                  </a:cubicBezTo>
                  <a:cubicBezTo>
                    <a:pt x="331" y="15"/>
                    <a:pt x="321" y="12"/>
                    <a:pt x="311" y="9"/>
                  </a:cubicBezTo>
                  <a:cubicBezTo>
                    <a:pt x="280" y="1"/>
                    <a:pt x="247" y="0"/>
                    <a:pt x="215" y="6"/>
                  </a:cubicBezTo>
                  <a:cubicBezTo>
                    <a:pt x="200" y="9"/>
                    <a:pt x="185" y="13"/>
                    <a:pt x="171" y="18"/>
                  </a:cubicBezTo>
                  <a:cubicBezTo>
                    <a:pt x="163" y="22"/>
                    <a:pt x="154" y="26"/>
                    <a:pt x="146" y="30"/>
                  </a:cubicBezTo>
                  <a:cubicBezTo>
                    <a:pt x="144" y="31"/>
                    <a:pt x="141" y="32"/>
                    <a:pt x="139" y="34"/>
                  </a:cubicBezTo>
                  <a:cubicBezTo>
                    <a:pt x="118" y="45"/>
                    <a:pt x="98" y="60"/>
                    <a:pt x="79" y="79"/>
                  </a:cubicBezTo>
                  <a:cubicBezTo>
                    <a:pt x="64" y="94"/>
                    <a:pt x="52" y="110"/>
                    <a:pt x="41" y="127"/>
                  </a:cubicBezTo>
                  <a:cubicBezTo>
                    <a:pt x="38" y="131"/>
                    <a:pt x="36" y="135"/>
                    <a:pt x="34" y="139"/>
                  </a:cubicBezTo>
                  <a:cubicBezTo>
                    <a:pt x="28" y="149"/>
                    <a:pt x="23" y="160"/>
                    <a:pt x="19" y="171"/>
                  </a:cubicBezTo>
                  <a:cubicBezTo>
                    <a:pt x="14" y="182"/>
                    <a:pt x="11" y="193"/>
                    <a:pt x="9" y="204"/>
                  </a:cubicBezTo>
                  <a:cubicBezTo>
                    <a:pt x="0" y="240"/>
                    <a:pt x="0" y="277"/>
                    <a:pt x="9" y="310"/>
                  </a:cubicBezTo>
                  <a:cubicBezTo>
                    <a:pt x="12" y="320"/>
                    <a:pt x="15" y="330"/>
                    <a:pt x="19" y="339"/>
                  </a:cubicBezTo>
                  <a:lnTo>
                    <a:pt x="20" y="341"/>
                  </a:lnTo>
                  <a:cubicBezTo>
                    <a:pt x="26" y="355"/>
                    <a:pt x="35" y="369"/>
                    <a:pt x="46" y="382"/>
                  </a:cubicBezTo>
                  <a:cubicBezTo>
                    <a:pt x="49" y="387"/>
                    <a:pt x="53" y="391"/>
                    <a:pt x="57" y="395"/>
                  </a:cubicBezTo>
                  <a:cubicBezTo>
                    <a:pt x="72" y="410"/>
                    <a:pt x="88" y="421"/>
                    <a:pt x="106" y="430"/>
                  </a:cubicBezTo>
                  <a:cubicBezTo>
                    <a:pt x="108" y="431"/>
                    <a:pt x="110" y="432"/>
                    <a:pt x="111" y="432"/>
                  </a:cubicBezTo>
                  <a:cubicBezTo>
                    <a:pt x="121" y="437"/>
                    <a:pt x="131" y="440"/>
                    <a:pt x="142" y="443"/>
                  </a:cubicBezTo>
                  <a:cubicBezTo>
                    <a:pt x="149" y="445"/>
                    <a:pt x="156" y="446"/>
                    <a:pt x="163" y="447"/>
                  </a:cubicBezTo>
                  <a:cubicBezTo>
                    <a:pt x="170" y="449"/>
                    <a:pt x="177" y="449"/>
                    <a:pt x="184" y="450"/>
                  </a:cubicBezTo>
                  <a:cubicBezTo>
                    <a:pt x="195" y="450"/>
                    <a:pt x="205" y="450"/>
                    <a:pt x="216" y="449"/>
                  </a:cubicBezTo>
                  <a:cubicBezTo>
                    <a:pt x="238" y="447"/>
                    <a:pt x="260" y="442"/>
                    <a:pt x="281" y="433"/>
                  </a:cubicBezTo>
                  <a:cubicBezTo>
                    <a:pt x="292" y="429"/>
                    <a:pt x="303" y="424"/>
                    <a:pt x="313" y="418"/>
                  </a:cubicBezTo>
                  <a:lnTo>
                    <a:pt x="315" y="417"/>
                  </a:lnTo>
                  <a:cubicBezTo>
                    <a:pt x="321" y="414"/>
                    <a:pt x="326" y="411"/>
                    <a:pt x="331" y="407"/>
                  </a:cubicBezTo>
                  <a:cubicBezTo>
                    <a:pt x="346" y="398"/>
                    <a:pt x="360" y="386"/>
                    <a:pt x="373" y="373"/>
                  </a:cubicBezTo>
                  <a:cubicBezTo>
                    <a:pt x="390" y="356"/>
                    <a:pt x="405" y="337"/>
                    <a:pt x="416" y="317"/>
                  </a:cubicBezTo>
                  <a:lnTo>
                    <a:pt x="419" y="313"/>
                  </a:lnTo>
                  <a:cubicBezTo>
                    <a:pt x="421" y="308"/>
                    <a:pt x="424" y="304"/>
                    <a:pt x="426" y="299"/>
                  </a:cubicBezTo>
                  <a:cubicBezTo>
                    <a:pt x="429" y="293"/>
                    <a:pt x="431" y="287"/>
                    <a:pt x="433" y="281"/>
                  </a:cubicBezTo>
                  <a:cubicBezTo>
                    <a:pt x="447" y="246"/>
                    <a:pt x="452" y="210"/>
                    <a:pt x="449" y="175"/>
                  </a:cubicBezTo>
                </a:path>
              </a:pathLst>
            </a:custGeom>
            <a:solidFill>
              <a:srgbClr val="F04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38">
              <a:extLst>
                <a:ext uri="{FF2B5EF4-FFF2-40B4-BE49-F238E27FC236}">
                  <a16:creationId xmlns:a16="http://schemas.microsoft.com/office/drawing/2014/main" id="{AA4AED7F-3D24-444A-90BD-7CA7F6DD036D}"/>
                </a:ext>
              </a:extLst>
            </p:cNvPr>
            <p:cNvSpPr>
              <a:spLocks noEditPoints="1"/>
            </p:cNvSpPr>
            <p:nvPr userDrawn="1"/>
          </p:nvSpPr>
          <p:spPr bwMode="auto">
            <a:xfrm>
              <a:off x="6869113" y="1851025"/>
              <a:ext cx="325438" cy="325438"/>
            </a:xfrm>
            <a:custGeom>
              <a:avLst/>
              <a:gdLst>
                <a:gd name="T0" fmla="*/ 190 w 398"/>
                <a:gd name="T1" fmla="*/ 175 h 397"/>
                <a:gd name="T2" fmla="*/ 266 w 398"/>
                <a:gd name="T3" fmla="*/ 151 h 397"/>
                <a:gd name="T4" fmla="*/ 251 w 398"/>
                <a:gd name="T5" fmla="*/ 249 h 397"/>
                <a:gd name="T6" fmla="*/ 175 w 398"/>
                <a:gd name="T7" fmla="*/ 274 h 397"/>
                <a:gd name="T8" fmla="*/ 190 w 398"/>
                <a:gd name="T9" fmla="*/ 175 h 397"/>
                <a:gd name="T10" fmla="*/ 395 w 398"/>
                <a:gd name="T11" fmla="*/ 141 h 397"/>
                <a:gd name="T12" fmla="*/ 390 w 398"/>
                <a:gd name="T13" fmla="*/ 119 h 397"/>
                <a:gd name="T14" fmla="*/ 384 w 398"/>
                <a:gd name="T15" fmla="*/ 103 h 397"/>
                <a:gd name="T16" fmla="*/ 349 w 398"/>
                <a:gd name="T17" fmla="*/ 50 h 397"/>
                <a:gd name="T18" fmla="*/ 344 w 398"/>
                <a:gd name="T19" fmla="*/ 45 h 397"/>
                <a:gd name="T20" fmla="*/ 338 w 398"/>
                <a:gd name="T21" fmla="*/ 39 h 397"/>
                <a:gd name="T22" fmla="*/ 338 w 398"/>
                <a:gd name="T23" fmla="*/ 39 h 397"/>
                <a:gd name="T24" fmla="*/ 323 w 398"/>
                <a:gd name="T25" fmla="*/ 29 h 397"/>
                <a:gd name="T26" fmla="*/ 296 w 398"/>
                <a:gd name="T27" fmla="*/ 15 h 397"/>
                <a:gd name="T28" fmla="*/ 280 w 398"/>
                <a:gd name="T29" fmla="*/ 9 h 397"/>
                <a:gd name="T30" fmla="*/ 251 w 398"/>
                <a:gd name="T31" fmla="*/ 3 h 397"/>
                <a:gd name="T32" fmla="*/ 186 w 398"/>
                <a:gd name="T33" fmla="*/ 6 h 397"/>
                <a:gd name="T34" fmla="*/ 146 w 398"/>
                <a:gd name="T35" fmla="*/ 18 h 397"/>
                <a:gd name="T36" fmla="*/ 141 w 398"/>
                <a:gd name="T37" fmla="*/ 21 h 397"/>
                <a:gd name="T38" fmla="*/ 129 w 398"/>
                <a:gd name="T39" fmla="*/ 26 h 397"/>
                <a:gd name="T40" fmla="*/ 70 w 398"/>
                <a:gd name="T41" fmla="*/ 69 h 397"/>
                <a:gd name="T42" fmla="*/ 31 w 398"/>
                <a:gd name="T43" fmla="*/ 122 h 397"/>
                <a:gd name="T44" fmla="*/ 27 w 398"/>
                <a:gd name="T45" fmla="*/ 128 h 397"/>
                <a:gd name="T46" fmla="*/ 20 w 398"/>
                <a:gd name="T47" fmla="*/ 144 h 397"/>
                <a:gd name="T48" fmla="*/ 10 w 398"/>
                <a:gd name="T49" fmla="*/ 173 h 397"/>
                <a:gd name="T50" fmla="*/ 10 w 398"/>
                <a:gd name="T51" fmla="*/ 279 h 397"/>
                <a:gd name="T52" fmla="*/ 16 w 398"/>
                <a:gd name="T53" fmla="*/ 295 h 397"/>
                <a:gd name="T54" fmla="*/ 23 w 398"/>
                <a:gd name="T55" fmla="*/ 310 h 397"/>
                <a:gd name="T56" fmla="*/ 24 w 398"/>
                <a:gd name="T57" fmla="*/ 311 h 397"/>
                <a:gd name="T58" fmla="*/ 39 w 398"/>
                <a:gd name="T59" fmla="*/ 335 h 397"/>
                <a:gd name="T60" fmla="*/ 51 w 398"/>
                <a:gd name="T61" fmla="*/ 348 h 397"/>
                <a:gd name="T62" fmla="*/ 97 w 398"/>
                <a:gd name="T63" fmla="*/ 380 h 397"/>
                <a:gd name="T64" fmla="*/ 104 w 398"/>
                <a:gd name="T65" fmla="*/ 383 h 397"/>
                <a:gd name="T66" fmla="*/ 120 w 398"/>
                <a:gd name="T67" fmla="*/ 389 h 397"/>
                <a:gd name="T68" fmla="*/ 152 w 398"/>
                <a:gd name="T69" fmla="*/ 395 h 397"/>
                <a:gd name="T70" fmla="*/ 169 w 398"/>
                <a:gd name="T71" fmla="*/ 397 h 397"/>
                <a:gd name="T72" fmla="*/ 255 w 398"/>
                <a:gd name="T73" fmla="*/ 380 h 397"/>
                <a:gd name="T74" fmla="*/ 271 w 398"/>
                <a:gd name="T75" fmla="*/ 372 h 397"/>
                <a:gd name="T76" fmla="*/ 273 w 398"/>
                <a:gd name="T77" fmla="*/ 371 h 397"/>
                <a:gd name="T78" fmla="*/ 307 w 398"/>
                <a:gd name="T79" fmla="*/ 349 h 397"/>
                <a:gd name="T80" fmla="*/ 330 w 398"/>
                <a:gd name="T81" fmla="*/ 329 h 397"/>
                <a:gd name="T82" fmla="*/ 359 w 398"/>
                <a:gd name="T83" fmla="*/ 294 h 397"/>
                <a:gd name="T84" fmla="*/ 373 w 398"/>
                <a:gd name="T85" fmla="*/ 270 h 397"/>
                <a:gd name="T86" fmla="*/ 381 w 398"/>
                <a:gd name="T87" fmla="*/ 253 h 397"/>
                <a:gd name="T88" fmla="*/ 381 w 398"/>
                <a:gd name="T89" fmla="*/ 252 h 397"/>
                <a:gd name="T90" fmla="*/ 398 w 398"/>
                <a:gd name="T91" fmla="*/ 166 h 397"/>
                <a:gd name="T92" fmla="*/ 395 w 398"/>
                <a:gd name="T93" fmla="*/ 141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8" h="397">
                  <a:moveTo>
                    <a:pt x="190" y="175"/>
                  </a:moveTo>
                  <a:cubicBezTo>
                    <a:pt x="212" y="154"/>
                    <a:pt x="241" y="145"/>
                    <a:pt x="266" y="151"/>
                  </a:cubicBezTo>
                  <a:cubicBezTo>
                    <a:pt x="285" y="179"/>
                    <a:pt x="279" y="221"/>
                    <a:pt x="251" y="249"/>
                  </a:cubicBezTo>
                  <a:cubicBezTo>
                    <a:pt x="229" y="271"/>
                    <a:pt x="200" y="280"/>
                    <a:pt x="175" y="274"/>
                  </a:cubicBezTo>
                  <a:cubicBezTo>
                    <a:pt x="156" y="246"/>
                    <a:pt x="161" y="204"/>
                    <a:pt x="190" y="175"/>
                  </a:cubicBezTo>
                  <a:close/>
                  <a:moveTo>
                    <a:pt x="395" y="141"/>
                  </a:moveTo>
                  <a:cubicBezTo>
                    <a:pt x="394" y="134"/>
                    <a:pt x="392" y="126"/>
                    <a:pt x="390" y="119"/>
                  </a:cubicBezTo>
                  <a:cubicBezTo>
                    <a:pt x="388" y="113"/>
                    <a:pt x="387" y="108"/>
                    <a:pt x="384" y="103"/>
                  </a:cubicBezTo>
                  <a:cubicBezTo>
                    <a:pt x="376" y="84"/>
                    <a:pt x="365" y="65"/>
                    <a:pt x="349" y="50"/>
                  </a:cubicBezTo>
                  <a:cubicBezTo>
                    <a:pt x="347" y="48"/>
                    <a:pt x="345" y="46"/>
                    <a:pt x="344" y="45"/>
                  </a:cubicBezTo>
                  <a:cubicBezTo>
                    <a:pt x="342" y="43"/>
                    <a:pt x="340" y="41"/>
                    <a:pt x="338" y="39"/>
                  </a:cubicBezTo>
                  <a:lnTo>
                    <a:pt x="338" y="39"/>
                  </a:lnTo>
                  <a:cubicBezTo>
                    <a:pt x="333" y="35"/>
                    <a:pt x="328" y="32"/>
                    <a:pt x="323" y="29"/>
                  </a:cubicBezTo>
                  <a:cubicBezTo>
                    <a:pt x="314" y="23"/>
                    <a:pt x="305" y="18"/>
                    <a:pt x="296" y="15"/>
                  </a:cubicBezTo>
                  <a:cubicBezTo>
                    <a:pt x="291" y="12"/>
                    <a:pt x="286" y="10"/>
                    <a:pt x="280" y="9"/>
                  </a:cubicBezTo>
                  <a:cubicBezTo>
                    <a:pt x="271" y="6"/>
                    <a:pt x="261" y="4"/>
                    <a:pt x="251" y="3"/>
                  </a:cubicBezTo>
                  <a:cubicBezTo>
                    <a:pt x="230" y="0"/>
                    <a:pt x="208" y="1"/>
                    <a:pt x="186" y="6"/>
                  </a:cubicBezTo>
                  <a:cubicBezTo>
                    <a:pt x="173" y="8"/>
                    <a:pt x="159" y="13"/>
                    <a:pt x="146" y="18"/>
                  </a:cubicBezTo>
                  <a:cubicBezTo>
                    <a:pt x="144" y="19"/>
                    <a:pt x="142" y="20"/>
                    <a:pt x="141" y="21"/>
                  </a:cubicBezTo>
                  <a:cubicBezTo>
                    <a:pt x="137" y="22"/>
                    <a:pt x="133" y="24"/>
                    <a:pt x="129" y="26"/>
                  </a:cubicBezTo>
                  <a:cubicBezTo>
                    <a:pt x="108" y="37"/>
                    <a:pt x="88" y="51"/>
                    <a:pt x="70" y="69"/>
                  </a:cubicBezTo>
                  <a:cubicBezTo>
                    <a:pt x="54" y="85"/>
                    <a:pt x="41" y="103"/>
                    <a:pt x="31" y="122"/>
                  </a:cubicBezTo>
                  <a:cubicBezTo>
                    <a:pt x="30" y="124"/>
                    <a:pt x="28" y="126"/>
                    <a:pt x="27" y="128"/>
                  </a:cubicBezTo>
                  <a:cubicBezTo>
                    <a:pt x="24" y="133"/>
                    <a:pt x="22" y="139"/>
                    <a:pt x="20" y="144"/>
                  </a:cubicBezTo>
                  <a:cubicBezTo>
                    <a:pt x="16" y="154"/>
                    <a:pt x="12" y="163"/>
                    <a:pt x="10" y="173"/>
                  </a:cubicBezTo>
                  <a:cubicBezTo>
                    <a:pt x="0" y="209"/>
                    <a:pt x="0" y="246"/>
                    <a:pt x="10" y="279"/>
                  </a:cubicBezTo>
                  <a:cubicBezTo>
                    <a:pt x="12" y="284"/>
                    <a:pt x="14" y="289"/>
                    <a:pt x="16" y="295"/>
                  </a:cubicBezTo>
                  <a:cubicBezTo>
                    <a:pt x="18" y="300"/>
                    <a:pt x="20" y="305"/>
                    <a:pt x="23" y="310"/>
                  </a:cubicBezTo>
                  <a:lnTo>
                    <a:pt x="24" y="311"/>
                  </a:lnTo>
                  <a:cubicBezTo>
                    <a:pt x="28" y="320"/>
                    <a:pt x="33" y="328"/>
                    <a:pt x="39" y="335"/>
                  </a:cubicBezTo>
                  <a:cubicBezTo>
                    <a:pt x="43" y="340"/>
                    <a:pt x="47" y="344"/>
                    <a:pt x="51" y="348"/>
                  </a:cubicBezTo>
                  <a:cubicBezTo>
                    <a:pt x="65" y="362"/>
                    <a:pt x="80" y="372"/>
                    <a:pt x="97" y="380"/>
                  </a:cubicBezTo>
                  <a:cubicBezTo>
                    <a:pt x="99" y="381"/>
                    <a:pt x="102" y="382"/>
                    <a:pt x="104" y="383"/>
                  </a:cubicBezTo>
                  <a:cubicBezTo>
                    <a:pt x="109" y="386"/>
                    <a:pt x="115" y="387"/>
                    <a:pt x="120" y="389"/>
                  </a:cubicBezTo>
                  <a:cubicBezTo>
                    <a:pt x="130" y="392"/>
                    <a:pt x="141" y="394"/>
                    <a:pt x="152" y="395"/>
                  </a:cubicBezTo>
                  <a:cubicBezTo>
                    <a:pt x="158" y="396"/>
                    <a:pt x="164" y="396"/>
                    <a:pt x="169" y="397"/>
                  </a:cubicBezTo>
                  <a:cubicBezTo>
                    <a:pt x="198" y="397"/>
                    <a:pt x="227" y="391"/>
                    <a:pt x="255" y="380"/>
                  </a:cubicBezTo>
                  <a:cubicBezTo>
                    <a:pt x="260" y="377"/>
                    <a:pt x="266" y="375"/>
                    <a:pt x="271" y="372"/>
                  </a:cubicBezTo>
                  <a:lnTo>
                    <a:pt x="273" y="371"/>
                  </a:lnTo>
                  <a:cubicBezTo>
                    <a:pt x="285" y="365"/>
                    <a:pt x="296" y="357"/>
                    <a:pt x="307" y="349"/>
                  </a:cubicBezTo>
                  <a:cubicBezTo>
                    <a:pt x="315" y="343"/>
                    <a:pt x="323" y="336"/>
                    <a:pt x="330" y="329"/>
                  </a:cubicBezTo>
                  <a:cubicBezTo>
                    <a:pt x="341" y="318"/>
                    <a:pt x="350" y="306"/>
                    <a:pt x="359" y="294"/>
                  </a:cubicBezTo>
                  <a:cubicBezTo>
                    <a:pt x="364" y="286"/>
                    <a:pt x="369" y="278"/>
                    <a:pt x="373" y="270"/>
                  </a:cubicBezTo>
                  <a:cubicBezTo>
                    <a:pt x="376" y="264"/>
                    <a:pt x="378" y="259"/>
                    <a:pt x="381" y="253"/>
                  </a:cubicBezTo>
                  <a:lnTo>
                    <a:pt x="381" y="252"/>
                  </a:lnTo>
                  <a:cubicBezTo>
                    <a:pt x="393" y="224"/>
                    <a:pt x="398" y="194"/>
                    <a:pt x="398" y="166"/>
                  </a:cubicBezTo>
                  <a:cubicBezTo>
                    <a:pt x="397" y="157"/>
                    <a:pt x="397" y="149"/>
                    <a:pt x="395" y="141"/>
                  </a:cubicBezTo>
                </a:path>
              </a:pathLst>
            </a:custGeom>
            <a:solidFill>
              <a:srgbClr val="F57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39">
              <a:extLst>
                <a:ext uri="{FF2B5EF4-FFF2-40B4-BE49-F238E27FC236}">
                  <a16:creationId xmlns:a16="http://schemas.microsoft.com/office/drawing/2014/main" id="{B5EE0EF5-ECF4-43AA-9407-3F2E3E57464D}"/>
                </a:ext>
              </a:extLst>
            </p:cNvPr>
            <p:cNvSpPr>
              <a:spLocks noEditPoints="1"/>
            </p:cNvSpPr>
            <p:nvPr userDrawn="1"/>
          </p:nvSpPr>
          <p:spPr bwMode="auto">
            <a:xfrm>
              <a:off x="6950075" y="1927225"/>
              <a:ext cx="168275" cy="169863"/>
            </a:xfrm>
            <a:custGeom>
              <a:avLst/>
              <a:gdLst>
                <a:gd name="T0" fmla="*/ 152 w 205"/>
                <a:gd name="T1" fmla="*/ 157 h 208"/>
                <a:gd name="T2" fmla="*/ 76 w 205"/>
                <a:gd name="T3" fmla="*/ 182 h 208"/>
                <a:gd name="T4" fmla="*/ 91 w 205"/>
                <a:gd name="T5" fmla="*/ 83 h 208"/>
                <a:gd name="T6" fmla="*/ 167 w 205"/>
                <a:gd name="T7" fmla="*/ 59 h 208"/>
                <a:gd name="T8" fmla="*/ 152 w 205"/>
                <a:gd name="T9" fmla="*/ 157 h 208"/>
                <a:gd name="T10" fmla="*/ 199 w 205"/>
                <a:gd name="T11" fmla="*/ 76 h 208"/>
                <a:gd name="T12" fmla="*/ 199 w 205"/>
                <a:gd name="T13" fmla="*/ 76 h 208"/>
                <a:gd name="T14" fmla="*/ 182 w 205"/>
                <a:gd name="T15" fmla="*/ 38 h 208"/>
                <a:gd name="T16" fmla="*/ 176 w 205"/>
                <a:gd name="T17" fmla="*/ 32 h 208"/>
                <a:gd name="T18" fmla="*/ 73 w 205"/>
                <a:gd name="T19" fmla="*/ 16 h 208"/>
                <a:gd name="T20" fmla="*/ 36 w 205"/>
                <a:gd name="T21" fmla="*/ 41 h 208"/>
                <a:gd name="T22" fmla="*/ 15 w 205"/>
                <a:gd name="T23" fmla="*/ 68 h 208"/>
                <a:gd name="T24" fmla="*/ 2 w 205"/>
                <a:gd name="T25" fmla="*/ 110 h 208"/>
                <a:gd name="T26" fmla="*/ 7 w 205"/>
                <a:gd name="T27" fmla="*/ 153 h 208"/>
                <a:gd name="T28" fmla="*/ 26 w 205"/>
                <a:gd name="T29" fmla="*/ 182 h 208"/>
                <a:gd name="T30" fmla="*/ 60 w 205"/>
                <a:gd name="T31" fmla="*/ 203 h 208"/>
                <a:gd name="T32" fmla="*/ 104 w 205"/>
                <a:gd name="T33" fmla="*/ 205 h 208"/>
                <a:gd name="T34" fmla="*/ 167 w 205"/>
                <a:gd name="T35" fmla="*/ 172 h 208"/>
                <a:gd name="T36" fmla="*/ 199 w 205"/>
                <a:gd name="T37" fmla="*/ 7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5" h="208">
                  <a:moveTo>
                    <a:pt x="152" y="157"/>
                  </a:moveTo>
                  <a:cubicBezTo>
                    <a:pt x="130" y="179"/>
                    <a:pt x="101" y="188"/>
                    <a:pt x="76" y="182"/>
                  </a:cubicBezTo>
                  <a:cubicBezTo>
                    <a:pt x="57" y="154"/>
                    <a:pt x="62" y="112"/>
                    <a:pt x="91" y="83"/>
                  </a:cubicBezTo>
                  <a:cubicBezTo>
                    <a:pt x="113" y="62"/>
                    <a:pt x="142" y="53"/>
                    <a:pt x="167" y="59"/>
                  </a:cubicBezTo>
                  <a:cubicBezTo>
                    <a:pt x="186" y="87"/>
                    <a:pt x="180" y="129"/>
                    <a:pt x="152" y="157"/>
                  </a:cubicBezTo>
                  <a:close/>
                  <a:moveTo>
                    <a:pt x="199" y="76"/>
                  </a:moveTo>
                  <a:lnTo>
                    <a:pt x="199" y="76"/>
                  </a:lnTo>
                  <a:cubicBezTo>
                    <a:pt x="197" y="62"/>
                    <a:pt x="191" y="49"/>
                    <a:pt x="182" y="38"/>
                  </a:cubicBezTo>
                  <a:cubicBezTo>
                    <a:pt x="180" y="36"/>
                    <a:pt x="178" y="34"/>
                    <a:pt x="176" y="32"/>
                  </a:cubicBezTo>
                  <a:cubicBezTo>
                    <a:pt x="150" y="5"/>
                    <a:pt x="109" y="0"/>
                    <a:pt x="73" y="16"/>
                  </a:cubicBezTo>
                  <a:cubicBezTo>
                    <a:pt x="60" y="22"/>
                    <a:pt x="47" y="30"/>
                    <a:pt x="36" y="41"/>
                  </a:cubicBezTo>
                  <a:cubicBezTo>
                    <a:pt x="27" y="50"/>
                    <a:pt x="21" y="59"/>
                    <a:pt x="15" y="68"/>
                  </a:cubicBezTo>
                  <a:cubicBezTo>
                    <a:pt x="8" y="81"/>
                    <a:pt x="3" y="96"/>
                    <a:pt x="2" y="110"/>
                  </a:cubicBezTo>
                  <a:cubicBezTo>
                    <a:pt x="0" y="125"/>
                    <a:pt x="2" y="139"/>
                    <a:pt x="7" y="153"/>
                  </a:cubicBezTo>
                  <a:cubicBezTo>
                    <a:pt x="11" y="163"/>
                    <a:pt x="17" y="174"/>
                    <a:pt x="26" y="182"/>
                  </a:cubicBezTo>
                  <a:cubicBezTo>
                    <a:pt x="36" y="192"/>
                    <a:pt x="48" y="199"/>
                    <a:pt x="60" y="203"/>
                  </a:cubicBezTo>
                  <a:cubicBezTo>
                    <a:pt x="74" y="207"/>
                    <a:pt x="89" y="208"/>
                    <a:pt x="104" y="205"/>
                  </a:cubicBezTo>
                  <a:cubicBezTo>
                    <a:pt x="126" y="202"/>
                    <a:pt x="148" y="191"/>
                    <a:pt x="167" y="172"/>
                  </a:cubicBezTo>
                  <a:cubicBezTo>
                    <a:pt x="194" y="145"/>
                    <a:pt x="205" y="108"/>
                    <a:pt x="199" y="76"/>
                  </a:cubicBezTo>
                </a:path>
              </a:pathLst>
            </a:custGeom>
            <a:solidFill>
              <a:srgbClr val="F04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40">
              <a:extLst>
                <a:ext uri="{FF2B5EF4-FFF2-40B4-BE49-F238E27FC236}">
                  <a16:creationId xmlns:a16="http://schemas.microsoft.com/office/drawing/2014/main" id="{C0AD1BD0-D84F-4DB8-8462-C70D031426BE}"/>
                </a:ext>
              </a:extLst>
            </p:cNvPr>
            <p:cNvSpPr>
              <a:spLocks/>
            </p:cNvSpPr>
            <p:nvPr userDrawn="1"/>
          </p:nvSpPr>
          <p:spPr bwMode="auto">
            <a:xfrm>
              <a:off x="6962775" y="1946275"/>
              <a:ext cx="123825" cy="130175"/>
            </a:xfrm>
            <a:custGeom>
              <a:avLst/>
              <a:gdLst>
                <a:gd name="T0" fmla="*/ 152 w 152"/>
                <a:gd name="T1" fmla="*/ 35 h 158"/>
                <a:gd name="T2" fmla="*/ 76 w 152"/>
                <a:gd name="T3" fmla="*/ 59 h 158"/>
                <a:gd name="T4" fmla="*/ 61 w 152"/>
                <a:gd name="T5" fmla="*/ 158 h 158"/>
                <a:gd name="T6" fmla="*/ 28 w 152"/>
                <a:gd name="T7" fmla="*/ 141 h 158"/>
                <a:gd name="T8" fmla="*/ 28 w 152"/>
                <a:gd name="T9" fmla="*/ 141 h 158"/>
                <a:gd name="T10" fmla="*/ 36 w 152"/>
                <a:gd name="T11" fmla="*/ 32 h 158"/>
                <a:gd name="T12" fmla="*/ 124 w 152"/>
                <a:gd name="T13" fmla="*/ 11 h 158"/>
                <a:gd name="T14" fmla="*/ 144 w 152"/>
                <a:gd name="T15" fmla="*/ 25 h 158"/>
                <a:gd name="T16" fmla="*/ 152 w 152"/>
                <a:gd name="T17" fmla="*/ 3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58">
                  <a:moveTo>
                    <a:pt x="152" y="35"/>
                  </a:moveTo>
                  <a:cubicBezTo>
                    <a:pt x="127" y="29"/>
                    <a:pt x="98" y="38"/>
                    <a:pt x="76" y="59"/>
                  </a:cubicBezTo>
                  <a:cubicBezTo>
                    <a:pt x="47" y="88"/>
                    <a:pt x="42" y="130"/>
                    <a:pt x="61" y="158"/>
                  </a:cubicBezTo>
                  <a:cubicBezTo>
                    <a:pt x="48" y="156"/>
                    <a:pt x="37" y="150"/>
                    <a:pt x="28" y="141"/>
                  </a:cubicBezTo>
                  <a:lnTo>
                    <a:pt x="28" y="141"/>
                  </a:lnTo>
                  <a:cubicBezTo>
                    <a:pt x="0" y="113"/>
                    <a:pt x="4" y="64"/>
                    <a:pt x="36" y="32"/>
                  </a:cubicBezTo>
                  <a:cubicBezTo>
                    <a:pt x="61" y="7"/>
                    <a:pt x="96" y="0"/>
                    <a:pt x="124" y="11"/>
                  </a:cubicBezTo>
                  <a:cubicBezTo>
                    <a:pt x="131" y="14"/>
                    <a:pt x="138" y="19"/>
                    <a:pt x="144" y="25"/>
                  </a:cubicBezTo>
                  <a:cubicBezTo>
                    <a:pt x="147" y="28"/>
                    <a:pt x="150" y="31"/>
                    <a:pt x="152" y="35"/>
                  </a:cubicBezTo>
                </a:path>
              </a:pathLst>
            </a:custGeom>
            <a:solidFill>
              <a:srgbClr val="B812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41">
              <a:extLst>
                <a:ext uri="{FF2B5EF4-FFF2-40B4-BE49-F238E27FC236}">
                  <a16:creationId xmlns:a16="http://schemas.microsoft.com/office/drawing/2014/main" id="{4996BA87-1E56-4AB3-8CCF-7ECC0E7FBA4A}"/>
                </a:ext>
              </a:extLst>
            </p:cNvPr>
            <p:cNvSpPr>
              <a:spLocks/>
            </p:cNvSpPr>
            <p:nvPr userDrawn="1"/>
          </p:nvSpPr>
          <p:spPr bwMode="auto">
            <a:xfrm>
              <a:off x="6956425" y="2328863"/>
              <a:ext cx="103188" cy="103188"/>
            </a:xfrm>
            <a:custGeom>
              <a:avLst/>
              <a:gdLst>
                <a:gd name="T0" fmla="*/ 84 w 126"/>
                <a:gd name="T1" fmla="*/ 104 h 126"/>
                <a:gd name="T2" fmla="*/ 17 w 126"/>
                <a:gd name="T3" fmla="*/ 109 h 126"/>
                <a:gd name="T4" fmla="*/ 22 w 126"/>
                <a:gd name="T5" fmla="*/ 43 h 126"/>
                <a:gd name="T6" fmla="*/ 43 w 126"/>
                <a:gd name="T7" fmla="*/ 22 h 126"/>
                <a:gd name="T8" fmla="*/ 109 w 126"/>
                <a:gd name="T9" fmla="*/ 17 h 126"/>
                <a:gd name="T10" fmla="*/ 105 w 126"/>
                <a:gd name="T11" fmla="*/ 83 h 126"/>
                <a:gd name="T12" fmla="*/ 84 w 126"/>
                <a:gd name="T13" fmla="*/ 104 h 126"/>
              </a:gdLst>
              <a:ahLst/>
              <a:cxnLst>
                <a:cxn ang="0">
                  <a:pos x="T0" y="T1"/>
                </a:cxn>
                <a:cxn ang="0">
                  <a:pos x="T2" y="T3"/>
                </a:cxn>
                <a:cxn ang="0">
                  <a:pos x="T4" y="T5"/>
                </a:cxn>
                <a:cxn ang="0">
                  <a:pos x="T6" y="T7"/>
                </a:cxn>
                <a:cxn ang="0">
                  <a:pos x="T8" y="T9"/>
                </a:cxn>
                <a:cxn ang="0">
                  <a:pos x="T10" y="T11"/>
                </a:cxn>
                <a:cxn ang="0">
                  <a:pos x="T12" y="T13"/>
                </a:cxn>
              </a:cxnLst>
              <a:rect l="0" t="0" r="r" b="b"/>
              <a:pathLst>
                <a:path w="126" h="126">
                  <a:moveTo>
                    <a:pt x="84" y="104"/>
                  </a:moveTo>
                  <a:cubicBezTo>
                    <a:pt x="64" y="124"/>
                    <a:pt x="34" y="126"/>
                    <a:pt x="17" y="109"/>
                  </a:cubicBezTo>
                  <a:cubicBezTo>
                    <a:pt x="0" y="92"/>
                    <a:pt x="2" y="62"/>
                    <a:pt x="22" y="43"/>
                  </a:cubicBezTo>
                  <a:lnTo>
                    <a:pt x="43" y="22"/>
                  </a:lnTo>
                  <a:cubicBezTo>
                    <a:pt x="63" y="2"/>
                    <a:pt x="92" y="0"/>
                    <a:pt x="109" y="17"/>
                  </a:cubicBezTo>
                  <a:cubicBezTo>
                    <a:pt x="126" y="34"/>
                    <a:pt x="124" y="64"/>
                    <a:pt x="105" y="83"/>
                  </a:cubicBezTo>
                  <a:lnTo>
                    <a:pt x="84" y="104"/>
                  </a:lnTo>
                  <a:close/>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42">
              <a:extLst>
                <a:ext uri="{FF2B5EF4-FFF2-40B4-BE49-F238E27FC236}">
                  <a16:creationId xmlns:a16="http://schemas.microsoft.com/office/drawing/2014/main" id="{96869911-B111-49A4-9CF6-075CD152BE7C}"/>
                </a:ext>
              </a:extLst>
            </p:cNvPr>
            <p:cNvSpPr>
              <a:spLocks/>
            </p:cNvSpPr>
            <p:nvPr userDrawn="1"/>
          </p:nvSpPr>
          <p:spPr bwMode="auto">
            <a:xfrm>
              <a:off x="6986588" y="2425700"/>
              <a:ext cx="103188" cy="80963"/>
            </a:xfrm>
            <a:custGeom>
              <a:avLst/>
              <a:gdLst>
                <a:gd name="T0" fmla="*/ 46 w 126"/>
                <a:gd name="T1" fmla="*/ 97 h 99"/>
                <a:gd name="T2" fmla="*/ 2 w 126"/>
                <a:gd name="T3" fmla="*/ 54 h 99"/>
                <a:gd name="T4" fmla="*/ 52 w 126"/>
                <a:gd name="T5" fmla="*/ 3 h 99"/>
                <a:gd name="T6" fmla="*/ 80 w 126"/>
                <a:gd name="T7" fmla="*/ 1 h 99"/>
                <a:gd name="T8" fmla="*/ 124 w 126"/>
                <a:gd name="T9" fmla="*/ 45 h 99"/>
                <a:gd name="T10" fmla="*/ 74 w 126"/>
                <a:gd name="T11" fmla="*/ 95 h 99"/>
                <a:gd name="T12" fmla="*/ 46 w 126"/>
                <a:gd name="T13" fmla="*/ 97 h 99"/>
              </a:gdLst>
              <a:ahLst/>
              <a:cxnLst>
                <a:cxn ang="0">
                  <a:pos x="T0" y="T1"/>
                </a:cxn>
                <a:cxn ang="0">
                  <a:pos x="T2" y="T3"/>
                </a:cxn>
                <a:cxn ang="0">
                  <a:pos x="T4" y="T5"/>
                </a:cxn>
                <a:cxn ang="0">
                  <a:pos x="T6" y="T7"/>
                </a:cxn>
                <a:cxn ang="0">
                  <a:pos x="T8" y="T9"/>
                </a:cxn>
                <a:cxn ang="0">
                  <a:pos x="T10" y="T11"/>
                </a:cxn>
                <a:cxn ang="0">
                  <a:pos x="T12" y="T13"/>
                </a:cxn>
              </a:cxnLst>
              <a:rect l="0" t="0" r="r" b="b"/>
              <a:pathLst>
                <a:path w="126" h="99">
                  <a:moveTo>
                    <a:pt x="46" y="97"/>
                  </a:moveTo>
                  <a:cubicBezTo>
                    <a:pt x="20" y="99"/>
                    <a:pt x="0" y="79"/>
                    <a:pt x="2" y="54"/>
                  </a:cubicBezTo>
                  <a:cubicBezTo>
                    <a:pt x="4" y="28"/>
                    <a:pt x="26" y="5"/>
                    <a:pt x="52" y="3"/>
                  </a:cubicBezTo>
                  <a:lnTo>
                    <a:pt x="80" y="1"/>
                  </a:lnTo>
                  <a:cubicBezTo>
                    <a:pt x="106" y="0"/>
                    <a:pt x="126" y="19"/>
                    <a:pt x="124" y="45"/>
                  </a:cubicBezTo>
                  <a:cubicBezTo>
                    <a:pt x="122" y="71"/>
                    <a:pt x="100" y="94"/>
                    <a:pt x="74" y="95"/>
                  </a:cubicBezTo>
                  <a:lnTo>
                    <a:pt x="46" y="97"/>
                  </a:ln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43">
              <a:extLst>
                <a:ext uri="{FF2B5EF4-FFF2-40B4-BE49-F238E27FC236}">
                  <a16:creationId xmlns:a16="http://schemas.microsoft.com/office/drawing/2014/main" id="{3740303D-462C-4BC9-9AB6-8743BCE83F35}"/>
                </a:ext>
              </a:extLst>
            </p:cNvPr>
            <p:cNvSpPr>
              <a:spLocks/>
            </p:cNvSpPr>
            <p:nvPr userDrawn="1"/>
          </p:nvSpPr>
          <p:spPr bwMode="auto">
            <a:xfrm>
              <a:off x="6945313" y="2505075"/>
              <a:ext cx="101600" cy="101600"/>
            </a:xfrm>
            <a:custGeom>
              <a:avLst/>
              <a:gdLst>
                <a:gd name="T0" fmla="*/ 17 w 123"/>
                <a:gd name="T1" fmla="*/ 88 h 124"/>
                <a:gd name="T2" fmla="*/ 22 w 123"/>
                <a:gd name="T3" fmla="*/ 22 h 124"/>
                <a:gd name="T4" fmla="*/ 88 w 123"/>
                <a:gd name="T5" fmla="*/ 17 h 124"/>
                <a:gd name="T6" fmla="*/ 106 w 123"/>
                <a:gd name="T7" fmla="*/ 35 h 124"/>
                <a:gd name="T8" fmla="*/ 102 w 123"/>
                <a:gd name="T9" fmla="*/ 102 h 124"/>
                <a:gd name="T10" fmla="*/ 35 w 123"/>
                <a:gd name="T11" fmla="*/ 106 h 124"/>
                <a:gd name="T12" fmla="*/ 17 w 123"/>
                <a:gd name="T13" fmla="*/ 88 h 124"/>
              </a:gdLst>
              <a:ahLst/>
              <a:cxnLst>
                <a:cxn ang="0">
                  <a:pos x="T0" y="T1"/>
                </a:cxn>
                <a:cxn ang="0">
                  <a:pos x="T2" y="T3"/>
                </a:cxn>
                <a:cxn ang="0">
                  <a:pos x="T4" y="T5"/>
                </a:cxn>
                <a:cxn ang="0">
                  <a:pos x="T6" y="T7"/>
                </a:cxn>
                <a:cxn ang="0">
                  <a:pos x="T8" y="T9"/>
                </a:cxn>
                <a:cxn ang="0">
                  <a:pos x="T10" y="T11"/>
                </a:cxn>
                <a:cxn ang="0">
                  <a:pos x="T12" y="T13"/>
                </a:cxn>
              </a:cxnLst>
              <a:rect l="0" t="0" r="r" b="b"/>
              <a:pathLst>
                <a:path w="123" h="124">
                  <a:moveTo>
                    <a:pt x="17" y="88"/>
                  </a:moveTo>
                  <a:cubicBezTo>
                    <a:pt x="0" y="71"/>
                    <a:pt x="2" y="41"/>
                    <a:pt x="22" y="22"/>
                  </a:cubicBezTo>
                  <a:cubicBezTo>
                    <a:pt x="41" y="2"/>
                    <a:pt x="71" y="0"/>
                    <a:pt x="88" y="17"/>
                  </a:cubicBezTo>
                  <a:lnTo>
                    <a:pt x="106" y="35"/>
                  </a:lnTo>
                  <a:cubicBezTo>
                    <a:pt x="123" y="53"/>
                    <a:pt x="121" y="82"/>
                    <a:pt x="102" y="102"/>
                  </a:cubicBezTo>
                  <a:cubicBezTo>
                    <a:pt x="82" y="121"/>
                    <a:pt x="52" y="124"/>
                    <a:pt x="35" y="106"/>
                  </a:cubicBezTo>
                  <a:lnTo>
                    <a:pt x="17" y="88"/>
                  </a:lnTo>
                  <a:close/>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44">
              <a:extLst>
                <a:ext uri="{FF2B5EF4-FFF2-40B4-BE49-F238E27FC236}">
                  <a16:creationId xmlns:a16="http://schemas.microsoft.com/office/drawing/2014/main" id="{816D9C37-EBE1-403D-9E73-739250CEF50E}"/>
                </a:ext>
              </a:extLst>
            </p:cNvPr>
            <p:cNvSpPr>
              <a:spLocks/>
            </p:cNvSpPr>
            <p:nvPr userDrawn="1"/>
          </p:nvSpPr>
          <p:spPr bwMode="auto">
            <a:xfrm>
              <a:off x="6865938" y="2546350"/>
              <a:ext cx="80963" cy="103188"/>
            </a:xfrm>
            <a:custGeom>
              <a:avLst/>
              <a:gdLst>
                <a:gd name="T0" fmla="*/ 4 w 100"/>
                <a:gd name="T1" fmla="*/ 52 h 125"/>
                <a:gd name="T2" fmla="*/ 54 w 100"/>
                <a:gd name="T3" fmla="*/ 1 h 125"/>
                <a:gd name="T4" fmla="*/ 98 w 100"/>
                <a:gd name="T5" fmla="*/ 45 h 125"/>
                <a:gd name="T6" fmla="*/ 96 w 100"/>
                <a:gd name="T7" fmla="*/ 73 h 125"/>
                <a:gd name="T8" fmla="*/ 46 w 100"/>
                <a:gd name="T9" fmla="*/ 123 h 125"/>
                <a:gd name="T10" fmla="*/ 2 w 100"/>
                <a:gd name="T11" fmla="*/ 79 h 125"/>
                <a:gd name="T12" fmla="*/ 4 w 100"/>
                <a:gd name="T13" fmla="*/ 52 h 125"/>
              </a:gdLst>
              <a:ahLst/>
              <a:cxnLst>
                <a:cxn ang="0">
                  <a:pos x="T0" y="T1"/>
                </a:cxn>
                <a:cxn ang="0">
                  <a:pos x="T2" y="T3"/>
                </a:cxn>
                <a:cxn ang="0">
                  <a:pos x="T4" y="T5"/>
                </a:cxn>
                <a:cxn ang="0">
                  <a:pos x="T6" y="T7"/>
                </a:cxn>
                <a:cxn ang="0">
                  <a:pos x="T8" y="T9"/>
                </a:cxn>
                <a:cxn ang="0">
                  <a:pos x="T10" y="T11"/>
                </a:cxn>
                <a:cxn ang="0">
                  <a:pos x="T12" y="T13"/>
                </a:cxn>
              </a:cxnLst>
              <a:rect l="0" t="0" r="r" b="b"/>
              <a:pathLst>
                <a:path w="100" h="125">
                  <a:moveTo>
                    <a:pt x="4" y="52"/>
                  </a:moveTo>
                  <a:cubicBezTo>
                    <a:pt x="6" y="26"/>
                    <a:pt x="28" y="3"/>
                    <a:pt x="54" y="1"/>
                  </a:cubicBezTo>
                  <a:cubicBezTo>
                    <a:pt x="80" y="0"/>
                    <a:pt x="100" y="19"/>
                    <a:pt x="98" y="45"/>
                  </a:cubicBezTo>
                  <a:lnTo>
                    <a:pt x="96" y="73"/>
                  </a:lnTo>
                  <a:cubicBezTo>
                    <a:pt x="94" y="99"/>
                    <a:pt x="72" y="121"/>
                    <a:pt x="46" y="123"/>
                  </a:cubicBezTo>
                  <a:cubicBezTo>
                    <a:pt x="20" y="125"/>
                    <a:pt x="0" y="105"/>
                    <a:pt x="2" y="79"/>
                  </a:cubicBezTo>
                  <a:lnTo>
                    <a:pt x="4" y="52"/>
                  </a:lnTo>
                  <a:close/>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45">
              <a:extLst>
                <a:ext uri="{FF2B5EF4-FFF2-40B4-BE49-F238E27FC236}">
                  <a16:creationId xmlns:a16="http://schemas.microsoft.com/office/drawing/2014/main" id="{AF095B79-F167-4BAE-ADB1-9A161AC84CDD}"/>
                </a:ext>
              </a:extLst>
            </p:cNvPr>
            <p:cNvSpPr>
              <a:spLocks/>
            </p:cNvSpPr>
            <p:nvPr userDrawn="1"/>
          </p:nvSpPr>
          <p:spPr bwMode="auto">
            <a:xfrm>
              <a:off x="6770688" y="2516188"/>
              <a:ext cx="103188" cy="103188"/>
            </a:xfrm>
            <a:custGeom>
              <a:avLst/>
              <a:gdLst>
                <a:gd name="T0" fmla="*/ 42 w 126"/>
                <a:gd name="T1" fmla="*/ 21 h 126"/>
                <a:gd name="T2" fmla="*/ 109 w 126"/>
                <a:gd name="T3" fmla="*/ 17 h 126"/>
                <a:gd name="T4" fmla="*/ 104 w 126"/>
                <a:gd name="T5" fmla="*/ 83 h 126"/>
                <a:gd name="T6" fmla="*/ 83 w 126"/>
                <a:gd name="T7" fmla="*/ 104 h 126"/>
                <a:gd name="T8" fmla="*/ 17 w 126"/>
                <a:gd name="T9" fmla="*/ 109 h 126"/>
                <a:gd name="T10" fmla="*/ 21 w 126"/>
                <a:gd name="T11" fmla="*/ 42 h 126"/>
                <a:gd name="T12" fmla="*/ 42 w 126"/>
                <a:gd name="T13" fmla="*/ 21 h 126"/>
              </a:gdLst>
              <a:ahLst/>
              <a:cxnLst>
                <a:cxn ang="0">
                  <a:pos x="T0" y="T1"/>
                </a:cxn>
                <a:cxn ang="0">
                  <a:pos x="T2" y="T3"/>
                </a:cxn>
                <a:cxn ang="0">
                  <a:pos x="T4" y="T5"/>
                </a:cxn>
                <a:cxn ang="0">
                  <a:pos x="T6" y="T7"/>
                </a:cxn>
                <a:cxn ang="0">
                  <a:pos x="T8" y="T9"/>
                </a:cxn>
                <a:cxn ang="0">
                  <a:pos x="T10" y="T11"/>
                </a:cxn>
                <a:cxn ang="0">
                  <a:pos x="T12" y="T13"/>
                </a:cxn>
              </a:cxnLst>
              <a:rect l="0" t="0" r="r" b="b"/>
              <a:pathLst>
                <a:path w="126" h="126">
                  <a:moveTo>
                    <a:pt x="42" y="21"/>
                  </a:moveTo>
                  <a:cubicBezTo>
                    <a:pt x="62" y="2"/>
                    <a:pt x="92" y="0"/>
                    <a:pt x="109" y="17"/>
                  </a:cubicBezTo>
                  <a:cubicBezTo>
                    <a:pt x="126" y="34"/>
                    <a:pt x="124" y="63"/>
                    <a:pt x="104" y="83"/>
                  </a:cubicBezTo>
                  <a:lnTo>
                    <a:pt x="83" y="104"/>
                  </a:lnTo>
                  <a:cubicBezTo>
                    <a:pt x="64" y="124"/>
                    <a:pt x="34" y="126"/>
                    <a:pt x="17" y="109"/>
                  </a:cubicBezTo>
                  <a:cubicBezTo>
                    <a:pt x="0" y="92"/>
                    <a:pt x="2" y="62"/>
                    <a:pt x="21" y="42"/>
                  </a:cubicBezTo>
                  <a:lnTo>
                    <a:pt x="42" y="21"/>
                  </a:lnTo>
                  <a:close/>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46">
              <a:extLst>
                <a:ext uri="{FF2B5EF4-FFF2-40B4-BE49-F238E27FC236}">
                  <a16:creationId xmlns:a16="http://schemas.microsoft.com/office/drawing/2014/main" id="{83F7D9BB-A882-4F46-937D-E11281BF4CA3}"/>
                </a:ext>
              </a:extLst>
            </p:cNvPr>
            <p:cNvSpPr>
              <a:spLocks/>
            </p:cNvSpPr>
            <p:nvPr userDrawn="1"/>
          </p:nvSpPr>
          <p:spPr bwMode="auto">
            <a:xfrm>
              <a:off x="6740525" y="2443163"/>
              <a:ext cx="103188" cy="80963"/>
            </a:xfrm>
            <a:custGeom>
              <a:avLst/>
              <a:gdLst>
                <a:gd name="T0" fmla="*/ 80 w 126"/>
                <a:gd name="T1" fmla="*/ 1 h 99"/>
                <a:gd name="T2" fmla="*/ 124 w 126"/>
                <a:gd name="T3" fmla="*/ 45 h 99"/>
                <a:gd name="T4" fmla="*/ 74 w 126"/>
                <a:gd name="T5" fmla="*/ 95 h 99"/>
                <a:gd name="T6" fmla="*/ 46 w 126"/>
                <a:gd name="T7" fmla="*/ 97 h 99"/>
                <a:gd name="T8" fmla="*/ 2 w 126"/>
                <a:gd name="T9" fmla="*/ 53 h 99"/>
                <a:gd name="T10" fmla="*/ 52 w 126"/>
                <a:gd name="T11" fmla="*/ 3 h 99"/>
                <a:gd name="T12" fmla="*/ 80 w 126"/>
                <a:gd name="T13" fmla="*/ 1 h 99"/>
              </a:gdLst>
              <a:ahLst/>
              <a:cxnLst>
                <a:cxn ang="0">
                  <a:pos x="T0" y="T1"/>
                </a:cxn>
                <a:cxn ang="0">
                  <a:pos x="T2" y="T3"/>
                </a:cxn>
                <a:cxn ang="0">
                  <a:pos x="T4" y="T5"/>
                </a:cxn>
                <a:cxn ang="0">
                  <a:pos x="T6" y="T7"/>
                </a:cxn>
                <a:cxn ang="0">
                  <a:pos x="T8" y="T9"/>
                </a:cxn>
                <a:cxn ang="0">
                  <a:pos x="T10" y="T11"/>
                </a:cxn>
                <a:cxn ang="0">
                  <a:pos x="T12" y="T13"/>
                </a:cxn>
              </a:cxnLst>
              <a:rect l="0" t="0" r="r" b="b"/>
              <a:pathLst>
                <a:path w="126" h="99">
                  <a:moveTo>
                    <a:pt x="80" y="1"/>
                  </a:moveTo>
                  <a:cubicBezTo>
                    <a:pt x="106" y="0"/>
                    <a:pt x="126" y="19"/>
                    <a:pt x="124" y="45"/>
                  </a:cubicBezTo>
                  <a:cubicBezTo>
                    <a:pt x="122" y="71"/>
                    <a:pt x="100" y="93"/>
                    <a:pt x="74" y="95"/>
                  </a:cubicBezTo>
                  <a:lnTo>
                    <a:pt x="46" y="97"/>
                  </a:lnTo>
                  <a:cubicBezTo>
                    <a:pt x="20" y="99"/>
                    <a:pt x="0" y="79"/>
                    <a:pt x="2" y="53"/>
                  </a:cubicBezTo>
                  <a:cubicBezTo>
                    <a:pt x="4" y="28"/>
                    <a:pt x="26" y="5"/>
                    <a:pt x="52" y="3"/>
                  </a:cubicBezTo>
                  <a:lnTo>
                    <a:pt x="80" y="1"/>
                  </a:lnTo>
                  <a:close/>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47">
              <a:extLst>
                <a:ext uri="{FF2B5EF4-FFF2-40B4-BE49-F238E27FC236}">
                  <a16:creationId xmlns:a16="http://schemas.microsoft.com/office/drawing/2014/main" id="{E2C62D14-42DA-4DC5-A17D-3D0BE5FE0EA9}"/>
                </a:ext>
              </a:extLst>
            </p:cNvPr>
            <p:cNvSpPr>
              <a:spLocks/>
            </p:cNvSpPr>
            <p:nvPr userDrawn="1"/>
          </p:nvSpPr>
          <p:spPr bwMode="auto">
            <a:xfrm>
              <a:off x="6783388" y="2343150"/>
              <a:ext cx="101600" cy="100013"/>
            </a:xfrm>
            <a:custGeom>
              <a:avLst/>
              <a:gdLst>
                <a:gd name="T0" fmla="*/ 106 w 123"/>
                <a:gd name="T1" fmla="*/ 35 h 123"/>
                <a:gd name="T2" fmla="*/ 102 w 123"/>
                <a:gd name="T3" fmla="*/ 102 h 123"/>
                <a:gd name="T4" fmla="*/ 35 w 123"/>
                <a:gd name="T5" fmla="*/ 106 h 123"/>
                <a:gd name="T6" fmla="*/ 17 w 123"/>
                <a:gd name="T7" fmla="*/ 88 h 123"/>
                <a:gd name="T8" fmla="*/ 21 w 123"/>
                <a:gd name="T9" fmla="*/ 22 h 123"/>
                <a:gd name="T10" fmla="*/ 88 w 123"/>
                <a:gd name="T11" fmla="*/ 17 h 123"/>
                <a:gd name="T12" fmla="*/ 106 w 123"/>
                <a:gd name="T13" fmla="*/ 35 h 123"/>
              </a:gdLst>
              <a:ahLst/>
              <a:cxnLst>
                <a:cxn ang="0">
                  <a:pos x="T0" y="T1"/>
                </a:cxn>
                <a:cxn ang="0">
                  <a:pos x="T2" y="T3"/>
                </a:cxn>
                <a:cxn ang="0">
                  <a:pos x="T4" y="T5"/>
                </a:cxn>
                <a:cxn ang="0">
                  <a:pos x="T6" y="T7"/>
                </a:cxn>
                <a:cxn ang="0">
                  <a:pos x="T8" y="T9"/>
                </a:cxn>
                <a:cxn ang="0">
                  <a:pos x="T10" y="T11"/>
                </a:cxn>
                <a:cxn ang="0">
                  <a:pos x="T12" y="T13"/>
                </a:cxn>
              </a:cxnLst>
              <a:rect l="0" t="0" r="r" b="b"/>
              <a:pathLst>
                <a:path w="123" h="123">
                  <a:moveTo>
                    <a:pt x="106" y="35"/>
                  </a:moveTo>
                  <a:cubicBezTo>
                    <a:pt x="123" y="52"/>
                    <a:pt x="121" y="82"/>
                    <a:pt x="102" y="102"/>
                  </a:cubicBezTo>
                  <a:cubicBezTo>
                    <a:pt x="82" y="121"/>
                    <a:pt x="52" y="123"/>
                    <a:pt x="35" y="106"/>
                  </a:cubicBezTo>
                  <a:lnTo>
                    <a:pt x="17" y="88"/>
                  </a:lnTo>
                  <a:cubicBezTo>
                    <a:pt x="0" y="71"/>
                    <a:pt x="2" y="41"/>
                    <a:pt x="21" y="22"/>
                  </a:cubicBezTo>
                  <a:cubicBezTo>
                    <a:pt x="41" y="2"/>
                    <a:pt x="71" y="0"/>
                    <a:pt x="88" y="17"/>
                  </a:cubicBezTo>
                  <a:lnTo>
                    <a:pt x="106" y="35"/>
                  </a:ln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48">
              <a:extLst>
                <a:ext uri="{FF2B5EF4-FFF2-40B4-BE49-F238E27FC236}">
                  <a16:creationId xmlns:a16="http://schemas.microsoft.com/office/drawing/2014/main" id="{1DA42E23-B183-4453-A944-8E78B08BBBF2}"/>
                </a:ext>
              </a:extLst>
            </p:cNvPr>
            <p:cNvSpPr>
              <a:spLocks/>
            </p:cNvSpPr>
            <p:nvPr userDrawn="1"/>
          </p:nvSpPr>
          <p:spPr bwMode="auto">
            <a:xfrm>
              <a:off x="6881813" y="2300288"/>
              <a:ext cx="82550" cy="101600"/>
            </a:xfrm>
            <a:custGeom>
              <a:avLst/>
              <a:gdLst>
                <a:gd name="T0" fmla="*/ 96 w 100"/>
                <a:gd name="T1" fmla="*/ 73 h 125"/>
                <a:gd name="T2" fmla="*/ 46 w 100"/>
                <a:gd name="T3" fmla="*/ 123 h 125"/>
                <a:gd name="T4" fmla="*/ 2 w 100"/>
                <a:gd name="T5" fmla="*/ 79 h 125"/>
                <a:gd name="T6" fmla="*/ 4 w 100"/>
                <a:gd name="T7" fmla="*/ 52 h 125"/>
                <a:gd name="T8" fmla="*/ 54 w 100"/>
                <a:gd name="T9" fmla="*/ 1 h 125"/>
                <a:gd name="T10" fmla="*/ 98 w 100"/>
                <a:gd name="T11" fmla="*/ 45 h 125"/>
                <a:gd name="T12" fmla="*/ 96 w 100"/>
                <a:gd name="T13" fmla="*/ 73 h 125"/>
              </a:gdLst>
              <a:ahLst/>
              <a:cxnLst>
                <a:cxn ang="0">
                  <a:pos x="T0" y="T1"/>
                </a:cxn>
                <a:cxn ang="0">
                  <a:pos x="T2" y="T3"/>
                </a:cxn>
                <a:cxn ang="0">
                  <a:pos x="T4" y="T5"/>
                </a:cxn>
                <a:cxn ang="0">
                  <a:pos x="T6" y="T7"/>
                </a:cxn>
                <a:cxn ang="0">
                  <a:pos x="T8" y="T9"/>
                </a:cxn>
                <a:cxn ang="0">
                  <a:pos x="T10" y="T11"/>
                </a:cxn>
                <a:cxn ang="0">
                  <a:pos x="T12" y="T13"/>
                </a:cxn>
              </a:cxnLst>
              <a:rect l="0" t="0" r="r" b="b"/>
              <a:pathLst>
                <a:path w="100" h="125">
                  <a:moveTo>
                    <a:pt x="96" y="73"/>
                  </a:moveTo>
                  <a:cubicBezTo>
                    <a:pt x="94" y="99"/>
                    <a:pt x="72" y="121"/>
                    <a:pt x="46" y="123"/>
                  </a:cubicBezTo>
                  <a:cubicBezTo>
                    <a:pt x="20" y="125"/>
                    <a:pt x="0" y="105"/>
                    <a:pt x="2" y="79"/>
                  </a:cubicBezTo>
                  <a:lnTo>
                    <a:pt x="4" y="52"/>
                  </a:lnTo>
                  <a:cubicBezTo>
                    <a:pt x="6" y="26"/>
                    <a:pt x="28" y="3"/>
                    <a:pt x="54" y="1"/>
                  </a:cubicBezTo>
                  <a:cubicBezTo>
                    <a:pt x="80" y="0"/>
                    <a:pt x="100" y="19"/>
                    <a:pt x="98" y="45"/>
                  </a:cubicBezTo>
                  <a:lnTo>
                    <a:pt x="96" y="73"/>
                  </a:ln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49">
              <a:extLst>
                <a:ext uri="{FF2B5EF4-FFF2-40B4-BE49-F238E27FC236}">
                  <a16:creationId xmlns:a16="http://schemas.microsoft.com/office/drawing/2014/main" id="{7904FEE2-1A0A-46B1-A58F-EF3DA13AF003}"/>
                </a:ext>
              </a:extLst>
            </p:cNvPr>
            <p:cNvSpPr>
              <a:spLocks noEditPoints="1"/>
            </p:cNvSpPr>
            <p:nvPr userDrawn="1"/>
          </p:nvSpPr>
          <p:spPr bwMode="auto">
            <a:xfrm>
              <a:off x="6789738" y="2351088"/>
              <a:ext cx="250825" cy="247650"/>
            </a:xfrm>
            <a:custGeom>
              <a:avLst/>
              <a:gdLst>
                <a:gd name="T0" fmla="*/ 119 w 305"/>
                <a:gd name="T1" fmla="*/ 117 h 303"/>
                <a:gd name="T2" fmla="*/ 170 w 305"/>
                <a:gd name="T3" fmla="*/ 100 h 303"/>
                <a:gd name="T4" fmla="*/ 159 w 305"/>
                <a:gd name="T5" fmla="*/ 167 h 303"/>
                <a:gd name="T6" fmla="*/ 108 w 305"/>
                <a:gd name="T7" fmla="*/ 183 h 303"/>
                <a:gd name="T8" fmla="*/ 119 w 305"/>
                <a:gd name="T9" fmla="*/ 117 h 303"/>
                <a:gd name="T10" fmla="*/ 299 w 305"/>
                <a:gd name="T11" fmla="*/ 94 h 303"/>
                <a:gd name="T12" fmla="*/ 292 w 305"/>
                <a:gd name="T13" fmla="*/ 74 h 303"/>
                <a:gd name="T14" fmla="*/ 292 w 305"/>
                <a:gd name="T15" fmla="*/ 74 h 303"/>
                <a:gd name="T16" fmla="*/ 274 w 305"/>
                <a:gd name="T17" fmla="*/ 46 h 303"/>
                <a:gd name="T18" fmla="*/ 266 w 305"/>
                <a:gd name="T19" fmla="*/ 37 h 303"/>
                <a:gd name="T20" fmla="*/ 233 w 305"/>
                <a:gd name="T21" fmla="*/ 13 h 303"/>
                <a:gd name="T22" fmla="*/ 230 w 305"/>
                <a:gd name="T23" fmla="*/ 12 h 303"/>
                <a:gd name="T24" fmla="*/ 209 w 305"/>
                <a:gd name="T25" fmla="*/ 5 h 303"/>
                <a:gd name="T26" fmla="*/ 195 w 305"/>
                <a:gd name="T27" fmla="*/ 2 h 303"/>
                <a:gd name="T28" fmla="*/ 181 w 305"/>
                <a:gd name="T29" fmla="*/ 0 h 303"/>
                <a:gd name="T30" fmla="*/ 160 w 305"/>
                <a:gd name="T31" fmla="*/ 1 h 303"/>
                <a:gd name="T32" fmla="*/ 115 w 305"/>
                <a:gd name="T33" fmla="*/ 11 h 303"/>
                <a:gd name="T34" fmla="*/ 94 w 305"/>
                <a:gd name="T35" fmla="*/ 21 h 303"/>
                <a:gd name="T36" fmla="*/ 92 w 305"/>
                <a:gd name="T37" fmla="*/ 22 h 303"/>
                <a:gd name="T38" fmla="*/ 82 w 305"/>
                <a:gd name="T39" fmla="*/ 29 h 303"/>
                <a:gd name="T40" fmla="*/ 54 w 305"/>
                <a:gd name="T41" fmla="*/ 52 h 303"/>
                <a:gd name="T42" fmla="*/ 24 w 305"/>
                <a:gd name="T43" fmla="*/ 90 h 303"/>
                <a:gd name="T44" fmla="*/ 23 w 305"/>
                <a:gd name="T45" fmla="*/ 92 h 303"/>
                <a:gd name="T46" fmla="*/ 18 w 305"/>
                <a:gd name="T47" fmla="*/ 102 h 303"/>
                <a:gd name="T48" fmla="*/ 13 w 305"/>
                <a:gd name="T49" fmla="*/ 114 h 303"/>
                <a:gd name="T50" fmla="*/ 2 w 305"/>
                <a:gd name="T51" fmla="*/ 185 h 303"/>
                <a:gd name="T52" fmla="*/ 4 w 305"/>
                <a:gd name="T53" fmla="*/ 196 h 303"/>
                <a:gd name="T54" fmla="*/ 6 w 305"/>
                <a:gd name="T55" fmla="*/ 208 h 303"/>
                <a:gd name="T56" fmla="*/ 7 w 305"/>
                <a:gd name="T57" fmla="*/ 208 h 303"/>
                <a:gd name="T58" fmla="*/ 13 w 305"/>
                <a:gd name="T59" fmla="*/ 228 h 303"/>
                <a:gd name="T60" fmla="*/ 39 w 305"/>
                <a:gd name="T61" fmla="*/ 265 h 303"/>
                <a:gd name="T62" fmla="*/ 45 w 305"/>
                <a:gd name="T63" fmla="*/ 270 h 303"/>
                <a:gd name="T64" fmla="*/ 47 w 305"/>
                <a:gd name="T65" fmla="*/ 273 h 303"/>
                <a:gd name="T66" fmla="*/ 68 w 305"/>
                <a:gd name="T67" fmla="*/ 286 h 303"/>
                <a:gd name="T68" fmla="*/ 75 w 305"/>
                <a:gd name="T69" fmla="*/ 290 h 303"/>
                <a:gd name="T70" fmla="*/ 96 w 305"/>
                <a:gd name="T71" fmla="*/ 297 h 303"/>
                <a:gd name="T72" fmla="*/ 160 w 305"/>
                <a:gd name="T73" fmla="*/ 299 h 303"/>
                <a:gd name="T74" fmla="*/ 190 w 305"/>
                <a:gd name="T75" fmla="*/ 291 h 303"/>
                <a:gd name="T76" fmla="*/ 207 w 305"/>
                <a:gd name="T77" fmla="*/ 283 h 303"/>
                <a:gd name="T78" fmla="*/ 211 w 305"/>
                <a:gd name="T79" fmla="*/ 280 h 303"/>
                <a:gd name="T80" fmla="*/ 252 w 305"/>
                <a:gd name="T81" fmla="*/ 250 h 303"/>
                <a:gd name="T82" fmla="*/ 277 w 305"/>
                <a:gd name="T83" fmla="*/ 218 h 303"/>
                <a:gd name="T84" fmla="*/ 282 w 305"/>
                <a:gd name="T85" fmla="*/ 209 h 303"/>
                <a:gd name="T86" fmla="*/ 292 w 305"/>
                <a:gd name="T87" fmla="*/ 188 h 303"/>
                <a:gd name="T88" fmla="*/ 299 w 305"/>
                <a:gd name="T89" fmla="*/ 166 h 303"/>
                <a:gd name="T90" fmla="*/ 299 w 305"/>
                <a:gd name="T91" fmla="*/ 9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5" h="303">
                  <a:moveTo>
                    <a:pt x="119" y="117"/>
                  </a:moveTo>
                  <a:cubicBezTo>
                    <a:pt x="133" y="102"/>
                    <a:pt x="153" y="97"/>
                    <a:pt x="170" y="100"/>
                  </a:cubicBezTo>
                  <a:cubicBezTo>
                    <a:pt x="183" y="119"/>
                    <a:pt x="179" y="147"/>
                    <a:pt x="159" y="167"/>
                  </a:cubicBezTo>
                  <a:cubicBezTo>
                    <a:pt x="145" y="181"/>
                    <a:pt x="125" y="187"/>
                    <a:pt x="108" y="183"/>
                  </a:cubicBezTo>
                  <a:cubicBezTo>
                    <a:pt x="95" y="164"/>
                    <a:pt x="99" y="136"/>
                    <a:pt x="119" y="117"/>
                  </a:cubicBezTo>
                  <a:close/>
                  <a:moveTo>
                    <a:pt x="299" y="94"/>
                  </a:moveTo>
                  <a:cubicBezTo>
                    <a:pt x="297" y="87"/>
                    <a:pt x="295" y="81"/>
                    <a:pt x="292" y="74"/>
                  </a:cubicBezTo>
                  <a:lnTo>
                    <a:pt x="292" y="74"/>
                  </a:lnTo>
                  <a:cubicBezTo>
                    <a:pt x="287" y="64"/>
                    <a:pt x="281" y="54"/>
                    <a:pt x="274" y="46"/>
                  </a:cubicBezTo>
                  <a:cubicBezTo>
                    <a:pt x="272" y="43"/>
                    <a:pt x="269" y="40"/>
                    <a:pt x="266" y="37"/>
                  </a:cubicBezTo>
                  <a:cubicBezTo>
                    <a:pt x="257" y="27"/>
                    <a:pt x="245" y="19"/>
                    <a:pt x="233" y="13"/>
                  </a:cubicBezTo>
                  <a:lnTo>
                    <a:pt x="230" y="12"/>
                  </a:lnTo>
                  <a:cubicBezTo>
                    <a:pt x="223" y="9"/>
                    <a:pt x="216" y="6"/>
                    <a:pt x="209" y="5"/>
                  </a:cubicBezTo>
                  <a:cubicBezTo>
                    <a:pt x="205" y="3"/>
                    <a:pt x="200" y="2"/>
                    <a:pt x="195" y="2"/>
                  </a:cubicBezTo>
                  <a:cubicBezTo>
                    <a:pt x="190" y="1"/>
                    <a:pt x="185" y="0"/>
                    <a:pt x="181" y="0"/>
                  </a:cubicBezTo>
                  <a:cubicBezTo>
                    <a:pt x="174" y="0"/>
                    <a:pt x="167" y="0"/>
                    <a:pt x="160" y="1"/>
                  </a:cubicBezTo>
                  <a:cubicBezTo>
                    <a:pt x="145" y="2"/>
                    <a:pt x="130" y="6"/>
                    <a:pt x="115" y="11"/>
                  </a:cubicBezTo>
                  <a:cubicBezTo>
                    <a:pt x="108" y="14"/>
                    <a:pt x="101" y="17"/>
                    <a:pt x="94" y="21"/>
                  </a:cubicBezTo>
                  <a:lnTo>
                    <a:pt x="92" y="22"/>
                  </a:lnTo>
                  <a:cubicBezTo>
                    <a:pt x="89" y="24"/>
                    <a:pt x="85" y="26"/>
                    <a:pt x="82" y="29"/>
                  </a:cubicBezTo>
                  <a:cubicBezTo>
                    <a:pt x="72" y="35"/>
                    <a:pt x="62" y="43"/>
                    <a:pt x="54" y="52"/>
                  </a:cubicBezTo>
                  <a:cubicBezTo>
                    <a:pt x="42" y="63"/>
                    <a:pt x="32" y="76"/>
                    <a:pt x="24" y="90"/>
                  </a:cubicBezTo>
                  <a:lnTo>
                    <a:pt x="23" y="92"/>
                  </a:lnTo>
                  <a:cubicBezTo>
                    <a:pt x="21" y="95"/>
                    <a:pt x="20" y="99"/>
                    <a:pt x="18" y="102"/>
                  </a:cubicBezTo>
                  <a:cubicBezTo>
                    <a:pt x="16" y="106"/>
                    <a:pt x="14" y="110"/>
                    <a:pt x="13" y="114"/>
                  </a:cubicBezTo>
                  <a:cubicBezTo>
                    <a:pt x="4" y="137"/>
                    <a:pt x="0" y="162"/>
                    <a:pt x="2" y="185"/>
                  </a:cubicBezTo>
                  <a:cubicBezTo>
                    <a:pt x="3" y="188"/>
                    <a:pt x="3" y="192"/>
                    <a:pt x="4" y="196"/>
                  </a:cubicBezTo>
                  <a:cubicBezTo>
                    <a:pt x="4" y="200"/>
                    <a:pt x="5" y="204"/>
                    <a:pt x="6" y="208"/>
                  </a:cubicBezTo>
                  <a:lnTo>
                    <a:pt x="7" y="208"/>
                  </a:lnTo>
                  <a:cubicBezTo>
                    <a:pt x="8" y="215"/>
                    <a:pt x="11" y="222"/>
                    <a:pt x="13" y="228"/>
                  </a:cubicBezTo>
                  <a:cubicBezTo>
                    <a:pt x="20" y="241"/>
                    <a:pt x="28" y="254"/>
                    <a:pt x="39" y="265"/>
                  </a:cubicBezTo>
                  <a:cubicBezTo>
                    <a:pt x="41" y="267"/>
                    <a:pt x="43" y="268"/>
                    <a:pt x="45" y="270"/>
                  </a:cubicBezTo>
                  <a:lnTo>
                    <a:pt x="47" y="273"/>
                  </a:lnTo>
                  <a:cubicBezTo>
                    <a:pt x="54" y="278"/>
                    <a:pt x="61" y="282"/>
                    <a:pt x="68" y="286"/>
                  </a:cubicBezTo>
                  <a:cubicBezTo>
                    <a:pt x="70" y="288"/>
                    <a:pt x="73" y="289"/>
                    <a:pt x="75" y="290"/>
                  </a:cubicBezTo>
                  <a:cubicBezTo>
                    <a:pt x="82" y="293"/>
                    <a:pt x="89" y="295"/>
                    <a:pt x="96" y="297"/>
                  </a:cubicBezTo>
                  <a:cubicBezTo>
                    <a:pt x="116" y="303"/>
                    <a:pt x="138" y="303"/>
                    <a:pt x="160" y="299"/>
                  </a:cubicBezTo>
                  <a:cubicBezTo>
                    <a:pt x="170" y="297"/>
                    <a:pt x="180" y="294"/>
                    <a:pt x="190" y="291"/>
                  </a:cubicBezTo>
                  <a:cubicBezTo>
                    <a:pt x="195" y="288"/>
                    <a:pt x="201" y="286"/>
                    <a:pt x="207" y="283"/>
                  </a:cubicBezTo>
                  <a:cubicBezTo>
                    <a:pt x="208" y="282"/>
                    <a:pt x="210" y="281"/>
                    <a:pt x="211" y="280"/>
                  </a:cubicBezTo>
                  <a:cubicBezTo>
                    <a:pt x="225" y="272"/>
                    <a:pt x="239" y="262"/>
                    <a:pt x="252" y="250"/>
                  </a:cubicBezTo>
                  <a:cubicBezTo>
                    <a:pt x="262" y="240"/>
                    <a:pt x="270" y="229"/>
                    <a:pt x="277" y="218"/>
                  </a:cubicBezTo>
                  <a:cubicBezTo>
                    <a:pt x="279" y="215"/>
                    <a:pt x="281" y="212"/>
                    <a:pt x="282" y="209"/>
                  </a:cubicBezTo>
                  <a:cubicBezTo>
                    <a:pt x="286" y="202"/>
                    <a:pt x="289" y="195"/>
                    <a:pt x="292" y="188"/>
                  </a:cubicBezTo>
                  <a:cubicBezTo>
                    <a:pt x="295" y="180"/>
                    <a:pt x="297" y="173"/>
                    <a:pt x="299" y="166"/>
                  </a:cubicBezTo>
                  <a:cubicBezTo>
                    <a:pt x="305" y="141"/>
                    <a:pt x="305" y="117"/>
                    <a:pt x="299" y="94"/>
                  </a:cubicBez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50">
              <a:extLst>
                <a:ext uri="{FF2B5EF4-FFF2-40B4-BE49-F238E27FC236}">
                  <a16:creationId xmlns:a16="http://schemas.microsoft.com/office/drawing/2014/main" id="{6DCC701A-6AE9-4753-9110-32A57902B73B}"/>
                </a:ext>
              </a:extLst>
            </p:cNvPr>
            <p:cNvSpPr>
              <a:spLocks noEditPoints="1"/>
            </p:cNvSpPr>
            <p:nvPr userDrawn="1"/>
          </p:nvSpPr>
          <p:spPr bwMode="auto">
            <a:xfrm>
              <a:off x="6805613" y="2363788"/>
              <a:ext cx="219075" cy="220663"/>
            </a:xfrm>
            <a:custGeom>
              <a:avLst/>
              <a:gdLst>
                <a:gd name="T0" fmla="*/ 100 w 268"/>
                <a:gd name="T1" fmla="*/ 100 h 268"/>
                <a:gd name="T2" fmla="*/ 151 w 268"/>
                <a:gd name="T3" fmla="*/ 83 h 268"/>
                <a:gd name="T4" fmla="*/ 140 w 268"/>
                <a:gd name="T5" fmla="*/ 150 h 268"/>
                <a:gd name="T6" fmla="*/ 89 w 268"/>
                <a:gd name="T7" fmla="*/ 166 h 268"/>
                <a:gd name="T8" fmla="*/ 100 w 268"/>
                <a:gd name="T9" fmla="*/ 100 h 268"/>
                <a:gd name="T10" fmla="*/ 261 w 268"/>
                <a:gd name="T11" fmla="*/ 80 h 268"/>
                <a:gd name="T12" fmla="*/ 258 w 268"/>
                <a:gd name="T13" fmla="*/ 69 h 268"/>
                <a:gd name="T14" fmla="*/ 253 w 268"/>
                <a:gd name="T15" fmla="*/ 59 h 268"/>
                <a:gd name="T16" fmla="*/ 252 w 268"/>
                <a:gd name="T17" fmla="*/ 58 h 268"/>
                <a:gd name="T18" fmla="*/ 242 w 268"/>
                <a:gd name="T19" fmla="*/ 42 h 268"/>
                <a:gd name="T20" fmla="*/ 234 w 268"/>
                <a:gd name="T21" fmla="*/ 33 h 268"/>
                <a:gd name="T22" fmla="*/ 203 w 268"/>
                <a:gd name="T23" fmla="*/ 12 h 268"/>
                <a:gd name="T24" fmla="*/ 198 w 268"/>
                <a:gd name="T25" fmla="*/ 10 h 268"/>
                <a:gd name="T26" fmla="*/ 188 w 268"/>
                <a:gd name="T27" fmla="*/ 6 h 268"/>
                <a:gd name="T28" fmla="*/ 166 w 268"/>
                <a:gd name="T29" fmla="*/ 2 h 268"/>
                <a:gd name="T30" fmla="*/ 154 w 268"/>
                <a:gd name="T31" fmla="*/ 1 h 268"/>
                <a:gd name="T32" fmla="*/ 97 w 268"/>
                <a:gd name="T33" fmla="*/ 12 h 268"/>
                <a:gd name="T34" fmla="*/ 86 w 268"/>
                <a:gd name="T35" fmla="*/ 17 h 268"/>
                <a:gd name="T36" fmla="*/ 84 w 268"/>
                <a:gd name="T37" fmla="*/ 18 h 268"/>
                <a:gd name="T38" fmla="*/ 61 w 268"/>
                <a:gd name="T39" fmla="*/ 33 h 268"/>
                <a:gd name="T40" fmla="*/ 46 w 268"/>
                <a:gd name="T41" fmla="*/ 46 h 268"/>
                <a:gd name="T42" fmla="*/ 27 w 268"/>
                <a:gd name="T43" fmla="*/ 70 h 268"/>
                <a:gd name="T44" fmla="*/ 17 w 268"/>
                <a:gd name="T45" fmla="*/ 86 h 268"/>
                <a:gd name="T46" fmla="*/ 12 w 268"/>
                <a:gd name="T47" fmla="*/ 97 h 268"/>
                <a:gd name="T48" fmla="*/ 12 w 268"/>
                <a:gd name="T49" fmla="*/ 98 h 268"/>
                <a:gd name="T50" fmla="*/ 1 w 268"/>
                <a:gd name="T51" fmla="*/ 156 h 268"/>
                <a:gd name="T52" fmla="*/ 2 w 268"/>
                <a:gd name="T53" fmla="*/ 173 h 268"/>
                <a:gd name="T54" fmla="*/ 6 w 268"/>
                <a:gd name="T55" fmla="*/ 188 h 268"/>
                <a:gd name="T56" fmla="*/ 9 w 268"/>
                <a:gd name="T57" fmla="*/ 198 h 268"/>
                <a:gd name="T58" fmla="*/ 33 w 268"/>
                <a:gd name="T59" fmla="*/ 234 h 268"/>
                <a:gd name="T60" fmla="*/ 37 w 268"/>
                <a:gd name="T61" fmla="*/ 238 h 268"/>
                <a:gd name="T62" fmla="*/ 41 w 268"/>
                <a:gd name="T63" fmla="*/ 241 h 268"/>
                <a:gd name="T64" fmla="*/ 41 w 268"/>
                <a:gd name="T65" fmla="*/ 241 h 268"/>
                <a:gd name="T66" fmla="*/ 51 w 268"/>
                <a:gd name="T67" fmla="*/ 249 h 268"/>
                <a:gd name="T68" fmla="*/ 69 w 268"/>
                <a:gd name="T69" fmla="*/ 258 h 268"/>
                <a:gd name="T70" fmla="*/ 79 w 268"/>
                <a:gd name="T71" fmla="*/ 262 h 268"/>
                <a:gd name="T72" fmla="*/ 99 w 268"/>
                <a:gd name="T73" fmla="*/ 266 h 268"/>
                <a:gd name="T74" fmla="*/ 143 w 268"/>
                <a:gd name="T75" fmla="*/ 264 h 268"/>
                <a:gd name="T76" fmla="*/ 170 w 268"/>
                <a:gd name="T77" fmla="*/ 256 h 268"/>
                <a:gd name="T78" fmla="*/ 174 w 268"/>
                <a:gd name="T79" fmla="*/ 254 h 268"/>
                <a:gd name="T80" fmla="*/ 181 w 268"/>
                <a:gd name="T81" fmla="*/ 250 h 268"/>
                <a:gd name="T82" fmla="*/ 221 w 268"/>
                <a:gd name="T83" fmla="*/ 221 h 268"/>
                <a:gd name="T84" fmla="*/ 248 w 268"/>
                <a:gd name="T85" fmla="*/ 186 h 268"/>
                <a:gd name="T86" fmla="*/ 250 w 268"/>
                <a:gd name="T87" fmla="*/ 182 h 268"/>
                <a:gd name="T88" fmla="*/ 255 w 268"/>
                <a:gd name="T89" fmla="*/ 171 h 268"/>
                <a:gd name="T90" fmla="*/ 262 w 268"/>
                <a:gd name="T91" fmla="*/ 152 h 268"/>
                <a:gd name="T92" fmla="*/ 261 w 268"/>
                <a:gd name="T93" fmla="*/ 8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 h="268">
                  <a:moveTo>
                    <a:pt x="100" y="100"/>
                  </a:moveTo>
                  <a:cubicBezTo>
                    <a:pt x="114" y="85"/>
                    <a:pt x="134" y="80"/>
                    <a:pt x="151" y="83"/>
                  </a:cubicBezTo>
                  <a:cubicBezTo>
                    <a:pt x="164" y="102"/>
                    <a:pt x="160" y="130"/>
                    <a:pt x="140" y="150"/>
                  </a:cubicBezTo>
                  <a:cubicBezTo>
                    <a:pt x="126" y="164"/>
                    <a:pt x="106" y="170"/>
                    <a:pt x="89" y="166"/>
                  </a:cubicBezTo>
                  <a:cubicBezTo>
                    <a:pt x="76" y="147"/>
                    <a:pt x="80" y="119"/>
                    <a:pt x="100" y="100"/>
                  </a:cubicBezTo>
                  <a:close/>
                  <a:moveTo>
                    <a:pt x="261" y="80"/>
                  </a:moveTo>
                  <a:cubicBezTo>
                    <a:pt x="260" y="76"/>
                    <a:pt x="259" y="73"/>
                    <a:pt x="258" y="69"/>
                  </a:cubicBezTo>
                  <a:cubicBezTo>
                    <a:pt x="256" y="66"/>
                    <a:pt x="255" y="62"/>
                    <a:pt x="253" y="59"/>
                  </a:cubicBezTo>
                  <a:lnTo>
                    <a:pt x="252" y="58"/>
                  </a:lnTo>
                  <a:cubicBezTo>
                    <a:pt x="249" y="53"/>
                    <a:pt x="246" y="47"/>
                    <a:pt x="242" y="42"/>
                  </a:cubicBezTo>
                  <a:cubicBezTo>
                    <a:pt x="239" y="39"/>
                    <a:pt x="237" y="36"/>
                    <a:pt x="234" y="33"/>
                  </a:cubicBezTo>
                  <a:cubicBezTo>
                    <a:pt x="225" y="24"/>
                    <a:pt x="214" y="17"/>
                    <a:pt x="203" y="12"/>
                  </a:cubicBezTo>
                  <a:cubicBezTo>
                    <a:pt x="201" y="11"/>
                    <a:pt x="200" y="10"/>
                    <a:pt x="198" y="10"/>
                  </a:cubicBezTo>
                  <a:cubicBezTo>
                    <a:pt x="195" y="8"/>
                    <a:pt x="191" y="7"/>
                    <a:pt x="188" y="6"/>
                  </a:cubicBezTo>
                  <a:cubicBezTo>
                    <a:pt x="181" y="4"/>
                    <a:pt x="173" y="2"/>
                    <a:pt x="166" y="2"/>
                  </a:cubicBezTo>
                  <a:cubicBezTo>
                    <a:pt x="162" y="1"/>
                    <a:pt x="158" y="1"/>
                    <a:pt x="154" y="1"/>
                  </a:cubicBezTo>
                  <a:cubicBezTo>
                    <a:pt x="135" y="0"/>
                    <a:pt x="116" y="4"/>
                    <a:pt x="97" y="12"/>
                  </a:cubicBezTo>
                  <a:cubicBezTo>
                    <a:pt x="93" y="14"/>
                    <a:pt x="89" y="15"/>
                    <a:pt x="86" y="17"/>
                  </a:cubicBezTo>
                  <a:lnTo>
                    <a:pt x="84" y="18"/>
                  </a:lnTo>
                  <a:cubicBezTo>
                    <a:pt x="76" y="22"/>
                    <a:pt x="69" y="27"/>
                    <a:pt x="61" y="33"/>
                  </a:cubicBezTo>
                  <a:cubicBezTo>
                    <a:pt x="56" y="37"/>
                    <a:pt x="51" y="42"/>
                    <a:pt x="46" y="46"/>
                  </a:cubicBezTo>
                  <a:cubicBezTo>
                    <a:pt x="39" y="54"/>
                    <a:pt x="32" y="62"/>
                    <a:pt x="27" y="70"/>
                  </a:cubicBezTo>
                  <a:cubicBezTo>
                    <a:pt x="23" y="75"/>
                    <a:pt x="20" y="81"/>
                    <a:pt x="17" y="86"/>
                  </a:cubicBezTo>
                  <a:cubicBezTo>
                    <a:pt x="15" y="90"/>
                    <a:pt x="14" y="93"/>
                    <a:pt x="12" y="97"/>
                  </a:cubicBezTo>
                  <a:lnTo>
                    <a:pt x="12" y="98"/>
                  </a:lnTo>
                  <a:cubicBezTo>
                    <a:pt x="4" y="117"/>
                    <a:pt x="0" y="137"/>
                    <a:pt x="1" y="156"/>
                  </a:cubicBezTo>
                  <a:cubicBezTo>
                    <a:pt x="1" y="162"/>
                    <a:pt x="1" y="167"/>
                    <a:pt x="2" y="173"/>
                  </a:cubicBezTo>
                  <a:cubicBezTo>
                    <a:pt x="3" y="178"/>
                    <a:pt x="4" y="183"/>
                    <a:pt x="6" y="188"/>
                  </a:cubicBezTo>
                  <a:cubicBezTo>
                    <a:pt x="7" y="191"/>
                    <a:pt x="8" y="195"/>
                    <a:pt x="9" y="198"/>
                  </a:cubicBezTo>
                  <a:cubicBezTo>
                    <a:pt x="15" y="211"/>
                    <a:pt x="23" y="224"/>
                    <a:pt x="33" y="234"/>
                  </a:cubicBezTo>
                  <a:lnTo>
                    <a:pt x="37" y="238"/>
                  </a:lnTo>
                  <a:lnTo>
                    <a:pt x="41" y="241"/>
                  </a:lnTo>
                  <a:lnTo>
                    <a:pt x="41" y="241"/>
                  </a:lnTo>
                  <a:cubicBezTo>
                    <a:pt x="44" y="244"/>
                    <a:pt x="47" y="246"/>
                    <a:pt x="51" y="249"/>
                  </a:cubicBezTo>
                  <a:cubicBezTo>
                    <a:pt x="57" y="252"/>
                    <a:pt x="63" y="256"/>
                    <a:pt x="69" y="258"/>
                  </a:cubicBezTo>
                  <a:cubicBezTo>
                    <a:pt x="72" y="260"/>
                    <a:pt x="76" y="261"/>
                    <a:pt x="79" y="262"/>
                  </a:cubicBezTo>
                  <a:cubicBezTo>
                    <a:pt x="86" y="264"/>
                    <a:pt x="93" y="265"/>
                    <a:pt x="99" y="266"/>
                  </a:cubicBezTo>
                  <a:cubicBezTo>
                    <a:pt x="114" y="268"/>
                    <a:pt x="128" y="267"/>
                    <a:pt x="143" y="264"/>
                  </a:cubicBezTo>
                  <a:cubicBezTo>
                    <a:pt x="152" y="262"/>
                    <a:pt x="161" y="259"/>
                    <a:pt x="170" y="256"/>
                  </a:cubicBezTo>
                  <a:lnTo>
                    <a:pt x="174" y="254"/>
                  </a:lnTo>
                  <a:cubicBezTo>
                    <a:pt x="176" y="253"/>
                    <a:pt x="179" y="252"/>
                    <a:pt x="181" y="250"/>
                  </a:cubicBezTo>
                  <a:cubicBezTo>
                    <a:pt x="195" y="243"/>
                    <a:pt x="209" y="233"/>
                    <a:pt x="221" y="221"/>
                  </a:cubicBezTo>
                  <a:cubicBezTo>
                    <a:pt x="232" y="210"/>
                    <a:pt x="241" y="198"/>
                    <a:pt x="248" y="186"/>
                  </a:cubicBezTo>
                  <a:lnTo>
                    <a:pt x="250" y="182"/>
                  </a:lnTo>
                  <a:cubicBezTo>
                    <a:pt x="252" y="178"/>
                    <a:pt x="254" y="174"/>
                    <a:pt x="255" y="171"/>
                  </a:cubicBezTo>
                  <a:cubicBezTo>
                    <a:pt x="258" y="164"/>
                    <a:pt x="260" y="158"/>
                    <a:pt x="262" y="152"/>
                  </a:cubicBezTo>
                  <a:cubicBezTo>
                    <a:pt x="268" y="127"/>
                    <a:pt x="268" y="102"/>
                    <a:pt x="261" y="80"/>
                  </a:cubicBez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51">
              <a:extLst>
                <a:ext uri="{FF2B5EF4-FFF2-40B4-BE49-F238E27FC236}">
                  <a16:creationId xmlns:a16="http://schemas.microsoft.com/office/drawing/2014/main" id="{77C645D7-6B25-4830-849B-4EA0BF38C250}"/>
                </a:ext>
              </a:extLst>
            </p:cNvPr>
            <p:cNvSpPr>
              <a:spLocks noEditPoints="1"/>
            </p:cNvSpPr>
            <p:nvPr userDrawn="1"/>
          </p:nvSpPr>
          <p:spPr bwMode="auto">
            <a:xfrm>
              <a:off x="6856413" y="2419350"/>
              <a:ext cx="114300" cy="114300"/>
            </a:xfrm>
            <a:custGeom>
              <a:avLst/>
              <a:gdLst>
                <a:gd name="T0" fmla="*/ 37 w 138"/>
                <a:gd name="T1" fmla="*/ 34 h 140"/>
                <a:gd name="T2" fmla="*/ 88 w 138"/>
                <a:gd name="T3" fmla="*/ 17 h 140"/>
                <a:gd name="T4" fmla="*/ 77 w 138"/>
                <a:gd name="T5" fmla="*/ 84 h 140"/>
                <a:gd name="T6" fmla="*/ 26 w 138"/>
                <a:gd name="T7" fmla="*/ 100 h 140"/>
                <a:gd name="T8" fmla="*/ 37 w 138"/>
                <a:gd name="T9" fmla="*/ 34 h 140"/>
                <a:gd name="T10" fmla="*/ 134 w 138"/>
                <a:gd name="T11" fmla="*/ 37 h 140"/>
                <a:gd name="T12" fmla="*/ 121 w 138"/>
                <a:gd name="T13" fmla="*/ 17 h 140"/>
                <a:gd name="T14" fmla="*/ 98 w 138"/>
                <a:gd name="T15" fmla="*/ 3 h 140"/>
                <a:gd name="T16" fmla="*/ 69 w 138"/>
                <a:gd name="T17" fmla="*/ 1 h 140"/>
                <a:gd name="T18" fmla="*/ 26 w 138"/>
                <a:gd name="T19" fmla="*/ 24 h 140"/>
                <a:gd name="T20" fmla="*/ 4 w 138"/>
                <a:gd name="T21" fmla="*/ 89 h 140"/>
                <a:gd name="T22" fmla="*/ 16 w 138"/>
                <a:gd name="T23" fmla="*/ 114 h 140"/>
                <a:gd name="T24" fmla="*/ 20 w 138"/>
                <a:gd name="T25" fmla="*/ 119 h 140"/>
                <a:gd name="T26" fmla="*/ 89 w 138"/>
                <a:gd name="T27" fmla="*/ 129 h 140"/>
                <a:gd name="T28" fmla="*/ 115 w 138"/>
                <a:gd name="T29" fmla="*/ 112 h 140"/>
                <a:gd name="T30" fmla="*/ 128 w 138"/>
                <a:gd name="T31" fmla="*/ 94 h 140"/>
                <a:gd name="T32" fmla="*/ 137 w 138"/>
                <a:gd name="T33" fmla="*/ 66 h 140"/>
                <a:gd name="T34" fmla="*/ 134 w 138"/>
                <a:gd name="T35" fmla="*/ 3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140">
                  <a:moveTo>
                    <a:pt x="37" y="34"/>
                  </a:moveTo>
                  <a:cubicBezTo>
                    <a:pt x="51" y="19"/>
                    <a:pt x="71" y="14"/>
                    <a:pt x="88" y="17"/>
                  </a:cubicBezTo>
                  <a:cubicBezTo>
                    <a:pt x="101" y="36"/>
                    <a:pt x="97" y="64"/>
                    <a:pt x="77" y="84"/>
                  </a:cubicBezTo>
                  <a:cubicBezTo>
                    <a:pt x="63" y="98"/>
                    <a:pt x="43" y="104"/>
                    <a:pt x="26" y="100"/>
                  </a:cubicBezTo>
                  <a:cubicBezTo>
                    <a:pt x="13" y="81"/>
                    <a:pt x="17" y="53"/>
                    <a:pt x="37" y="34"/>
                  </a:cubicBezTo>
                  <a:close/>
                  <a:moveTo>
                    <a:pt x="134" y="37"/>
                  </a:moveTo>
                  <a:cubicBezTo>
                    <a:pt x="131" y="30"/>
                    <a:pt x="127" y="23"/>
                    <a:pt x="121" y="17"/>
                  </a:cubicBezTo>
                  <a:cubicBezTo>
                    <a:pt x="115" y="10"/>
                    <a:pt x="106" y="6"/>
                    <a:pt x="98" y="3"/>
                  </a:cubicBezTo>
                  <a:cubicBezTo>
                    <a:pt x="89" y="0"/>
                    <a:pt x="79" y="0"/>
                    <a:pt x="69" y="1"/>
                  </a:cubicBezTo>
                  <a:cubicBezTo>
                    <a:pt x="54" y="4"/>
                    <a:pt x="39" y="12"/>
                    <a:pt x="26" y="24"/>
                  </a:cubicBezTo>
                  <a:cubicBezTo>
                    <a:pt x="8" y="42"/>
                    <a:pt x="0" y="67"/>
                    <a:pt x="4" y="89"/>
                  </a:cubicBezTo>
                  <a:cubicBezTo>
                    <a:pt x="6" y="98"/>
                    <a:pt x="10" y="107"/>
                    <a:pt x="16" y="114"/>
                  </a:cubicBezTo>
                  <a:cubicBezTo>
                    <a:pt x="17" y="116"/>
                    <a:pt x="18" y="117"/>
                    <a:pt x="20" y="119"/>
                  </a:cubicBezTo>
                  <a:cubicBezTo>
                    <a:pt x="38" y="136"/>
                    <a:pt x="65" y="140"/>
                    <a:pt x="89" y="129"/>
                  </a:cubicBezTo>
                  <a:cubicBezTo>
                    <a:pt x="98" y="125"/>
                    <a:pt x="107" y="119"/>
                    <a:pt x="115" y="112"/>
                  </a:cubicBezTo>
                  <a:cubicBezTo>
                    <a:pt x="120" y="106"/>
                    <a:pt x="125" y="100"/>
                    <a:pt x="128" y="94"/>
                  </a:cubicBezTo>
                  <a:cubicBezTo>
                    <a:pt x="133" y="85"/>
                    <a:pt x="136" y="75"/>
                    <a:pt x="137" y="66"/>
                  </a:cubicBezTo>
                  <a:cubicBezTo>
                    <a:pt x="138" y="56"/>
                    <a:pt x="137" y="46"/>
                    <a:pt x="134" y="37"/>
                  </a:cubicBez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52">
              <a:extLst>
                <a:ext uri="{FF2B5EF4-FFF2-40B4-BE49-F238E27FC236}">
                  <a16:creationId xmlns:a16="http://schemas.microsoft.com/office/drawing/2014/main" id="{4A4E9FC3-6EFC-4C79-94F8-F5D3FC819334}"/>
                </a:ext>
              </a:extLst>
            </p:cNvPr>
            <p:cNvSpPr>
              <a:spLocks/>
            </p:cNvSpPr>
            <p:nvPr userDrawn="1"/>
          </p:nvSpPr>
          <p:spPr bwMode="auto">
            <a:xfrm>
              <a:off x="6878638" y="2432050"/>
              <a:ext cx="84138" cy="88900"/>
            </a:xfrm>
            <a:custGeom>
              <a:avLst/>
              <a:gdLst>
                <a:gd name="T0" fmla="*/ 78 w 102"/>
                <a:gd name="T1" fmla="*/ 85 h 107"/>
                <a:gd name="T2" fmla="*/ 19 w 102"/>
                <a:gd name="T3" fmla="*/ 99 h 107"/>
                <a:gd name="T4" fmla="*/ 5 w 102"/>
                <a:gd name="T5" fmla="*/ 90 h 107"/>
                <a:gd name="T6" fmla="*/ 0 w 102"/>
                <a:gd name="T7" fmla="*/ 83 h 107"/>
                <a:gd name="T8" fmla="*/ 51 w 102"/>
                <a:gd name="T9" fmla="*/ 67 h 107"/>
                <a:gd name="T10" fmla="*/ 62 w 102"/>
                <a:gd name="T11" fmla="*/ 0 h 107"/>
                <a:gd name="T12" fmla="*/ 83 w 102"/>
                <a:gd name="T13" fmla="*/ 12 h 107"/>
                <a:gd name="T14" fmla="*/ 84 w 102"/>
                <a:gd name="T15" fmla="*/ 12 h 107"/>
                <a:gd name="T16" fmla="*/ 78 w 102"/>
                <a:gd name="T17" fmla="*/ 8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78" y="85"/>
                  </a:moveTo>
                  <a:cubicBezTo>
                    <a:pt x="62" y="102"/>
                    <a:pt x="38" y="107"/>
                    <a:pt x="19" y="99"/>
                  </a:cubicBezTo>
                  <a:cubicBezTo>
                    <a:pt x="14" y="97"/>
                    <a:pt x="9" y="94"/>
                    <a:pt x="5" y="90"/>
                  </a:cubicBezTo>
                  <a:cubicBezTo>
                    <a:pt x="3" y="88"/>
                    <a:pt x="2" y="86"/>
                    <a:pt x="0" y="83"/>
                  </a:cubicBezTo>
                  <a:cubicBezTo>
                    <a:pt x="17" y="87"/>
                    <a:pt x="37" y="81"/>
                    <a:pt x="51" y="67"/>
                  </a:cubicBezTo>
                  <a:cubicBezTo>
                    <a:pt x="71" y="47"/>
                    <a:pt x="75" y="19"/>
                    <a:pt x="62" y="0"/>
                  </a:cubicBezTo>
                  <a:cubicBezTo>
                    <a:pt x="70" y="2"/>
                    <a:pt x="77" y="6"/>
                    <a:pt x="83" y="12"/>
                  </a:cubicBezTo>
                  <a:lnTo>
                    <a:pt x="84" y="12"/>
                  </a:lnTo>
                  <a:cubicBezTo>
                    <a:pt x="102" y="30"/>
                    <a:pt x="100" y="63"/>
                    <a:pt x="78" y="85"/>
                  </a:cubicBez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53">
              <a:extLst>
                <a:ext uri="{FF2B5EF4-FFF2-40B4-BE49-F238E27FC236}">
                  <a16:creationId xmlns:a16="http://schemas.microsoft.com/office/drawing/2014/main" id="{C85E4F6F-AFC9-4EAF-A457-88527C084157}"/>
                </a:ext>
              </a:extLst>
            </p:cNvPr>
            <p:cNvSpPr>
              <a:spLocks/>
            </p:cNvSpPr>
            <p:nvPr userDrawn="1"/>
          </p:nvSpPr>
          <p:spPr bwMode="auto">
            <a:xfrm>
              <a:off x="6823075" y="2336800"/>
              <a:ext cx="23813" cy="19050"/>
            </a:xfrm>
            <a:custGeom>
              <a:avLst/>
              <a:gdLst>
                <a:gd name="T0" fmla="*/ 30 w 30"/>
                <a:gd name="T1" fmla="*/ 16 h 23"/>
                <a:gd name="T2" fmla="*/ 6 w 30"/>
                <a:gd name="T3" fmla="*/ 0 h 23"/>
                <a:gd name="T4" fmla="*/ 7 w 30"/>
                <a:gd name="T5" fmla="*/ 12 h 23"/>
                <a:gd name="T6" fmla="*/ 30 w 30"/>
                <a:gd name="T7" fmla="*/ 16 h 23"/>
              </a:gdLst>
              <a:ahLst/>
              <a:cxnLst>
                <a:cxn ang="0">
                  <a:pos x="T0" y="T1"/>
                </a:cxn>
                <a:cxn ang="0">
                  <a:pos x="T2" y="T3"/>
                </a:cxn>
                <a:cxn ang="0">
                  <a:pos x="T4" y="T5"/>
                </a:cxn>
                <a:cxn ang="0">
                  <a:pos x="T6" y="T7"/>
                </a:cxn>
              </a:cxnLst>
              <a:rect l="0" t="0" r="r" b="b"/>
              <a:pathLst>
                <a:path w="30" h="23">
                  <a:moveTo>
                    <a:pt x="30" y="16"/>
                  </a:moveTo>
                  <a:lnTo>
                    <a:pt x="6" y="0"/>
                  </a:lnTo>
                  <a:cubicBezTo>
                    <a:pt x="6" y="0"/>
                    <a:pt x="0" y="1"/>
                    <a:pt x="7" y="12"/>
                  </a:cubicBezTo>
                  <a:cubicBezTo>
                    <a:pt x="15" y="23"/>
                    <a:pt x="30" y="16"/>
                    <a:pt x="30" y="16"/>
                  </a:cubicBezTo>
                  <a:close/>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54">
              <a:extLst>
                <a:ext uri="{FF2B5EF4-FFF2-40B4-BE49-F238E27FC236}">
                  <a16:creationId xmlns:a16="http://schemas.microsoft.com/office/drawing/2014/main" id="{7BBC005E-FA50-46E7-9DC3-0EFA19DE61F2}"/>
                </a:ext>
              </a:extLst>
            </p:cNvPr>
            <p:cNvSpPr>
              <a:spLocks/>
            </p:cNvSpPr>
            <p:nvPr userDrawn="1"/>
          </p:nvSpPr>
          <p:spPr bwMode="auto">
            <a:xfrm>
              <a:off x="6918325" y="2289175"/>
              <a:ext cx="26988" cy="25400"/>
            </a:xfrm>
            <a:custGeom>
              <a:avLst/>
              <a:gdLst>
                <a:gd name="T0" fmla="*/ 33 w 33"/>
                <a:gd name="T1" fmla="*/ 17 h 31"/>
                <a:gd name="T2" fmla="*/ 8 w 33"/>
                <a:gd name="T3" fmla="*/ 0 h 31"/>
                <a:gd name="T4" fmla="*/ 8 w 33"/>
                <a:gd name="T5" fmla="*/ 17 h 31"/>
                <a:gd name="T6" fmla="*/ 26 w 33"/>
                <a:gd name="T7" fmla="*/ 29 h 31"/>
                <a:gd name="T8" fmla="*/ 33 w 33"/>
                <a:gd name="T9" fmla="*/ 17 h 31"/>
              </a:gdLst>
              <a:ahLst/>
              <a:cxnLst>
                <a:cxn ang="0">
                  <a:pos x="T0" y="T1"/>
                </a:cxn>
                <a:cxn ang="0">
                  <a:pos x="T2" y="T3"/>
                </a:cxn>
                <a:cxn ang="0">
                  <a:pos x="T4" y="T5"/>
                </a:cxn>
                <a:cxn ang="0">
                  <a:pos x="T6" y="T7"/>
                </a:cxn>
                <a:cxn ang="0">
                  <a:pos x="T8" y="T9"/>
                </a:cxn>
              </a:cxnLst>
              <a:rect l="0" t="0" r="r" b="b"/>
              <a:pathLst>
                <a:path w="33" h="31">
                  <a:moveTo>
                    <a:pt x="33" y="17"/>
                  </a:moveTo>
                  <a:lnTo>
                    <a:pt x="8" y="0"/>
                  </a:lnTo>
                  <a:cubicBezTo>
                    <a:pt x="8" y="0"/>
                    <a:pt x="0" y="7"/>
                    <a:pt x="8" y="17"/>
                  </a:cubicBezTo>
                  <a:cubicBezTo>
                    <a:pt x="16" y="27"/>
                    <a:pt x="19" y="31"/>
                    <a:pt x="26" y="29"/>
                  </a:cubicBezTo>
                  <a:cubicBezTo>
                    <a:pt x="32" y="26"/>
                    <a:pt x="33" y="17"/>
                    <a:pt x="33" y="17"/>
                  </a:cubicBezTo>
                  <a:close/>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55">
              <a:extLst>
                <a:ext uri="{FF2B5EF4-FFF2-40B4-BE49-F238E27FC236}">
                  <a16:creationId xmlns:a16="http://schemas.microsoft.com/office/drawing/2014/main" id="{4CBCF953-0D71-473E-B2C1-F78282618B98}"/>
                </a:ext>
              </a:extLst>
            </p:cNvPr>
            <p:cNvSpPr>
              <a:spLocks/>
            </p:cNvSpPr>
            <p:nvPr userDrawn="1"/>
          </p:nvSpPr>
          <p:spPr bwMode="auto">
            <a:xfrm>
              <a:off x="7008813" y="2324100"/>
              <a:ext cx="31750" cy="26988"/>
            </a:xfrm>
            <a:custGeom>
              <a:avLst/>
              <a:gdLst>
                <a:gd name="T0" fmla="*/ 37 w 37"/>
                <a:gd name="T1" fmla="*/ 17 h 32"/>
                <a:gd name="T2" fmla="*/ 11 w 37"/>
                <a:gd name="T3" fmla="*/ 0 h 32"/>
                <a:gd name="T4" fmla="*/ 11 w 37"/>
                <a:gd name="T5" fmla="*/ 16 h 32"/>
                <a:gd name="T6" fmla="*/ 32 w 37"/>
                <a:gd name="T7" fmla="*/ 29 h 32"/>
                <a:gd name="T8" fmla="*/ 37 w 37"/>
                <a:gd name="T9" fmla="*/ 17 h 32"/>
              </a:gdLst>
              <a:ahLst/>
              <a:cxnLst>
                <a:cxn ang="0">
                  <a:pos x="T0" y="T1"/>
                </a:cxn>
                <a:cxn ang="0">
                  <a:pos x="T2" y="T3"/>
                </a:cxn>
                <a:cxn ang="0">
                  <a:pos x="T4" y="T5"/>
                </a:cxn>
                <a:cxn ang="0">
                  <a:pos x="T6" y="T7"/>
                </a:cxn>
                <a:cxn ang="0">
                  <a:pos x="T8" y="T9"/>
                </a:cxn>
              </a:cxnLst>
              <a:rect l="0" t="0" r="r" b="b"/>
              <a:pathLst>
                <a:path w="37" h="32">
                  <a:moveTo>
                    <a:pt x="37" y="17"/>
                  </a:moveTo>
                  <a:lnTo>
                    <a:pt x="11" y="0"/>
                  </a:lnTo>
                  <a:cubicBezTo>
                    <a:pt x="11" y="0"/>
                    <a:pt x="0" y="2"/>
                    <a:pt x="11" y="16"/>
                  </a:cubicBezTo>
                  <a:cubicBezTo>
                    <a:pt x="22" y="30"/>
                    <a:pt x="28" y="32"/>
                    <a:pt x="32" y="29"/>
                  </a:cubicBezTo>
                  <a:cubicBezTo>
                    <a:pt x="37" y="26"/>
                    <a:pt x="37" y="17"/>
                    <a:pt x="37" y="17"/>
                  </a:cubicBez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56">
              <a:extLst>
                <a:ext uri="{FF2B5EF4-FFF2-40B4-BE49-F238E27FC236}">
                  <a16:creationId xmlns:a16="http://schemas.microsoft.com/office/drawing/2014/main" id="{636B62E5-C116-431A-B82A-CD044D200929}"/>
                </a:ext>
              </a:extLst>
            </p:cNvPr>
            <p:cNvSpPr>
              <a:spLocks/>
            </p:cNvSpPr>
            <p:nvPr userDrawn="1"/>
          </p:nvSpPr>
          <p:spPr bwMode="auto">
            <a:xfrm>
              <a:off x="7043738" y="2417763"/>
              <a:ext cx="31750" cy="26988"/>
            </a:xfrm>
            <a:custGeom>
              <a:avLst/>
              <a:gdLst>
                <a:gd name="T0" fmla="*/ 37 w 39"/>
                <a:gd name="T1" fmla="*/ 18 h 34"/>
                <a:gd name="T2" fmla="*/ 10 w 39"/>
                <a:gd name="T3" fmla="*/ 0 h 34"/>
                <a:gd name="T4" fmla="*/ 10 w 39"/>
                <a:gd name="T5" fmla="*/ 15 h 34"/>
                <a:gd name="T6" fmla="*/ 36 w 39"/>
                <a:gd name="T7" fmla="*/ 32 h 34"/>
                <a:gd name="T8" fmla="*/ 37 w 39"/>
                <a:gd name="T9" fmla="*/ 18 h 34"/>
              </a:gdLst>
              <a:ahLst/>
              <a:cxnLst>
                <a:cxn ang="0">
                  <a:pos x="T0" y="T1"/>
                </a:cxn>
                <a:cxn ang="0">
                  <a:pos x="T2" y="T3"/>
                </a:cxn>
                <a:cxn ang="0">
                  <a:pos x="T4" y="T5"/>
                </a:cxn>
                <a:cxn ang="0">
                  <a:pos x="T6" y="T7"/>
                </a:cxn>
                <a:cxn ang="0">
                  <a:pos x="T8" y="T9"/>
                </a:cxn>
              </a:cxnLst>
              <a:rect l="0" t="0" r="r" b="b"/>
              <a:pathLst>
                <a:path w="39" h="34">
                  <a:moveTo>
                    <a:pt x="37" y="18"/>
                  </a:moveTo>
                  <a:lnTo>
                    <a:pt x="10" y="0"/>
                  </a:lnTo>
                  <a:cubicBezTo>
                    <a:pt x="10" y="0"/>
                    <a:pt x="0" y="2"/>
                    <a:pt x="10" y="15"/>
                  </a:cubicBezTo>
                  <a:cubicBezTo>
                    <a:pt x="19" y="29"/>
                    <a:pt x="32" y="34"/>
                    <a:pt x="36" y="32"/>
                  </a:cubicBezTo>
                  <a:cubicBezTo>
                    <a:pt x="39" y="30"/>
                    <a:pt x="37" y="18"/>
                    <a:pt x="37" y="18"/>
                  </a:cubicBez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57">
              <a:extLst>
                <a:ext uri="{FF2B5EF4-FFF2-40B4-BE49-F238E27FC236}">
                  <a16:creationId xmlns:a16="http://schemas.microsoft.com/office/drawing/2014/main" id="{D2945989-B2BF-4483-8419-5B4ED5BA8EFC}"/>
                </a:ext>
              </a:extLst>
            </p:cNvPr>
            <p:cNvSpPr>
              <a:spLocks/>
            </p:cNvSpPr>
            <p:nvPr userDrawn="1"/>
          </p:nvSpPr>
          <p:spPr bwMode="auto">
            <a:xfrm>
              <a:off x="6958013" y="2571750"/>
              <a:ext cx="26988" cy="25400"/>
            </a:xfrm>
            <a:custGeom>
              <a:avLst/>
              <a:gdLst>
                <a:gd name="T0" fmla="*/ 0 w 33"/>
                <a:gd name="T1" fmla="*/ 13 h 31"/>
                <a:gd name="T2" fmla="*/ 27 w 33"/>
                <a:gd name="T3" fmla="*/ 30 h 31"/>
                <a:gd name="T4" fmla="*/ 31 w 33"/>
                <a:gd name="T5" fmla="*/ 24 h 31"/>
                <a:gd name="T6" fmla="*/ 17 w 33"/>
                <a:gd name="T7" fmla="*/ 4 h 31"/>
                <a:gd name="T8" fmla="*/ 0 w 33"/>
                <a:gd name="T9" fmla="*/ 13 h 31"/>
              </a:gdLst>
              <a:ahLst/>
              <a:cxnLst>
                <a:cxn ang="0">
                  <a:pos x="T0" y="T1"/>
                </a:cxn>
                <a:cxn ang="0">
                  <a:pos x="T2" y="T3"/>
                </a:cxn>
                <a:cxn ang="0">
                  <a:pos x="T4" y="T5"/>
                </a:cxn>
                <a:cxn ang="0">
                  <a:pos x="T6" y="T7"/>
                </a:cxn>
                <a:cxn ang="0">
                  <a:pos x="T8" y="T9"/>
                </a:cxn>
              </a:cxnLst>
              <a:rect l="0" t="0" r="r" b="b"/>
              <a:pathLst>
                <a:path w="33" h="31">
                  <a:moveTo>
                    <a:pt x="0" y="13"/>
                  </a:moveTo>
                  <a:lnTo>
                    <a:pt x="27" y="30"/>
                  </a:lnTo>
                  <a:cubicBezTo>
                    <a:pt x="27" y="30"/>
                    <a:pt x="33" y="31"/>
                    <a:pt x="31" y="24"/>
                  </a:cubicBezTo>
                  <a:cubicBezTo>
                    <a:pt x="29" y="17"/>
                    <a:pt x="27" y="8"/>
                    <a:pt x="17" y="4"/>
                  </a:cubicBezTo>
                  <a:cubicBezTo>
                    <a:pt x="7" y="0"/>
                    <a:pt x="0" y="13"/>
                    <a:pt x="0" y="13"/>
                  </a:cubicBez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58">
              <a:extLst>
                <a:ext uri="{FF2B5EF4-FFF2-40B4-BE49-F238E27FC236}">
                  <a16:creationId xmlns:a16="http://schemas.microsoft.com/office/drawing/2014/main" id="{6AFE95B0-1090-4B7E-875C-6A3A519B544C}"/>
                </a:ext>
              </a:extLst>
            </p:cNvPr>
            <p:cNvSpPr>
              <a:spLocks/>
            </p:cNvSpPr>
            <p:nvPr userDrawn="1"/>
          </p:nvSpPr>
          <p:spPr bwMode="auto">
            <a:xfrm>
              <a:off x="6851650" y="2616200"/>
              <a:ext cx="38100" cy="28575"/>
            </a:xfrm>
            <a:custGeom>
              <a:avLst/>
              <a:gdLst>
                <a:gd name="T0" fmla="*/ 46 w 46"/>
                <a:gd name="T1" fmla="*/ 28 h 34"/>
                <a:gd name="T2" fmla="*/ 42 w 46"/>
                <a:gd name="T3" fmla="*/ 34 h 34"/>
                <a:gd name="T4" fmla="*/ 8 w 46"/>
                <a:gd name="T5" fmla="*/ 13 h 34"/>
                <a:gd name="T6" fmla="*/ 19 w 46"/>
                <a:gd name="T7" fmla="*/ 1 h 34"/>
                <a:gd name="T8" fmla="*/ 46 w 46"/>
                <a:gd name="T9" fmla="*/ 28 h 34"/>
              </a:gdLst>
              <a:ahLst/>
              <a:cxnLst>
                <a:cxn ang="0">
                  <a:pos x="T0" y="T1"/>
                </a:cxn>
                <a:cxn ang="0">
                  <a:pos x="T2" y="T3"/>
                </a:cxn>
                <a:cxn ang="0">
                  <a:pos x="T4" y="T5"/>
                </a:cxn>
                <a:cxn ang="0">
                  <a:pos x="T6" y="T7"/>
                </a:cxn>
                <a:cxn ang="0">
                  <a:pos x="T8" y="T9"/>
                </a:cxn>
              </a:cxnLst>
              <a:rect l="0" t="0" r="r" b="b"/>
              <a:pathLst>
                <a:path w="46" h="34">
                  <a:moveTo>
                    <a:pt x="46" y="28"/>
                  </a:moveTo>
                  <a:lnTo>
                    <a:pt x="42" y="34"/>
                  </a:lnTo>
                  <a:lnTo>
                    <a:pt x="8" y="13"/>
                  </a:lnTo>
                  <a:cubicBezTo>
                    <a:pt x="8" y="13"/>
                    <a:pt x="0" y="0"/>
                    <a:pt x="19" y="1"/>
                  </a:cubicBezTo>
                  <a:cubicBezTo>
                    <a:pt x="38" y="1"/>
                    <a:pt x="46" y="28"/>
                    <a:pt x="46" y="28"/>
                  </a:cubicBezTo>
                  <a:close/>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59">
              <a:extLst>
                <a:ext uri="{FF2B5EF4-FFF2-40B4-BE49-F238E27FC236}">
                  <a16:creationId xmlns:a16="http://schemas.microsoft.com/office/drawing/2014/main" id="{798B46A1-3BF6-44A8-B146-16B9E323F64A}"/>
                </a:ext>
              </a:extLst>
            </p:cNvPr>
            <p:cNvSpPr>
              <a:spLocks/>
            </p:cNvSpPr>
            <p:nvPr userDrawn="1"/>
          </p:nvSpPr>
          <p:spPr bwMode="auto">
            <a:xfrm>
              <a:off x="6762750" y="2565400"/>
              <a:ext cx="47625" cy="42863"/>
            </a:xfrm>
            <a:custGeom>
              <a:avLst/>
              <a:gdLst>
                <a:gd name="T0" fmla="*/ 31 w 58"/>
                <a:gd name="T1" fmla="*/ 53 h 53"/>
                <a:gd name="T2" fmla="*/ 0 w 58"/>
                <a:gd name="T3" fmla="*/ 31 h 53"/>
                <a:gd name="T4" fmla="*/ 36 w 58"/>
                <a:gd name="T5" fmla="*/ 0 h 53"/>
                <a:gd name="T6" fmla="*/ 53 w 58"/>
                <a:gd name="T7" fmla="*/ 36 h 53"/>
                <a:gd name="T8" fmla="*/ 31 w 58"/>
                <a:gd name="T9" fmla="*/ 53 h 53"/>
              </a:gdLst>
              <a:ahLst/>
              <a:cxnLst>
                <a:cxn ang="0">
                  <a:pos x="T0" y="T1"/>
                </a:cxn>
                <a:cxn ang="0">
                  <a:pos x="T2" y="T3"/>
                </a:cxn>
                <a:cxn ang="0">
                  <a:pos x="T4" y="T5"/>
                </a:cxn>
                <a:cxn ang="0">
                  <a:pos x="T6" y="T7"/>
                </a:cxn>
                <a:cxn ang="0">
                  <a:pos x="T8" y="T9"/>
                </a:cxn>
              </a:cxnLst>
              <a:rect l="0" t="0" r="r" b="b"/>
              <a:pathLst>
                <a:path w="58" h="53">
                  <a:moveTo>
                    <a:pt x="31" y="53"/>
                  </a:moveTo>
                  <a:lnTo>
                    <a:pt x="0" y="31"/>
                  </a:lnTo>
                  <a:lnTo>
                    <a:pt x="36" y="0"/>
                  </a:lnTo>
                  <a:cubicBezTo>
                    <a:pt x="36" y="0"/>
                    <a:pt x="58" y="28"/>
                    <a:pt x="53" y="36"/>
                  </a:cubicBezTo>
                  <a:cubicBezTo>
                    <a:pt x="49" y="45"/>
                    <a:pt x="31" y="53"/>
                    <a:pt x="31" y="53"/>
                  </a:cubicBez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60">
              <a:extLst>
                <a:ext uri="{FF2B5EF4-FFF2-40B4-BE49-F238E27FC236}">
                  <a16:creationId xmlns:a16="http://schemas.microsoft.com/office/drawing/2014/main" id="{0E2C59E7-3ED4-4FF5-9DEC-ED3334AFB61E}"/>
                </a:ext>
              </a:extLst>
            </p:cNvPr>
            <p:cNvSpPr>
              <a:spLocks/>
            </p:cNvSpPr>
            <p:nvPr userDrawn="1"/>
          </p:nvSpPr>
          <p:spPr bwMode="auto">
            <a:xfrm>
              <a:off x="6734175" y="2473325"/>
              <a:ext cx="42863" cy="44450"/>
            </a:xfrm>
            <a:custGeom>
              <a:avLst/>
              <a:gdLst>
                <a:gd name="T0" fmla="*/ 27 w 53"/>
                <a:gd name="T1" fmla="*/ 54 h 54"/>
                <a:gd name="T2" fmla="*/ 0 w 53"/>
                <a:gd name="T3" fmla="*/ 36 h 54"/>
                <a:gd name="T4" fmla="*/ 31 w 53"/>
                <a:gd name="T5" fmla="*/ 0 h 54"/>
                <a:gd name="T6" fmla="*/ 49 w 53"/>
                <a:gd name="T7" fmla="*/ 36 h 54"/>
                <a:gd name="T8" fmla="*/ 27 w 53"/>
                <a:gd name="T9" fmla="*/ 54 h 54"/>
              </a:gdLst>
              <a:ahLst/>
              <a:cxnLst>
                <a:cxn ang="0">
                  <a:pos x="T0" y="T1"/>
                </a:cxn>
                <a:cxn ang="0">
                  <a:pos x="T2" y="T3"/>
                </a:cxn>
                <a:cxn ang="0">
                  <a:pos x="T4" y="T5"/>
                </a:cxn>
                <a:cxn ang="0">
                  <a:pos x="T6" y="T7"/>
                </a:cxn>
                <a:cxn ang="0">
                  <a:pos x="T8" y="T9"/>
                </a:cxn>
              </a:cxnLst>
              <a:rect l="0" t="0" r="r" b="b"/>
              <a:pathLst>
                <a:path w="53" h="54">
                  <a:moveTo>
                    <a:pt x="27" y="54"/>
                  </a:moveTo>
                  <a:lnTo>
                    <a:pt x="0" y="36"/>
                  </a:lnTo>
                  <a:lnTo>
                    <a:pt x="31" y="0"/>
                  </a:lnTo>
                  <a:cubicBezTo>
                    <a:pt x="31" y="0"/>
                    <a:pt x="53" y="28"/>
                    <a:pt x="49" y="36"/>
                  </a:cubicBezTo>
                  <a:cubicBezTo>
                    <a:pt x="45" y="45"/>
                    <a:pt x="27" y="54"/>
                    <a:pt x="27" y="54"/>
                  </a:cubicBezTo>
                </a:path>
              </a:pathLst>
            </a:custGeom>
            <a:solidFill>
              <a:srgbClr val="2050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61">
              <a:extLst>
                <a:ext uri="{FF2B5EF4-FFF2-40B4-BE49-F238E27FC236}">
                  <a16:creationId xmlns:a16="http://schemas.microsoft.com/office/drawing/2014/main" id="{87443D1B-6B65-4885-9A9D-9813677DCE55}"/>
                </a:ext>
              </a:extLst>
            </p:cNvPr>
            <p:cNvSpPr>
              <a:spLocks/>
            </p:cNvSpPr>
            <p:nvPr userDrawn="1"/>
          </p:nvSpPr>
          <p:spPr bwMode="auto">
            <a:xfrm>
              <a:off x="6934200" y="2314575"/>
              <a:ext cx="103188" cy="103188"/>
            </a:xfrm>
            <a:custGeom>
              <a:avLst/>
              <a:gdLst>
                <a:gd name="T0" fmla="*/ 84 w 126"/>
                <a:gd name="T1" fmla="*/ 104 h 126"/>
                <a:gd name="T2" fmla="*/ 17 w 126"/>
                <a:gd name="T3" fmla="*/ 109 h 126"/>
                <a:gd name="T4" fmla="*/ 22 w 126"/>
                <a:gd name="T5" fmla="*/ 43 h 126"/>
                <a:gd name="T6" fmla="*/ 43 w 126"/>
                <a:gd name="T7" fmla="*/ 22 h 126"/>
                <a:gd name="T8" fmla="*/ 109 w 126"/>
                <a:gd name="T9" fmla="*/ 17 h 126"/>
                <a:gd name="T10" fmla="*/ 105 w 126"/>
                <a:gd name="T11" fmla="*/ 83 h 126"/>
                <a:gd name="T12" fmla="*/ 84 w 126"/>
                <a:gd name="T13" fmla="*/ 104 h 126"/>
              </a:gdLst>
              <a:ahLst/>
              <a:cxnLst>
                <a:cxn ang="0">
                  <a:pos x="T0" y="T1"/>
                </a:cxn>
                <a:cxn ang="0">
                  <a:pos x="T2" y="T3"/>
                </a:cxn>
                <a:cxn ang="0">
                  <a:pos x="T4" y="T5"/>
                </a:cxn>
                <a:cxn ang="0">
                  <a:pos x="T6" y="T7"/>
                </a:cxn>
                <a:cxn ang="0">
                  <a:pos x="T8" y="T9"/>
                </a:cxn>
                <a:cxn ang="0">
                  <a:pos x="T10" y="T11"/>
                </a:cxn>
                <a:cxn ang="0">
                  <a:pos x="T12" y="T13"/>
                </a:cxn>
              </a:cxnLst>
              <a:rect l="0" t="0" r="r" b="b"/>
              <a:pathLst>
                <a:path w="126" h="126">
                  <a:moveTo>
                    <a:pt x="84" y="104"/>
                  </a:moveTo>
                  <a:cubicBezTo>
                    <a:pt x="64" y="124"/>
                    <a:pt x="34" y="126"/>
                    <a:pt x="17" y="109"/>
                  </a:cubicBezTo>
                  <a:cubicBezTo>
                    <a:pt x="0" y="92"/>
                    <a:pt x="2" y="62"/>
                    <a:pt x="22" y="43"/>
                  </a:cubicBezTo>
                  <a:lnTo>
                    <a:pt x="43" y="22"/>
                  </a:lnTo>
                  <a:cubicBezTo>
                    <a:pt x="62" y="2"/>
                    <a:pt x="92" y="0"/>
                    <a:pt x="109" y="17"/>
                  </a:cubicBezTo>
                  <a:cubicBezTo>
                    <a:pt x="126" y="34"/>
                    <a:pt x="124" y="64"/>
                    <a:pt x="105" y="83"/>
                  </a:cubicBezTo>
                  <a:lnTo>
                    <a:pt x="84" y="104"/>
                  </a:lnTo>
                  <a:close/>
                </a:path>
              </a:pathLst>
            </a:custGeom>
            <a:solidFill>
              <a:srgbClr val="42B8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62">
              <a:extLst>
                <a:ext uri="{FF2B5EF4-FFF2-40B4-BE49-F238E27FC236}">
                  <a16:creationId xmlns:a16="http://schemas.microsoft.com/office/drawing/2014/main" id="{350590DA-9CD0-4B33-8041-9F609413319A}"/>
                </a:ext>
              </a:extLst>
            </p:cNvPr>
            <p:cNvSpPr>
              <a:spLocks/>
            </p:cNvSpPr>
            <p:nvPr userDrawn="1"/>
          </p:nvSpPr>
          <p:spPr bwMode="auto">
            <a:xfrm>
              <a:off x="6964363" y="2409825"/>
              <a:ext cx="103188" cy="82550"/>
            </a:xfrm>
            <a:custGeom>
              <a:avLst/>
              <a:gdLst>
                <a:gd name="T0" fmla="*/ 46 w 125"/>
                <a:gd name="T1" fmla="*/ 97 h 99"/>
                <a:gd name="T2" fmla="*/ 2 w 125"/>
                <a:gd name="T3" fmla="*/ 53 h 99"/>
                <a:gd name="T4" fmla="*/ 52 w 125"/>
                <a:gd name="T5" fmla="*/ 3 h 99"/>
                <a:gd name="T6" fmla="*/ 80 w 125"/>
                <a:gd name="T7" fmla="*/ 1 h 99"/>
                <a:gd name="T8" fmla="*/ 124 w 125"/>
                <a:gd name="T9" fmla="*/ 45 h 99"/>
                <a:gd name="T10" fmla="*/ 73 w 125"/>
                <a:gd name="T11" fmla="*/ 95 h 99"/>
                <a:gd name="T12" fmla="*/ 46 w 125"/>
                <a:gd name="T13" fmla="*/ 97 h 99"/>
              </a:gdLst>
              <a:ahLst/>
              <a:cxnLst>
                <a:cxn ang="0">
                  <a:pos x="T0" y="T1"/>
                </a:cxn>
                <a:cxn ang="0">
                  <a:pos x="T2" y="T3"/>
                </a:cxn>
                <a:cxn ang="0">
                  <a:pos x="T4" y="T5"/>
                </a:cxn>
                <a:cxn ang="0">
                  <a:pos x="T6" y="T7"/>
                </a:cxn>
                <a:cxn ang="0">
                  <a:pos x="T8" y="T9"/>
                </a:cxn>
                <a:cxn ang="0">
                  <a:pos x="T10" y="T11"/>
                </a:cxn>
                <a:cxn ang="0">
                  <a:pos x="T12" y="T13"/>
                </a:cxn>
              </a:cxnLst>
              <a:rect l="0" t="0" r="r" b="b"/>
              <a:pathLst>
                <a:path w="125" h="99">
                  <a:moveTo>
                    <a:pt x="46" y="97"/>
                  </a:moveTo>
                  <a:cubicBezTo>
                    <a:pt x="20" y="99"/>
                    <a:pt x="0" y="79"/>
                    <a:pt x="2" y="53"/>
                  </a:cubicBezTo>
                  <a:cubicBezTo>
                    <a:pt x="4" y="28"/>
                    <a:pt x="26" y="5"/>
                    <a:pt x="52" y="3"/>
                  </a:cubicBezTo>
                  <a:lnTo>
                    <a:pt x="80" y="1"/>
                  </a:lnTo>
                  <a:cubicBezTo>
                    <a:pt x="106" y="0"/>
                    <a:pt x="125" y="19"/>
                    <a:pt x="124" y="45"/>
                  </a:cubicBezTo>
                  <a:cubicBezTo>
                    <a:pt x="122" y="71"/>
                    <a:pt x="99" y="93"/>
                    <a:pt x="73" y="95"/>
                  </a:cubicBezTo>
                  <a:lnTo>
                    <a:pt x="46" y="97"/>
                  </a:lnTo>
                </a:path>
              </a:pathLst>
            </a:custGeom>
            <a:solidFill>
              <a:srgbClr val="42B8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63">
              <a:extLst>
                <a:ext uri="{FF2B5EF4-FFF2-40B4-BE49-F238E27FC236}">
                  <a16:creationId xmlns:a16="http://schemas.microsoft.com/office/drawing/2014/main" id="{392495D9-9DBD-4CD1-AE5B-54F92F5038E9}"/>
                </a:ext>
              </a:extLst>
            </p:cNvPr>
            <p:cNvSpPr>
              <a:spLocks/>
            </p:cNvSpPr>
            <p:nvPr userDrawn="1"/>
          </p:nvSpPr>
          <p:spPr bwMode="auto">
            <a:xfrm>
              <a:off x="6923088" y="2490788"/>
              <a:ext cx="101600" cy="100013"/>
            </a:xfrm>
            <a:custGeom>
              <a:avLst/>
              <a:gdLst>
                <a:gd name="T0" fmla="*/ 17 w 123"/>
                <a:gd name="T1" fmla="*/ 88 h 123"/>
                <a:gd name="T2" fmla="*/ 21 w 123"/>
                <a:gd name="T3" fmla="*/ 22 h 123"/>
                <a:gd name="T4" fmla="*/ 88 w 123"/>
                <a:gd name="T5" fmla="*/ 17 h 123"/>
                <a:gd name="T6" fmla="*/ 106 w 123"/>
                <a:gd name="T7" fmla="*/ 35 h 123"/>
                <a:gd name="T8" fmla="*/ 101 w 123"/>
                <a:gd name="T9" fmla="*/ 102 h 123"/>
                <a:gd name="T10" fmla="*/ 35 w 123"/>
                <a:gd name="T11" fmla="*/ 106 h 123"/>
                <a:gd name="T12" fmla="*/ 17 w 123"/>
                <a:gd name="T13" fmla="*/ 88 h 123"/>
              </a:gdLst>
              <a:ahLst/>
              <a:cxnLst>
                <a:cxn ang="0">
                  <a:pos x="T0" y="T1"/>
                </a:cxn>
                <a:cxn ang="0">
                  <a:pos x="T2" y="T3"/>
                </a:cxn>
                <a:cxn ang="0">
                  <a:pos x="T4" y="T5"/>
                </a:cxn>
                <a:cxn ang="0">
                  <a:pos x="T6" y="T7"/>
                </a:cxn>
                <a:cxn ang="0">
                  <a:pos x="T8" y="T9"/>
                </a:cxn>
                <a:cxn ang="0">
                  <a:pos x="T10" y="T11"/>
                </a:cxn>
                <a:cxn ang="0">
                  <a:pos x="T12" y="T13"/>
                </a:cxn>
              </a:cxnLst>
              <a:rect l="0" t="0" r="r" b="b"/>
              <a:pathLst>
                <a:path w="123" h="123">
                  <a:moveTo>
                    <a:pt x="17" y="88"/>
                  </a:moveTo>
                  <a:cubicBezTo>
                    <a:pt x="0" y="71"/>
                    <a:pt x="2" y="41"/>
                    <a:pt x="21" y="22"/>
                  </a:cubicBezTo>
                  <a:cubicBezTo>
                    <a:pt x="41" y="2"/>
                    <a:pt x="71" y="0"/>
                    <a:pt x="88" y="17"/>
                  </a:cubicBezTo>
                  <a:lnTo>
                    <a:pt x="106" y="35"/>
                  </a:lnTo>
                  <a:cubicBezTo>
                    <a:pt x="123" y="52"/>
                    <a:pt x="121" y="82"/>
                    <a:pt x="101" y="102"/>
                  </a:cubicBezTo>
                  <a:cubicBezTo>
                    <a:pt x="82" y="121"/>
                    <a:pt x="52" y="123"/>
                    <a:pt x="35" y="106"/>
                  </a:cubicBezTo>
                  <a:lnTo>
                    <a:pt x="17" y="88"/>
                  </a:lnTo>
                  <a:close/>
                </a:path>
              </a:pathLst>
            </a:custGeom>
            <a:solidFill>
              <a:srgbClr val="42B8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64">
              <a:extLst>
                <a:ext uri="{FF2B5EF4-FFF2-40B4-BE49-F238E27FC236}">
                  <a16:creationId xmlns:a16="http://schemas.microsoft.com/office/drawing/2014/main" id="{FBDCC458-C971-4EF6-A986-13956429966B}"/>
                </a:ext>
              </a:extLst>
            </p:cNvPr>
            <p:cNvSpPr>
              <a:spLocks/>
            </p:cNvSpPr>
            <p:nvPr userDrawn="1"/>
          </p:nvSpPr>
          <p:spPr bwMode="auto">
            <a:xfrm>
              <a:off x="6843713" y="2532063"/>
              <a:ext cx="80963" cy="101600"/>
            </a:xfrm>
            <a:custGeom>
              <a:avLst/>
              <a:gdLst>
                <a:gd name="T0" fmla="*/ 4 w 100"/>
                <a:gd name="T1" fmla="*/ 52 h 125"/>
                <a:gd name="T2" fmla="*/ 54 w 100"/>
                <a:gd name="T3" fmla="*/ 1 h 125"/>
                <a:gd name="T4" fmla="*/ 98 w 100"/>
                <a:gd name="T5" fmla="*/ 45 h 125"/>
                <a:gd name="T6" fmla="*/ 96 w 100"/>
                <a:gd name="T7" fmla="*/ 73 h 125"/>
                <a:gd name="T8" fmla="*/ 46 w 100"/>
                <a:gd name="T9" fmla="*/ 123 h 125"/>
                <a:gd name="T10" fmla="*/ 2 w 100"/>
                <a:gd name="T11" fmla="*/ 79 h 125"/>
                <a:gd name="T12" fmla="*/ 4 w 100"/>
                <a:gd name="T13" fmla="*/ 52 h 125"/>
              </a:gdLst>
              <a:ahLst/>
              <a:cxnLst>
                <a:cxn ang="0">
                  <a:pos x="T0" y="T1"/>
                </a:cxn>
                <a:cxn ang="0">
                  <a:pos x="T2" y="T3"/>
                </a:cxn>
                <a:cxn ang="0">
                  <a:pos x="T4" y="T5"/>
                </a:cxn>
                <a:cxn ang="0">
                  <a:pos x="T6" y="T7"/>
                </a:cxn>
                <a:cxn ang="0">
                  <a:pos x="T8" y="T9"/>
                </a:cxn>
                <a:cxn ang="0">
                  <a:pos x="T10" y="T11"/>
                </a:cxn>
                <a:cxn ang="0">
                  <a:pos x="T12" y="T13"/>
                </a:cxn>
              </a:cxnLst>
              <a:rect l="0" t="0" r="r" b="b"/>
              <a:pathLst>
                <a:path w="100" h="125">
                  <a:moveTo>
                    <a:pt x="4" y="52"/>
                  </a:moveTo>
                  <a:cubicBezTo>
                    <a:pt x="6" y="26"/>
                    <a:pt x="28" y="3"/>
                    <a:pt x="54" y="1"/>
                  </a:cubicBezTo>
                  <a:cubicBezTo>
                    <a:pt x="80" y="0"/>
                    <a:pt x="100" y="19"/>
                    <a:pt x="98" y="45"/>
                  </a:cubicBezTo>
                  <a:lnTo>
                    <a:pt x="96" y="73"/>
                  </a:lnTo>
                  <a:cubicBezTo>
                    <a:pt x="94" y="99"/>
                    <a:pt x="72" y="121"/>
                    <a:pt x="46" y="123"/>
                  </a:cubicBezTo>
                  <a:cubicBezTo>
                    <a:pt x="20" y="125"/>
                    <a:pt x="0" y="105"/>
                    <a:pt x="2" y="79"/>
                  </a:cubicBezTo>
                  <a:lnTo>
                    <a:pt x="4" y="52"/>
                  </a:lnTo>
                  <a:close/>
                </a:path>
              </a:pathLst>
            </a:custGeom>
            <a:solidFill>
              <a:srgbClr val="42B8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65">
              <a:extLst>
                <a:ext uri="{FF2B5EF4-FFF2-40B4-BE49-F238E27FC236}">
                  <a16:creationId xmlns:a16="http://schemas.microsoft.com/office/drawing/2014/main" id="{7D733C16-6B8F-4D5B-884C-4B91361867B6}"/>
                </a:ext>
              </a:extLst>
            </p:cNvPr>
            <p:cNvSpPr>
              <a:spLocks/>
            </p:cNvSpPr>
            <p:nvPr userDrawn="1"/>
          </p:nvSpPr>
          <p:spPr bwMode="auto">
            <a:xfrm>
              <a:off x="6746875" y="2500313"/>
              <a:ext cx="104775" cy="104775"/>
            </a:xfrm>
            <a:custGeom>
              <a:avLst/>
              <a:gdLst>
                <a:gd name="T0" fmla="*/ 43 w 127"/>
                <a:gd name="T1" fmla="*/ 22 h 127"/>
                <a:gd name="T2" fmla="*/ 110 w 127"/>
                <a:gd name="T3" fmla="*/ 18 h 127"/>
                <a:gd name="T4" fmla="*/ 105 w 127"/>
                <a:gd name="T5" fmla="*/ 84 h 127"/>
                <a:gd name="T6" fmla="*/ 84 w 127"/>
                <a:gd name="T7" fmla="*/ 105 h 127"/>
                <a:gd name="T8" fmla="*/ 18 w 127"/>
                <a:gd name="T9" fmla="*/ 109 h 127"/>
                <a:gd name="T10" fmla="*/ 22 w 127"/>
                <a:gd name="T11" fmla="*/ 43 h 127"/>
                <a:gd name="T12" fmla="*/ 43 w 127"/>
                <a:gd name="T13" fmla="*/ 22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43" y="22"/>
                  </a:moveTo>
                  <a:cubicBezTo>
                    <a:pt x="63" y="3"/>
                    <a:pt x="92" y="0"/>
                    <a:pt x="110" y="18"/>
                  </a:cubicBezTo>
                  <a:cubicBezTo>
                    <a:pt x="127" y="35"/>
                    <a:pt x="125" y="64"/>
                    <a:pt x="105" y="84"/>
                  </a:cubicBezTo>
                  <a:lnTo>
                    <a:pt x="84" y="105"/>
                  </a:lnTo>
                  <a:cubicBezTo>
                    <a:pt x="64" y="124"/>
                    <a:pt x="35" y="127"/>
                    <a:pt x="18" y="109"/>
                  </a:cubicBezTo>
                  <a:cubicBezTo>
                    <a:pt x="0" y="92"/>
                    <a:pt x="3" y="63"/>
                    <a:pt x="22" y="43"/>
                  </a:cubicBezTo>
                  <a:lnTo>
                    <a:pt x="43" y="22"/>
                  </a:lnTo>
                  <a:close/>
                </a:path>
              </a:pathLst>
            </a:custGeom>
            <a:solidFill>
              <a:srgbClr val="42B8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66">
              <a:extLst>
                <a:ext uri="{FF2B5EF4-FFF2-40B4-BE49-F238E27FC236}">
                  <a16:creationId xmlns:a16="http://schemas.microsoft.com/office/drawing/2014/main" id="{B0213CC2-BAEC-44FF-AE8A-EED60C154337}"/>
                </a:ext>
              </a:extLst>
            </p:cNvPr>
            <p:cNvSpPr>
              <a:spLocks/>
            </p:cNvSpPr>
            <p:nvPr userDrawn="1"/>
          </p:nvSpPr>
          <p:spPr bwMode="auto">
            <a:xfrm>
              <a:off x="6718300" y="2427288"/>
              <a:ext cx="101600" cy="80963"/>
            </a:xfrm>
            <a:custGeom>
              <a:avLst/>
              <a:gdLst>
                <a:gd name="T0" fmla="*/ 80 w 125"/>
                <a:gd name="T1" fmla="*/ 2 h 100"/>
                <a:gd name="T2" fmla="*/ 124 w 125"/>
                <a:gd name="T3" fmla="*/ 46 h 100"/>
                <a:gd name="T4" fmla="*/ 73 w 125"/>
                <a:gd name="T5" fmla="*/ 96 h 100"/>
                <a:gd name="T6" fmla="*/ 46 w 125"/>
                <a:gd name="T7" fmla="*/ 98 h 100"/>
                <a:gd name="T8" fmla="*/ 2 w 125"/>
                <a:gd name="T9" fmla="*/ 54 h 100"/>
                <a:gd name="T10" fmla="*/ 52 w 125"/>
                <a:gd name="T11" fmla="*/ 4 h 100"/>
                <a:gd name="T12" fmla="*/ 80 w 125"/>
                <a:gd name="T13" fmla="*/ 2 h 100"/>
              </a:gdLst>
              <a:ahLst/>
              <a:cxnLst>
                <a:cxn ang="0">
                  <a:pos x="T0" y="T1"/>
                </a:cxn>
                <a:cxn ang="0">
                  <a:pos x="T2" y="T3"/>
                </a:cxn>
                <a:cxn ang="0">
                  <a:pos x="T4" y="T5"/>
                </a:cxn>
                <a:cxn ang="0">
                  <a:pos x="T6" y="T7"/>
                </a:cxn>
                <a:cxn ang="0">
                  <a:pos x="T8" y="T9"/>
                </a:cxn>
                <a:cxn ang="0">
                  <a:pos x="T10" y="T11"/>
                </a:cxn>
                <a:cxn ang="0">
                  <a:pos x="T12" y="T13"/>
                </a:cxn>
              </a:cxnLst>
              <a:rect l="0" t="0" r="r" b="b"/>
              <a:pathLst>
                <a:path w="125" h="100">
                  <a:moveTo>
                    <a:pt x="80" y="2"/>
                  </a:moveTo>
                  <a:cubicBezTo>
                    <a:pt x="106" y="0"/>
                    <a:pt x="125" y="20"/>
                    <a:pt x="124" y="46"/>
                  </a:cubicBezTo>
                  <a:cubicBezTo>
                    <a:pt x="122" y="72"/>
                    <a:pt x="99" y="94"/>
                    <a:pt x="73" y="96"/>
                  </a:cubicBezTo>
                  <a:lnTo>
                    <a:pt x="46" y="98"/>
                  </a:lnTo>
                  <a:cubicBezTo>
                    <a:pt x="20" y="100"/>
                    <a:pt x="0" y="80"/>
                    <a:pt x="2" y="54"/>
                  </a:cubicBezTo>
                  <a:cubicBezTo>
                    <a:pt x="4" y="28"/>
                    <a:pt x="26" y="6"/>
                    <a:pt x="52" y="4"/>
                  </a:cubicBezTo>
                  <a:lnTo>
                    <a:pt x="80" y="2"/>
                  </a:lnTo>
                  <a:close/>
                </a:path>
              </a:pathLst>
            </a:custGeom>
            <a:solidFill>
              <a:srgbClr val="42B8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67">
              <a:extLst>
                <a:ext uri="{FF2B5EF4-FFF2-40B4-BE49-F238E27FC236}">
                  <a16:creationId xmlns:a16="http://schemas.microsoft.com/office/drawing/2014/main" id="{5E755852-50A1-425E-A8AE-3A81E74FD008}"/>
                </a:ext>
              </a:extLst>
            </p:cNvPr>
            <p:cNvSpPr>
              <a:spLocks/>
            </p:cNvSpPr>
            <p:nvPr userDrawn="1"/>
          </p:nvSpPr>
          <p:spPr bwMode="auto">
            <a:xfrm>
              <a:off x="6761163" y="2327275"/>
              <a:ext cx="101600" cy="101600"/>
            </a:xfrm>
            <a:custGeom>
              <a:avLst/>
              <a:gdLst>
                <a:gd name="T0" fmla="*/ 106 w 123"/>
                <a:gd name="T1" fmla="*/ 35 h 123"/>
                <a:gd name="T2" fmla="*/ 101 w 123"/>
                <a:gd name="T3" fmla="*/ 102 h 123"/>
                <a:gd name="T4" fmla="*/ 35 w 123"/>
                <a:gd name="T5" fmla="*/ 106 h 123"/>
                <a:gd name="T6" fmla="*/ 17 w 123"/>
                <a:gd name="T7" fmla="*/ 88 h 123"/>
                <a:gd name="T8" fmla="*/ 21 w 123"/>
                <a:gd name="T9" fmla="*/ 22 h 123"/>
                <a:gd name="T10" fmla="*/ 88 w 123"/>
                <a:gd name="T11" fmla="*/ 17 h 123"/>
                <a:gd name="T12" fmla="*/ 106 w 123"/>
                <a:gd name="T13" fmla="*/ 35 h 123"/>
              </a:gdLst>
              <a:ahLst/>
              <a:cxnLst>
                <a:cxn ang="0">
                  <a:pos x="T0" y="T1"/>
                </a:cxn>
                <a:cxn ang="0">
                  <a:pos x="T2" y="T3"/>
                </a:cxn>
                <a:cxn ang="0">
                  <a:pos x="T4" y="T5"/>
                </a:cxn>
                <a:cxn ang="0">
                  <a:pos x="T6" y="T7"/>
                </a:cxn>
                <a:cxn ang="0">
                  <a:pos x="T8" y="T9"/>
                </a:cxn>
                <a:cxn ang="0">
                  <a:pos x="T10" y="T11"/>
                </a:cxn>
                <a:cxn ang="0">
                  <a:pos x="T12" y="T13"/>
                </a:cxn>
              </a:cxnLst>
              <a:rect l="0" t="0" r="r" b="b"/>
              <a:pathLst>
                <a:path w="123" h="123">
                  <a:moveTo>
                    <a:pt x="106" y="35"/>
                  </a:moveTo>
                  <a:cubicBezTo>
                    <a:pt x="123" y="52"/>
                    <a:pt x="121" y="82"/>
                    <a:pt x="101" y="102"/>
                  </a:cubicBezTo>
                  <a:cubicBezTo>
                    <a:pt x="82" y="121"/>
                    <a:pt x="52" y="123"/>
                    <a:pt x="35" y="106"/>
                  </a:cubicBezTo>
                  <a:lnTo>
                    <a:pt x="17" y="88"/>
                  </a:lnTo>
                  <a:cubicBezTo>
                    <a:pt x="0" y="71"/>
                    <a:pt x="2" y="41"/>
                    <a:pt x="21" y="22"/>
                  </a:cubicBezTo>
                  <a:cubicBezTo>
                    <a:pt x="41" y="2"/>
                    <a:pt x="71" y="0"/>
                    <a:pt x="88" y="17"/>
                  </a:cubicBezTo>
                  <a:lnTo>
                    <a:pt x="106" y="35"/>
                  </a:lnTo>
                </a:path>
              </a:pathLst>
            </a:custGeom>
            <a:solidFill>
              <a:srgbClr val="42B8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68">
              <a:extLst>
                <a:ext uri="{FF2B5EF4-FFF2-40B4-BE49-F238E27FC236}">
                  <a16:creationId xmlns:a16="http://schemas.microsoft.com/office/drawing/2014/main" id="{E18B6AEC-631C-4A50-A2BE-1CD68259142B}"/>
                </a:ext>
              </a:extLst>
            </p:cNvPr>
            <p:cNvSpPr>
              <a:spLocks/>
            </p:cNvSpPr>
            <p:nvPr userDrawn="1"/>
          </p:nvSpPr>
          <p:spPr bwMode="auto">
            <a:xfrm>
              <a:off x="6861175" y="2284413"/>
              <a:ext cx="80963" cy="103188"/>
            </a:xfrm>
            <a:custGeom>
              <a:avLst/>
              <a:gdLst>
                <a:gd name="T0" fmla="*/ 96 w 99"/>
                <a:gd name="T1" fmla="*/ 73 h 125"/>
                <a:gd name="T2" fmla="*/ 46 w 99"/>
                <a:gd name="T3" fmla="*/ 123 h 125"/>
                <a:gd name="T4" fmla="*/ 2 w 99"/>
                <a:gd name="T5" fmla="*/ 79 h 125"/>
                <a:gd name="T6" fmla="*/ 4 w 99"/>
                <a:gd name="T7" fmla="*/ 52 h 125"/>
                <a:gd name="T8" fmla="*/ 54 w 99"/>
                <a:gd name="T9" fmla="*/ 1 h 125"/>
                <a:gd name="T10" fmla="*/ 98 w 99"/>
                <a:gd name="T11" fmla="*/ 45 h 125"/>
                <a:gd name="T12" fmla="*/ 96 w 99"/>
                <a:gd name="T13" fmla="*/ 73 h 125"/>
              </a:gdLst>
              <a:ahLst/>
              <a:cxnLst>
                <a:cxn ang="0">
                  <a:pos x="T0" y="T1"/>
                </a:cxn>
                <a:cxn ang="0">
                  <a:pos x="T2" y="T3"/>
                </a:cxn>
                <a:cxn ang="0">
                  <a:pos x="T4" y="T5"/>
                </a:cxn>
                <a:cxn ang="0">
                  <a:pos x="T6" y="T7"/>
                </a:cxn>
                <a:cxn ang="0">
                  <a:pos x="T8" y="T9"/>
                </a:cxn>
                <a:cxn ang="0">
                  <a:pos x="T10" y="T11"/>
                </a:cxn>
                <a:cxn ang="0">
                  <a:pos x="T12" y="T13"/>
                </a:cxn>
              </a:cxnLst>
              <a:rect l="0" t="0" r="r" b="b"/>
              <a:pathLst>
                <a:path w="99" h="125">
                  <a:moveTo>
                    <a:pt x="96" y="73"/>
                  </a:moveTo>
                  <a:cubicBezTo>
                    <a:pt x="94" y="99"/>
                    <a:pt x="71" y="121"/>
                    <a:pt x="46" y="123"/>
                  </a:cubicBezTo>
                  <a:cubicBezTo>
                    <a:pt x="20" y="125"/>
                    <a:pt x="0" y="105"/>
                    <a:pt x="2" y="79"/>
                  </a:cubicBezTo>
                  <a:lnTo>
                    <a:pt x="4" y="52"/>
                  </a:lnTo>
                  <a:cubicBezTo>
                    <a:pt x="6" y="26"/>
                    <a:pt x="28" y="3"/>
                    <a:pt x="54" y="1"/>
                  </a:cubicBezTo>
                  <a:cubicBezTo>
                    <a:pt x="80" y="0"/>
                    <a:pt x="99" y="19"/>
                    <a:pt x="98" y="45"/>
                  </a:cubicBezTo>
                  <a:lnTo>
                    <a:pt x="96" y="73"/>
                  </a:lnTo>
                  <a:close/>
                </a:path>
              </a:pathLst>
            </a:custGeom>
            <a:solidFill>
              <a:srgbClr val="42B8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69">
              <a:extLst>
                <a:ext uri="{FF2B5EF4-FFF2-40B4-BE49-F238E27FC236}">
                  <a16:creationId xmlns:a16="http://schemas.microsoft.com/office/drawing/2014/main" id="{3D13C749-C710-4B98-951E-70D23B4A4E17}"/>
                </a:ext>
              </a:extLst>
            </p:cNvPr>
            <p:cNvSpPr>
              <a:spLocks noEditPoints="1"/>
            </p:cNvSpPr>
            <p:nvPr userDrawn="1"/>
          </p:nvSpPr>
          <p:spPr bwMode="auto">
            <a:xfrm>
              <a:off x="6767513" y="2333625"/>
              <a:ext cx="250825" cy="249238"/>
            </a:xfrm>
            <a:custGeom>
              <a:avLst/>
              <a:gdLst>
                <a:gd name="T0" fmla="*/ 186 w 305"/>
                <a:gd name="T1" fmla="*/ 187 h 304"/>
                <a:gd name="T2" fmla="*/ 135 w 305"/>
                <a:gd name="T3" fmla="*/ 203 h 304"/>
                <a:gd name="T4" fmla="*/ 146 w 305"/>
                <a:gd name="T5" fmla="*/ 137 h 304"/>
                <a:gd name="T6" fmla="*/ 197 w 305"/>
                <a:gd name="T7" fmla="*/ 120 h 304"/>
                <a:gd name="T8" fmla="*/ 186 w 305"/>
                <a:gd name="T9" fmla="*/ 187 h 304"/>
                <a:gd name="T10" fmla="*/ 303 w 305"/>
                <a:gd name="T11" fmla="*/ 119 h 304"/>
                <a:gd name="T12" fmla="*/ 301 w 305"/>
                <a:gd name="T13" fmla="*/ 108 h 304"/>
                <a:gd name="T14" fmla="*/ 299 w 305"/>
                <a:gd name="T15" fmla="*/ 96 h 304"/>
                <a:gd name="T16" fmla="*/ 298 w 305"/>
                <a:gd name="T17" fmla="*/ 95 h 304"/>
                <a:gd name="T18" fmla="*/ 291 w 305"/>
                <a:gd name="T19" fmla="*/ 75 h 304"/>
                <a:gd name="T20" fmla="*/ 266 w 305"/>
                <a:gd name="T21" fmla="*/ 39 h 304"/>
                <a:gd name="T22" fmla="*/ 260 w 305"/>
                <a:gd name="T23" fmla="*/ 33 h 304"/>
                <a:gd name="T24" fmla="*/ 258 w 305"/>
                <a:gd name="T25" fmla="*/ 31 h 304"/>
                <a:gd name="T26" fmla="*/ 237 w 305"/>
                <a:gd name="T27" fmla="*/ 17 h 304"/>
                <a:gd name="T28" fmla="*/ 230 w 305"/>
                <a:gd name="T29" fmla="*/ 14 h 304"/>
                <a:gd name="T30" fmla="*/ 209 w 305"/>
                <a:gd name="T31" fmla="*/ 6 h 304"/>
                <a:gd name="T32" fmla="*/ 145 w 305"/>
                <a:gd name="T33" fmla="*/ 5 h 304"/>
                <a:gd name="T34" fmla="*/ 115 w 305"/>
                <a:gd name="T35" fmla="*/ 13 h 304"/>
                <a:gd name="T36" fmla="*/ 98 w 305"/>
                <a:gd name="T37" fmla="*/ 21 h 304"/>
                <a:gd name="T38" fmla="*/ 94 w 305"/>
                <a:gd name="T39" fmla="*/ 23 h 304"/>
                <a:gd name="T40" fmla="*/ 53 w 305"/>
                <a:gd name="T41" fmla="*/ 54 h 304"/>
                <a:gd name="T42" fmla="*/ 28 w 305"/>
                <a:gd name="T43" fmla="*/ 86 h 304"/>
                <a:gd name="T44" fmla="*/ 23 w 305"/>
                <a:gd name="T45" fmla="*/ 94 h 304"/>
                <a:gd name="T46" fmla="*/ 13 w 305"/>
                <a:gd name="T47" fmla="*/ 116 h 304"/>
                <a:gd name="T48" fmla="*/ 6 w 305"/>
                <a:gd name="T49" fmla="*/ 138 h 304"/>
                <a:gd name="T50" fmla="*/ 6 w 305"/>
                <a:gd name="T51" fmla="*/ 210 h 304"/>
                <a:gd name="T52" fmla="*/ 13 w 305"/>
                <a:gd name="T53" fmla="*/ 229 h 304"/>
                <a:gd name="T54" fmla="*/ 13 w 305"/>
                <a:gd name="T55" fmla="*/ 230 h 304"/>
                <a:gd name="T56" fmla="*/ 31 w 305"/>
                <a:gd name="T57" fmla="*/ 258 h 304"/>
                <a:gd name="T58" fmla="*/ 39 w 305"/>
                <a:gd name="T59" fmla="*/ 267 h 304"/>
                <a:gd name="T60" fmla="*/ 72 w 305"/>
                <a:gd name="T61" fmla="*/ 290 h 304"/>
                <a:gd name="T62" fmla="*/ 75 w 305"/>
                <a:gd name="T63" fmla="*/ 292 h 304"/>
                <a:gd name="T64" fmla="*/ 95 w 305"/>
                <a:gd name="T65" fmla="*/ 299 h 304"/>
                <a:gd name="T66" fmla="*/ 110 w 305"/>
                <a:gd name="T67" fmla="*/ 302 h 304"/>
                <a:gd name="T68" fmla="*/ 124 w 305"/>
                <a:gd name="T69" fmla="*/ 303 h 304"/>
                <a:gd name="T70" fmla="*/ 145 w 305"/>
                <a:gd name="T71" fmla="*/ 303 h 304"/>
                <a:gd name="T72" fmla="*/ 189 w 305"/>
                <a:gd name="T73" fmla="*/ 292 h 304"/>
                <a:gd name="T74" fmla="*/ 211 w 305"/>
                <a:gd name="T75" fmla="*/ 282 h 304"/>
                <a:gd name="T76" fmla="*/ 212 w 305"/>
                <a:gd name="T77" fmla="*/ 281 h 304"/>
                <a:gd name="T78" fmla="*/ 223 w 305"/>
                <a:gd name="T79" fmla="*/ 275 h 304"/>
                <a:gd name="T80" fmla="*/ 251 w 305"/>
                <a:gd name="T81" fmla="*/ 252 h 304"/>
                <a:gd name="T82" fmla="*/ 281 w 305"/>
                <a:gd name="T83" fmla="*/ 214 h 304"/>
                <a:gd name="T84" fmla="*/ 282 w 305"/>
                <a:gd name="T85" fmla="*/ 211 h 304"/>
                <a:gd name="T86" fmla="*/ 287 w 305"/>
                <a:gd name="T87" fmla="*/ 202 h 304"/>
                <a:gd name="T88" fmla="*/ 292 w 305"/>
                <a:gd name="T89" fmla="*/ 190 h 304"/>
                <a:gd name="T90" fmla="*/ 303 w 305"/>
                <a:gd name="T91" fmla="*/ 11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5" h="304">
                  <a:moveTo>
                    <a:pt x="186" y="187"/>
                  </a:moveTo>
                  <a:cubicBezTo>
                    <a:pt x="172" y="201"/>
                    <a:pt x="152" y="207"/>
                    <a:pt x="135" y="203"/>
                  </a:cubicBezTo>
                  <a:cubicBezTo>
                    <a:pt x="122" y="184"/>
                    <a:pt x="126" y="156"/>
                    <a:pt x="146" y="137"/>
                  </a:cubicBezTo>
                  <a:cubicBezTo>
                    <a:pt x="160" y="122"/>
                    <a:pt x="180" y="117"/>
                    <a:pt x="197" y="120"/>
                  </a:cubicBezTo>
                  <a:cubicBezTo>
                    <a:pt x="210" y="139"/>
                    <a:pt x="206" y="167"/>
                    <a:pt x="186" y="187"/>
                  </a:cubicBezTo>
                  <a:close/>
                  <a:moveTo>
                    <a:pt x="303" y="119"/>
                  </a:moveTo>
                  <a:cubicBezTo>
                    <a:pt x="302" y="115"/>
                    <a:pt x="302" y="111"/>
                    <a:pt x="301" y="108"/>
                  </a:cubicBezTo>
                  <a:cubicBezTo>
                    <a:pt x="301" y="104"/>
                    <a:pt x="300" y="100"/>
                    <a:pt x="299" y="96"/>
                  </a:cubicBezTo>
                  <a:lnTo>
                    <a:pt x="298" y="95"/>
                  </a:lnTo>
                  <a:cubicBezTo>
                    <a:pt x="297" y="88"/>
                    <a:pt x="294" y="82"/>
                    <a:pt x="291" y="75"/>
                  </a:cubicBezTo>
                  <a:cubicBezTo>
                    <a:pt x="285" y="62"/>
                    <a:pt x="277" y="50"/>
                    <a:pt x="266" y="39"/>
                  </a:cubicBezTo>
                  <a:cubicBezTo>
                    <a:pt x="264" y="37"/>
                    <a:pt x="262" y="35"/>
                    <a:pt x="260" y="33"/>
                  </a:cubicBezTo>
                  <a:lnTo>
                    <a:pt x="258" y="31"/>
                  </a:lnTo>
                  <a:cubicBezTo>
                    <a:pt x="251" y="26"/>
                    <a:pt x="244" y="21"/>
                    <a:pt x="237" y="17"/>
                  </a:cubicBezTo>
                  <a:cubicBezTo>
                    <a:pt x="235" y="16"/>
                    <a:pt x="232" y="15"/>
                    <a:pt x="230" y="14"/>
                  </a:cubicBezTo>
                  <a:cubicBezTo>
                    <a:pt x="223" y="11"/>
                    <a:pt x="216" y="8"/>
                    <a:pt x="209" y="6"/>
                  </a:cubicBezTo>
                  <a:cubicBezTo>
                    <a:pt x="189" y="1"/>
                    <a:pt x="167" y="0"/>
                    <a:pt x="145" y="5"/>
                  </a:cubicBezTo>
                  <a:cubicBezTo>
                    <a:pt x="135" y="6"/>
                    <a:pt x="125" y="9"/>
                    <a:pt x="115" y="13"/>
                  </a:cubicBezTo>
                  <a:cubicBezTo>
                    <a:pt x="110" y="15"/>
                    <a:pt x="104" y="18"/>
                    <a:pt x="98" y="21"/>
                  </a:cubicBezTo>
                  <a:cubicBezTo>
                    <a:pt x="97" y="21"/>
                    <a:pt x="95" y="22"/>
                    <a:pt x="94" y="23"/>
                  </a:cubicBezTo>
                  <a:cubicBezTo>
                    <a:pt x="79" y="31"/>
                    <a:pt x="66" y="41"/>
                    <a:pt x="53" y="54"/>
                  </a:cubicBezTo>
                  <a:cubicBezTo>
                    <a:pt x="43" y="64"/>
                    <a:pt x="35" y="75"/>
                    <a:pt x="28" y="86"/>
                  </a:cubicBezTo>
                  <a:cubicBezTo>
                    <a:pt x="26" y="89"/>
                    <a:pt x="24" y="91"/>
                    <a:pt x="23" y="94"/>
                  </a:cubicBezTo>
                  <a:cubicBezTo>
                    <a:pt x="19" y="101"/>
                    <a:pt x="15" y="108"/>
                    <a:pt x="13" y="116"/>
                  </a:cubicBezTo>
                  <a:cubicBezTo>
                    <a:pt x="10" y="123"/>
                    <a:pt x="8" y="130"/>
                    <a:pt x="6" y="138"/>
                  </a:cubicBezTo>
                  <a:cubicBezTo>
                    <a:pt x="0" y="162"/>
                    <a:pt x="0" y="187"/>
                    <a:pt x="6" y="210"/>
                  </a:cubicBezTo>
                  <a:cubicBezTo>
                    <a:pt x="8" y="216"/>
                    <a:pt x="10" y="223"/>
                    <a:pt x="13" y="229"/>
                  </a:cubicBezTo>
                  <a:lnTo>
                    <a:pt x="13" y="230"/>
                  </a:lnTo>
                  <a:cubicBezTo>
                    <a:pt x="18" y="240"/>
                    <a:pt x="24" y="249"/>
                    <a:pt x="31" y="258"/>
                  </a:cubicBezTo>
                  <a:cubicBezTo>
                    <a:pt x="33" y="261"/>
                    <a:pt x="36" y="264"/>
                    <a:pt x="39" y="267"/>
                  </a:cubicBezTo>
                  <a:cubicBezTo>
                    <a:pt x="48" y="276"/>
                    <a:pt x="60" y="284"/>
                    <a:pt x="72" y="290"/>
                  </a:cubicBezTo>
                  <a:lnTo>
                    <a:pt x="75" y="292"/>
                  </a:lnTo>
                  <a:cubicBezTo>
                    <a:pt x="82" y="295"/>
                    <a:pt x="88" y="297"/>
                    <a:pt x="95" y="299"/>
                  </a:cubicBezTo>
                  <a:cubicBezTo>
                    <a:pt x="100" y="300"/>
                    <a:pt x="105" y="301"/>
                    <a:pt x="110" y="302"/>
                  </a:cubicBezTo>
                  <a:cubicBezTo>
                    <a:pt x="115" y="303"/>
                    <a:pt x="119" y="303"/>
                    <a:pt x="124" y="303"/>
                  </a:cubicBezTo>
                  <a:cubicBezTo>
                    <a:pt x="131" y="304"/>
                    <a:pt x="138" y="304"/>
                    <a:pt x="145" y="303"/>
                  </a:cubicBezTo>
                  <a:cubicBezTo>
                    <a:pt x="160" y="302"/>
                    <a:pt x="175" y="298"/>
                    <a:pt x="189" y="292"/>
                  </a:cubicBezTo>
                  <a:cubicBezTo>
                    <a:pt x="197" y="290"/>
                    <a:pt x="204" y="286"/>
                    <a:pt x="211" y="282"/>
                  </a:cubicBezTo>
                  <a:lnTo>
                    <a:pt x="212" y="281"/>
                  </a:lnTo>
                  <a:cubicBezTo>
                    <a:pt x="216" y="279"/>
                    <a:pt x="220" y="277"/>
                    <a:pt x="223" y="275"/>
                  </a:cubicBezTo>
                  <a:cubicBezTo>
                    <a:pt x="233" y="268"/>
                    <a:pt x="242" y="261"/>
                    <a:pt x="251" y="252"/>
                  </a:cubicBezTo>
                  <a:cubicBezTo>
                    <a:pt x="263" y="240"/>
                    <a:pt x="273" y="227"/>
                    <a:pt x="281" y="214"/>
                  </a:cubicBezTo>
                  <a:lnTo>
                    <a:pt x="282" y="211"/>
                  </a:lnTo>
                  <a:cubicBezTo>
                    <a:pt x="284" y="208"/>
                    <a:pt x="285" y="205"/>
                    <a:pt x="287" y="202"/>
                  </a:cubicBezTo>
                  <a:cubicBezTo>
                    <a:pt x="289" y="198"/>
                    <a:pt x="290" y="194"/>
                    <a:pt x="292" y="190"/>
                  </a:cubicBezTo>
                  <a:cubicBezTo>
                    <a:pt x="301" y="166"/>
                    <a:pt x="305" y="142"/>
                    <a:pt x="303" y="119"/>
                  </a:cubicBezTo>
                </a:path>
              </a:pathLst>
            </a:custGeom>
            <a:solidFill>
              <a:srgbClr val="6BCD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70">
              <a:extLst>
                <a:ext uri="{FF2B5EF4-FFF2-40B4-BE49-F238E27FC236}">
                  <a16:creationId xmlns:a16="http://schemas.microsoft.com/office/drawing/2014/main" id="{E82EC2D9-37FC-4D89-A12A-255FD04740AE}"/>
                </a:ext>
              </a:extLst>
            </p:cNvPr>
            <p:cNvSpPr>
              <a:spLocks noEditPoints="1"/>
            </p:cNvSpPr>
            <p:nvPr userDrawn="1"/>
          </p:nvSpPr>
          <p:spPr bwMode="auto">
            <a:xfrm>
              <a:off x="6783388" y="2349500"/>
              <a:ext cx="219075" cy="219075"/>
            </a:xfrm>
            <a:custGeom>
              <a:avLst/>
              <a:gdLst>
                <a:gd name="T0" fmla="*/ 128 w 268"/>
                <a:gd name="T1" fmla="*/ 118 h 267"/>
                <a:gd name="T2" fmla="*/ 179 w 268"/>
                <a:gd name="T3" fmla="*/ 101 h 267"/>
                <a:gd name="T4" fmla="*/ 168 w 268"/>
                <a:gd name="T5" fmla="*/ 168 h 267"/>
                <a:gd name="T6" fmla="*/ 117 w 268"/>
                <a:gd name="T7" fmla="*/ 184 h 267"/>
                <a:gd name="T8" fmla="*/ 128 w 268"/>
                <a:gd name="T9" fmla="*/ 118 h 267"/>
                <a:gd name="T10" fmla="*/ 266 w 268"/>
                <a:gd name="T11" fmla="*/ 95 h 267"/>
                <a:gd name="T12" fmla="*/ 262 w 268"/>
                <a:gd name="T13" fmla="*/ 80 h 267"/>
                <a:gd name="T14" fmla="*/ 259 w 268"/>
                <a:gd name="T15" fmla="*/ 69 h 267"/>
                <a:gd name="T16" fmla="*/ 235 w 268"/>
                <a:gd name="T17" fmla="*/ 33 h 267"/>
                <a:gd name="T18" fmla="*/ 231 w 268"/>
                <a:gd name="T19" fmla="*/ 30 h 267"/>
                <a:gd name="T20" fmla="*/ 227 w 268"/>
                <a:gd name="T21" fmla="*/ 26 h 267"/>
                <a:gd name="T22" fmla="*/ 227 w 268"/>
                <a:gd name="T23" fmla="*/ 26 h 267"/>
                <a:gd name="T24" fmla="*/ 217 w 268"/>
                <a:gd name="T25" fmla="*/ 19 h 267"/>
                <a:gd name="T26" fmla="*/ 199 w 268"/>
                <a:gd name="T27" fmla="*/ 10 h 267"/>
                <a:gd name="T28" fmla="*/ 188 w 268"/>
                <a:gd name="T29" fmla="*/ 6 h 267"/>
                <a:gd name="T30" fmla="*/ 169 w 268"/>
                <a:gd name="T31" fmla="*/ 2 h 267"/>
                <a:gd name="T32" fmla="*/ 125 w 268"/>
                <a:gd name="T33" fmla="*/ 4 h 267"/>
                <a:gd name="T34" fmla="*/ 98 w 268"/>
                <a:gd name="T35" fmla="*/ 12 h 267"/>
                <a:gd name="T36" fmla="*/ 94 w 268"/>
                <a:gd name="T37" fmla="*/ 14 h 267"/>
                <a:gd name="T38" fmla="*/ 87 w 268"/>
                <a:gd name="T39" fmla="*/ 17 h 267"/>
                <a:gd name="T40" fmla="*/ 47 w 268"/>
                <a:gd name="T41" fmla="*/ 46 h 267"/>
                <a:gd name="T42" fmla="*/ 20 w 268"/>
                <a:gd name="T43" fmla="*/ 82 h 267"/>
                <a:gd name="T44" fmla="*/ 18 w 268"/>
                <a:gd name="T45" fmla="*/ 86 h 267"/>
                <a:gd name="T46" fmla="*/ 13 w 268"/>
                <a:gd name="T47" fmla="*/ 97 h 267"/>
                <a:gd name="T48" fmla="*/ 6 w 268"/>
                <a:gd name="T49" fmla="*/ 116 h 267"/>
                <a:gd name="T50" fmla="*/ 6 w 268"/>
                <a:gd name="T51" fmla="*/ 188 h 267"/>
                <a:gd name="T52" fmla="*/ 10 w 268"/>
                <a:gd name="T53" fmla="*/ 198 h 267"/>
                <a:gd name="T54" fmla="*/ 15 w 268"/>
                <a:gd name="T55" fmla="*/ 209 h 267"/>
                <a:gd name="T56" fmla="*/ 16 w 268"/>
                <a:gd name="T57" fmla="*/ 209 h 267"/>
                <a:gd name="T58" fmla="*/ 26 w 268"/>
                <a:gd name="T59" fmla="*/ 225 h 267"/>
                <a:gd name="T60" fmla="*/ 34 w 268"/>
                <a:gd name="T61" fmla="*/ 234 h 267"/>
                <a:gd name="T62" fmla="*/ 65 w 268"/>
                <a:gd name="T63" fmla="*/ 256 h 267"/>
                <a:gd name="T64" fmla="*/ 70 w 268"/>
                <a:gd name="T65" fmla="*/ 258 h 267"/>
                <a:gd name="T66" fmla="*/ 80 w 268"/>
                <a:gd name="T67" fmla="*/ 262 h 267"/>
                <a:gd name="T68" fmla="*/ 102 w 268"/>
                <a:gd name="T69" fmla="*/ 266 h 267"/>
                <a:gd name="T70" fmla="*/ 114 w 268"/>
                <a:gd name="T71" fmla="*/ 267 h 267"/>
                <a:gd name="T72" fmla="*/ 171 w 268"/>
                <a:gd name="T73" fmla="*/ 255 h 267"/>
                <a:gd name="T74" fmla="*/ 182 w 268"/>
                <a:gd name="T75" fmla="*/ 250 h 267"/>
                <a:gd name="T76" fmla="*/ 183 w 268"/>
                <a:gd name="T77" fmla="*/ 250 h 267"/>
                <a:gd name="T78" fmla="*/ 206 w 268"/>
                <a:gd name="T79" fmla="*/ 235 h 267"/>
                <a:gd name="T80" fmla="*/ 222 w 268"/>
                <a:gd name="T81" fmla="*/ 221 h 267"/>
                <a:gd name="T82" fmla="*/ 241 w 268"/>
                <a:gd name="T83" fmla="*/ 198 h 267"/>
                <a:gd name="T84" fmla="*/ 251 w 268"/>
                <a:gd name="T85" fmla="*/ 181 h 267"/>
                <a:gd name="T86" fmla="*/ 256 w 268"/>
                <a:gd name="T87" fmla="*/ 170 h 267"/>
                <a:gd name="T88" fmla="*/ 256 w 268"/>
                <a:gd name="T89" fmla="*/ 169 h 267"/>
                <a:gd name="T90" fmla="*/ 267 w 268"/>
                <a:gd name="T91" fmla="*/ 111 h 267"/>
                <a:gd name="T92" fmla="*/ 266 w 268"/>
                <a:gd name="T93" fmla="*/ 9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 h="267">
                  <a:moveTo>
                    <a:pt x="128" y="118"/>
                  </a:moveTo>
                  <a:cubicBezTo>
                    <a:pt x="142" y="103"/>
                    <a:pt x="162" y="98"/>
                    <a:pt x="179" y="101"/>
                  </a:cubicBezTo>
                  <a:cubicBezTo>
                    <a:pt x="192" y="120"/>
                    <a:pt x="188" y="148"/>
                    <a:pt x="168" y="168"/>
                  </a:cubicBezTo>
                  <a:cubicBezTo>
                    <a:pt x="154" y="182"/>
                    <a:pt x="134" y="188"/>
                    <a:pt x="117" y="184"/>
                  </a:cubicBezTo>
                  <a:cubicBezTo>
                    <a:pt x="104" y="165"/>
                    <a:pt x="108" y="137"/>
                    <a:pt x="128" y="118"/>
                  </a:cubicBezTo>
                  <a:close/>
                  <a:moveTo>
                    <a:pt x="266" y="95"/>
                  </a:moveTo>
                  <a:cubicBezTo>
                    <a:pt x="265" y="90"/>
                    <a:pt x="264" y="85"/>
                    <a:pt x="262" y="80"/>
                  </a:cubicBezTo>
                  <a:cubicBezTo>
                    <a:pt x="261" y="76"/>
                    <a:pt x="260" y="73"/>
                    <a:pt x="259" y="69"/>
                  </a:cubicBezTo>
                  <a:cubicBezTo>
                    <a:pt x="253" y="56"/>
                    <a:pt x="245" y="44"/>
                    <a:pt x="235" y="33"/>
                  </a:cubicBezTo>
                  <a:lnTo>
                    <a:pt x="231" y="30"/>
                  </a:lnTo>
                  <a:lnTo>
                    <a:pt x="227" y="26"/>
                  </a:lnTo>
                  <a:lnTo>
                    <a:pt x="227" y="26"/>
                  </a:lnTo>
                  <a:cubicBezTo>
                    <a:pt x="224" y="24"/>
                    <a:pt x="220" y="21"/>
                    <a:pt x="217" y="19"/>
                  </a:cubicBezTo>
                  <a:cubicBezTo>
                    <a:pt x="211" y="15"/>
                    <a:pt x="205" y="12"/>
                    <a:pt x="199" y="10"/>
                  </a:cubicBezTo>
                  <a:cubicBezTo>
                    <a:pt x="195" y="8"/>
                    <a:pt x="192" y="7"/>
                    <a:pt x="188" y="6"/>
                  </a:cubicBezTo>
                  <a:cubicBezTo>
                    <a:pt x="182" y="4"/>
                    <a:pt x="175" y="2"/>
                    <a:pt x="169" y="2"/>
                  </a:cubicBezTo>
                  <a:cubicBezTo>
                    <a:pt x="154" y="0"/>
                    <a:pt x="140" y="0"/>
                    <a:pt x="125" y="4"/>
                  </a:cubicBezTo>
                  <a:cubicBezTo>
                    <a:pt x="116" y="5"/>
                    <a:pt x="107" y="8"/>
                    <a:pt x="98" y="12"/>
                  </a:cubicBezTo>
                  <a:lnTo>
                    <a:pt x="94" y="14"/>
                  </a:lnTo>
                  <a:cubicBezTo>
                    <a:pt x="92" y="15"/>
                    <a:pt x="89" y="16"/>
                    <a:pt x="87" y="17"/>
                  </a:cubicBezTo>
                  <a:cubicBezTo>
                    <a:pt x="72" y="25"/>
                    <a:pt x="59" y="34"/>
                    <a:pt x="47" y="46"/>
                  </a:cubicBezTo>
                  <a:cubicBezTo>
                    <a:pt x="36" y="57"/>
                    <a:pt x="27" y="69"/>
                    <a:pt x="20" y="82"/>
                  </a:cubicBezTo>
                  <a:lnTo>
                    <a:pt x="18" y="86"/>
                  </a:lnTo>
                  <a:cubicBezTo>
                    <a:pt x="16" y="90"/>
                    <a:pt x="14" y="93"/>
                    <a:pt x="13" y="97"/>
                  </a:cubicBezTo>
                  <a:cubicBezTo>
                    <a:pt x="10" y="103"/>
                    <a:pt x="8" y="109"/>
                    <a:pt x="6" y="116"/>
                  </a:cubicBezTo>
                  <a:cubicBezTo>
                    <a:pt x="0" y="140"/>
                    <a:pt x="0" y="165"/>
                    <a:pt x="6" y="188"/>
                  </a:cubicBezTo>
                  <a:cubicBezTo>
                    <a:pt x="7" y="191"/>
                    <a:pt x="9" y="195"/>
                    <a:pt x="10" y="198"/>
                  </a:cubicBezTo>
                  <a:cubicBezTo>
                    <a:pt x="12" y="202"/>
                    <a:pt x="13" y="205"/>
                    <a:pt x="15" y="209"/>
                  </a:cubicBezTo>
                  <a:lnTo>
                    <a:pt x="16" y="209"/>
                  </a:lnTo>
                  <a:cubicBezTo>
                    <a:pt x="19" y="215"/>
                    <a:pt x="22" y="220"/>
                    <a:pt x="26" y="225"/>
                  </a:cubicBezTo>
                  <a:cubicBezTo>
                    <a:pt x="29" y="228"/>
                    <a:pt x="31" y="231"/>
                    <a:pt x="34" y="234"/>
                  </a:cubicBezTo>
                  <a:cubicBezTo>
                    <a:pt x="43" y="243"/>
                    <a:pt x="54" y="250"/>
                    <a:pt x="65" y="256"/>
                  </a:cubicBezTo>
                  <a:cubicBezTo>
                    <a:pt x="66" y="256"/>
                    <a:pt x="68" y="257"/>
                    <a:pt x="70" y="258"/>
                  </a:cubicBezTo>
                  <a:cubicBezTo>
                    <a:pt x="73" y="259"/>
                    <a:pt x="77" y="261"/>
                    <a:pt x="80" y="262"/>
                  </a:cubicBezTo>
                  <a:cubicBezTo>
                    <a:pt x="87" y="264"/>
                    <a:pt x="95" y="265"/>
                    <a:pt x="102" y="266"/>
                  </a:cubicBezTo>
                  <a:cubicBezTo>
                    <a:pt x="106" y="266"/>
                    <a:pt x="110" y="267"/>
                    <a:pt x="114" y="267"/>
                  </a:cubicBezTo>
                  <a:cubicBezTo>
                    <a:pt x="133" y="267"/>
                    <a:pt x="152" y="263"/>
                    <a:pt x="171" y="255"/>
                  </a:cubicBezTo>
                  <a:cubicBezTo>
                    <a:pt x="175" y="254"/>
                    <a:pt x="179" y="252"/>
                    <a:pt x="182" y="250"/>
                  </a:cubicBezTo>
                  <a:lnTo>
                    <a:pt x="183" y="250"/>
                  </a:lnTo>
                  <a:cubicBezTo>
                    <a:pt x="191" y="245"/>
                    <a:pt x="199" y="240"/>
                    <a:pt x="206" y="235"/>
                  </a:cubicBezTo>
                  <a:cubicBezTo>
                    <a:pt x="212" y="230"/>
                    <a:pt x="217" y="226"/>
                    <a:pt x="222" y="221"/>
                  </a:cubicBezTo>
                  <a:cubicBezTo>
                    <a:pt x="229" y="214"/>
                    <a:pt x="236" y="206"/>
                    <a:pt x="241" y="198"/>
                  </a:cubicBezTo>
                  <a:cubicBezTo>
                    <a:pt x="245" y="192"/>
                    <a:pt x="248" y="187"/>
                    <a:pt x="251" y="181"/>
                  </a:cubicBezTo>
                  <a:cubicBezTo>
                    <a:pt x="253" y="178"/>
                    <a:pt x="254" y="174"/>
                    <a:pt x="256" y="170"/>
                  </a:cubicBezTo>
                  <a:lnTo>
                    <a:pt x="256" y="169"/>
                  </a:lnTo>
                  <a:cubicBezTo>
                    <a:pt x="264" y="150"/>
                    <a:pt x="268" y="130"/>
                    <a:pt x="267" y="111"/>
                  </a:cubicBezTo>
                  <a:cubicBezTo>
                    <a:pt x="267" y="106"/>
                    <a:pt x="267" y="100"/>
                    <a:pt x="266" y="95"/>
                  </a:cubicBezTo>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71">
              <a:extLst>
                <a:ext uri="{FF2B5EF4-FFF2-40B4-BE49-F238E27FC236}">
                  <a16:creationId xmlns:a16="http://schemas.microsoft.com/office/drawing/2014/main" id="{7B0225B6-43E8-41C5-96C0-7223AFCA9345}"/>
                </a:ext>
              </a:extLst>
            </p:cNvPr>
            <p:cNvSpPr>
              <a:spLocks noEditPoints="1"/>
            </p:cNvSpPr>
            <p:nvPr userDrawn="1"/>
          </p:nvSpPr>
          <p:spPr bwMode="auto">
            <a:xfrm>
              <a:off x="6837363" y="2400300"/>
              <a:ext cx="112713" cy="115888"/>
            </a:xfrm>
            <a:custGeom>
              <a:avLst/>
              <a:gdLst>
                <a:gd name="T0" fmla="*/ 102 w 139"/>
                <a:gd name="T1" fmla="*/ 106 h 140"/>
                <a:gd name="T2" fmla="*/ 51 w 139"/>
                <a:gd name="T3" fmla="*/ 122 h 140"/>
                <a:gd name="T4" fmla="*/ 62 w 139"/>
                <a:gd name="T5" fmla="*/ 56 h 140"/>
                <a:gd name="T6" fmla="*/ 113 w 139"/>
                <a:gd name="T7" fmla="*/ 39 h 140"/>
                <a:gd name="T8" fmla="*/ 102 w 139"/>
                <a:gd name="T9" fmla="*/ 106 h 140"/>
                <a:gd name="T10" fmla="*/ 135 w 139"/>
                <a:gd name="T11" fmla="*/ 51 h 140"/>
                <a:gd name="T12" fmla="*/ 134 w 139"/>
                <a:gd name="T13" fmla="*/ 51 h 140"/>
                <a:gd name="T14" fmla="*/ 123 w 139"/>
                <a:gd name="T15" fmla="*/ 25 h 140"/>
                <a:gd name="T16" fmla="*/ 119 w 139"/>
                <a:gd name="T17" fmla="*/ 21 h 140"/>
                <a:gd name="T18" fmla="*/ 50 w 139"/>
                <a:gd name="T19" fmla="*/ 10 h 140"/>
                <a:gd name="T20" fmla="*/ 24 w 139"/>
                <a:gd name="T21" fmla="*/ 28 h 140"/>
                <a:gd name="T22" fmla="*/ 11 w 139"/>
                <a:gd name="T23" fmla="*/ 45 h 140"/>
                <a:gd name="T24" fmla="*/ 2 w 139"/>
                <a:gd name="T25" fmla="*/ 74 h 140"/>
                <a:gd name="T26" fmla="*/ 5 w 139"/>
                <a:gd name="T27" fmla="*/ 102 h 140"/>
                <a:gd name="T28" fmla="*/ 18 w 139"/>
                <a:gd name="T29" fmla="*/ 122 h 140"/>
                <a:gd name="T30" fmla="*/ 41 w 139"/>
                <a:gd name="T31" fmla="*/ 136 h 140"/>
                <a:gd name="T32" fmla="*/ 70 w 139"/>
                <a:gd name="T33" fmla="*/ 138 h 140"/>
                <a:gd name="T34" fmla="*/ 112 w 139"/>
                <a:gd name="T35" fmla="*/ 116 h 140"/>
                <a:gd name="T36" fmla="*/ 135 w 139"/>
                <a:gd name="T37" fmla="*/ 5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 h="140">
                  <a:moveTo>
                    <a:pt x="102" y="106"/>
                  </a:moveTo>
                  <a:cubicBezTo>
                    <a:pt x="88" y="120"/>
                    <a:pt x="68" y="126"/>
                    <a:pt x="51" y="122"/>
                  </a:cubicBezTo>
                  <a:cubicBezTo>
                    <a:pt x="38" y="103"/>
                    <a:pt x="42" y="75"/>
                    <a:pt x="62" y="56"/>
                  </a:cubicBezTo>
                  <a:cubicBezTo>
                    <a:pt x="76" y="41"/>
                    <a:pt x="96" y="36"/>
                    <a:pt x="113" y="39"/>
                  </a:cubicBezTo>
                  <a:cubicBezTo>
                    <a:pt x="126" y="58"/>
                    <a:pt x="122" y="86"/>
                    <a:pt x="102" y="106"/>
                  </a:cubicBezTo>
                  <a:close/>
                  <a:moveTo>
                    <a:pt x="135" y="51"/>
                  </a:moveTo>
                  <a:lnTo>
                    <a:pt x="134" y="51"/>
                  </a:lnTo>
                  <a:cubicBezTo>
                    <a:pt x="133" y="41"/>
                    <a:pt x="129" y="33"/>
                    <a:pt x="123" y="25"/>
                  </a:cubicBezTo>
                  <a:lnTo>
                    <a:pt x="119" y="21"/>
                  </a:lnTo>
                  <a:cubicBezTo>
                    <a:pt x="101" y="3"/>
                    <a:pt x="74" y="0"/>
                    <a:pt x="50" y="10"/>
                  </a:cubicBezTo>
                  <a:cubicBezTo>
                    <a:pt x="40" y="14"/>
                    <a:pt x="32" y="20"/>
                    <a:pt x="24" y="28"/>
                  </a:cubicBezTo>
                  <a:cubicBezTo>
                    <a:pt x="19" y="33"/>
                    <a:pt x="14" y="39"/>
                    <a:pt x="11" y="45"/>
                  </a:cubicBezTo>
                  <a:cubicBezTo>
                    <a:pt x="6" y="55"/>
                    <a:pt x="3" y="64"/>
                    <a:pt x="2" y="74"/>
                  </a:cubicBezTo>
                  <a:cubicBezTo>
                    <a:pt x="0" y="84"/>
                    <a:pt x="2" y="93"/>
                    <a:pt x="5" y="102"/>
                  </a:cubicBezTo>
                  <a:cubicBezTo>
                    <a:pt x="8" y="110"/>
                    <a:pt x="12" y="117"/>
                    <a:pt x="18" y="122"/>
                  </a:cubicBezTo>
                  <a:cubicBezTo>
                    <a:pt x="24" y="129"/>
                    <a:pt x="32" y="134"/>
                    <a:pt x="41" y="136"/>
                  </a:cubicBezTo>
                  <a:cubicBezTo>
                    <a:pt x="50" y="139"/>
                    <a:pt x="60" y="140"/>
                    <a:pt x="70" y="138"/>
                  </a:cubicBezTo>
                  <a:cubicBezTo>
                    <a:pt x="85" y="136"/>
                    <a:pt x="100" y="128"/>
                    <a:pt x="112" y="116"/>
                  </a:cubicBezTo>
                  <a:cubicBezTo>
                    <a:pt x="131" y="97"/>
                    <a:pt x="139" y="72"/>
                    <a:pt x="135" y="51"/>
                  </a:cubicBezTo>
                </a:path>
              </a:pathLst>
            </a:custGeom>
            <a:solidFill>
              <a:srgbClr val="6BCD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72">
              <a:extLst>
                <a:ext uri="{FF2B5EF4-FFF2-40B4-BE49-F238E27FC236}">
                  <a16:creationId xmlns:a16="http://schemas.microsoft.com/office/drawing/2014/main" id="{4473C657-F930-4B5A-93D5-DFC23B533565}"/>
                </a:ext>
              </a:extLst>
            </p:cNvPr>
            <p:cNvSpPr>
              <a:spLocks/>
            </p:cNvSpPr>
            <p:nvPr userDrawn="1"/>
          </p:nvSpPr>
          <p:spPr bwMode="auto">
            <a:xfrm>
              <a:off x="6845300" y="2413000"/>
              <a:ext cx="84138" cy="87313"/>
            </a:xfrm>
            <a:custGeom>
              <a:avLst/>
              <a:gdLst>
                <a:gd name="T0" fmla="*/ 103 w 103"/>
                <a:gd name="T1" fmla="*/ 23 h 106"/>
                <a:gd name="T2" fmla="*/ 52 w 103"/>
                <a:gd name="T3" fmla="*/ 40 h 106"/>
                <a:gd name="T4" fmla="*/ 41 w 103"/>
                <a:gd name="T5" fmla="*/ 106 h 106"/>
                <a:gd name="T6" fmla="*/ 19 w 103"/>
                <a:gd name="T7" fmla="*/ 95 h 106"/>
                <a:gd name="T8" fmla="*/ 19 w 103"/>
                <a:gd name="T9" fmla="*/ 95 h 106"/>
                <a:gd name="T10" fmla="*/ 24 w 103"/>
                <a:gd name="T11" fmla="*/ 22 h 106"/>
                <a:gd name="T12" fmla="*/ 84 w 103"/>
                <a:gd name="T13" fmla="*/ 7 h 106"/>
                <a:gd name="T14" fmla="*/ 97 w 103"/>
                <a:gd name="T15" fmla="*/ 17 h 106"/>
                <a:gd name="T16" fmla="*/ 103 w 103"/>
                <a:gd name="T17" fmla="*/ 2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06">
                  <a:moveTo>
                    <a:pt x="103" y="23"/>
                  </a:moveTo>
                  <a:cubicBezTo>
                    <a:pt x="86" y="20"/>
                    <a:pt x="66" y="25"/>
                    <a:pt x="52" y="40"/>
                  </a:cubicBezTo>
                  <a:cubicBezTo>
                    <a:pt x="32" y="59"/>
                    <a:pt x="28" y="87"/>
                    <a:pt x="41" y="106"/>
                  </a:cubicBezTo>
                  <a:cubicBezTo>
                    <a:pt x="33" y="105"/>
                    <a:pt x="25" y="101"/>
                    <a:pt x="19" y="95"/>
                  </a:cubicBezTo>
                  <a:lnTo>
                    <a:pt x="19" y="95"/>
                  </a:lnTo>
                  <a:cubicBezTo>
                    <a:pt x="0" y="76"/>
                    <a:pt x="3" y="43"/>
                    <a:pt x="24" y="22"/>
                  </a:cubicBezTo>
                  <a:cubicBezTo>
                    <a:pt x="41" y="5"/>
                    <a:pt x="65" y="0"/>
                    <a:pt x="84" y="7"/>
                  </a:cubicBezTo>
                  <a:cubicBezTo>
                    <a:pt x="89" y="10"/>
                    <a:pt x="93" y="13"/>
                    <a:pt x="97" y="17"/>
                  </a:cubicBezTo>
                  <a:cubicBezTo>
                    <a:pt x="99" y="19"/>
                    <a:pt x="101" y="21"/>
                    <a:pt x="103" y="23"/>
                  </a:cubicBezTo>
                </a:path>
              </a:pathLst>
            </a:custGeom>
            <a:solidFill>
              <a:srgbClr val="2C6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73">
              <a:extLst>
                <a:ext uri="{FF2B5EF4-FFF2-40B4-BE49-F238E27FC236}">
                  <a16:creationId xmlns:a16="http://schemas.microsoft.com/office/drawing/2014/main" id="{7AB25A4B-CA60-4278-BDD7-265DD3448F5B}"/>
                </a:ext>
              </a:extLst>
            </p:cNvPr>
            <p:cNvSpPr>
              <a:spLocks/>
            </p:cNvSpPr>
            <p:nvPr userDrawn="1"/>
          </p:nvSpPr>
          <p:spPr bwMode="auto">
            <a:xfrm>
              <a:off x="6586538" y="1947863"/>
              <a:ext cx="177800" cy="177800"/>
            </a:xfrm>
            <a:custGeom>
              <a:avLst/>
              <a:gdLst>
                <a:gd name="T0" fmla="*/ 143 w 217"/>
                <a:gd name="T1" fmla="*/ 180 h 217"/>
                <a:gd name="T2" fmla="*/ 29 w 217"/>
                <a:gd name="T3" fmla="*/ 188 h 217"/>
                <a:gd name="T4" fmla="*/ 37 w 217"/>
                <a:gd name="T5" fmla="*/ 73 h 217"/>
                <a:gd name="T6" fmla="*/ 73 w 217"/>
                <a:gd name="T7" fmla="*/ 37 h 217"/>
                <a:gd name="T8" fmla="*/ 187 w 217"/>
                <a:gd name="T9" fmla="*/ 29 h 217"/>
                <a:gd name="T10" fmla="*/ 180 w 217"/>
                <a:gd name="T11" fmla="*/ 144 h 217"/>
                <a:gd name="T12" fmla="*/ 143 w 217"/>
                <a:gd name="T13" fmla="*/ 180 h 217"/>
              </a:gdLst>
              <a:ahLst/>
              <a:cxnLst>
                <a:cxn ang="0">
                  <a:pos x="T0" y="T1"/>
                </a:cxn>
                <a:cxn ang="0">
                  <a:pos x="T2" y="T3"/>
                </a:cxn>
                <a:cxn ang="0">
                  <a:pos x="T4" y="T5"/>
                </a:cxn>
                <a:cxn ang="0">
                  <a:pos x="T6" y="T7"/>
                </a:cxn>
                <a:cxn ang="0">
                  <a:pos x="T8" y="T9"/>
                </a:cxn>
                <a:cxn ang="0">
                  <a:pos x="T10" y="T11"/>
                </a:cxn>
                <a:cxn ang="0">
                  <a:pos x="T12" y="T13"/>
                </a:cxn>
              </a:cxnLst>
              <a:rect l="0" t="0" r="r" b="b"/>
              <a:pathLst>
                <a:path w="217" h="217">
                  <a:moveTo>
                    <a:pt x="143" y="180"/>
                  </a:moveTo>
                  <a:cubicBezTo>
                    <a:pt x="110" y="213"/>
                    <a:pt x="58" y="217"/>
                    <a:pt x="29" y="188"/>
                  </a:cubicBezTo>
                  <a:cubicBezTo>
                    <a:pt x="0" y="158"/>
                    <a:pt x="3" y="107"/>
                    <a:pt x="37" y="73"/>
                  </a:cubicBezTo>
                  <a:lnTo>
                    <a:pt x="73" y="37"/>
                  </a:lnTo>
                  <a:cubicBezTo>
                    <a:pt x="107" y="3"/>
                    <a:pt x="158" y="0"/>
                    <a:pt x="187" y="29"/>
                  </a:cubicBezTo>
                  <a:cubicBezTo>
                    <a:pt x="217" y="59"/>
                    <a:pt x="213" y="110"/>
                    <a:pt x="180" y="144"/>
                  </a:cubicBezTo>
                  <a:lnTo>
                    <a:pt x="143" y="180"/>
                  </a:lnTo>
                  <a:close/>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74">
              <a:extLst>
                <a:ext uri="{FF2B5EF4-FFF2-40B4-BE49-F238E27FC236}">
                  <a16:creationId xmlns:a16="http://schemas.microsoft.com/office/drawing/2014/main" id="{909493E3-984A-4AD7-A464-92A05E77BEF2}"/>
                </a:ext>
              </a:extLst>
            </p:cNvPr>
            <p:cNvSpPr>
              <a:spLocks/>
            </p:cNvSpPr>
            <p:nvPr userDrawn="1"/>
          </p:nvSpPr>
          <p:spPr bwMode="auto">
            <a:xfrm>
              <a:off x="6638925" y="2112963"/>
              <a:ext cx="176213" cy="139700"/>
            </a:xfrm>
            <a:custGeom>
              <a:avLst/>
              <a:gdLst>
                <a:gd name="T0" fmla="*/ 78 w 215"/>
                <a:gd name="T1" fmla="*/ 168 h 171"/>
                <a:gd name="T2" fmla="*/ 3 w 215"/>
                <a:gd name="T3" fmla="*/ 93 h 171"/>
                <a:gd name="T4" fmla="*/ 89 w 215"/>
                <a:gd name="T5" fmla="*/ 6 h 171"/>
                <a:gd name="T6" fmla="*/ 137 w 215"/>
                <a:gd name="T7" fmla="*/ 3 h 171"/>
                <a:gd name="T8" fmla="*/ 212 w 215"/>
                <a:gd name="T9" fmla="*/ 78 h 171"/>
                <a:gd name="T10" fmla="*/ 126 w 215"/>
                <a:gd name="T11" fmla="*/ 165 h 171"/>
                <a:gd name="T12" fmla="*/ 78 w 215"/>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215" h="171">
                  <a:moveTo>
                    <a:pt x="78" y="168"/>
                  </a:moveTo>
                  <a:cubicBezTo>
                    <a:pt x="33" y="171"/>
                    <a:pt x="0" y="137"/>
                    <a:pt x="3" y="93"/>
                  </a:cubicBezTo>
                  <a:cubicBezTo>
                    <a:pt x="6" y="48"/>
                    <a:pt x="45" y="9"/>
                    <a:pt x="89" y="6"/>
                  </a:cubicBezTo>
                  <a:lnTo>
                    <a:pt x="137" y="3"/>
                  </a:lnTo>
                  <a:cubicBezTo>
                    <a:pt x="182" y="0"/>
                    <a:pt x="215" y="34"/>
                    <a:pt x="212" y="78"/>
                  </a:cubicBezTo>
                  <a:cubicBezTo>
                    <a:pt x="209" y="123"/>
                    <a:pt x="170" y="161"/>
                    <a:pt x="126" y="165"/>
                  </a:cubicBezTo>
                  <a:lnTo>
                    <a:pt x="78" y="168"/>
                  </a:ln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75">
              <a:extLst>
                <a:ext uri="{FF2B5EF4-FFF2-40B4-BE49-F238E27FC236}">
                  <a16:creationId xmlns:a16="http://schemas.microsoft.com/office/drawing/2014/main" id="{E74EC1E4-8220-4655-9342-7186E45BAB60}"/>
                </a:ext>
              </a:extLst>
            </p:cNvPr>
            <p:cNvSpPr>
              <a:spLocks/>
            </p:cNvSpPr>
            <p:nvPr userDrawn="1"/>
          </p:nvSpPr>
          <p:spPr bwMode="auto">
            <a:xfrm>
              <a:off x="6567488" y="2251075"/>
              <a:ext cx="174625" cy="173038"/>
            </a:xfrm>
            <a:custGeom>
              <a:avLst/>
              <a:gdLst>
                <a:gd name="T0" fmla="*/ 29 w 212"/>
                <a:gd name="T1" fmla="*/ 151 h 212"/>
                <a:gd name="T2" fmla="*/ 37 w 212"/>
                <a:gd name="T3" fmla="*/ 37 h 212"/>
                <a:gd name="T4" fmla="*/ 151 w 212"/>
                <a:gd name="T5" fmla="*/ 29 h 212"/>
                <a:gd name="T6" fmla="*/ 183 w 212"/>
                <a:gd name="T7" fmla="*/ 61 h 212"/>
                <a:gd name="T8" fmla="*/ 175 w 212"/>
                <a:gd name="T9" fmla="*/ 175 h 212"/>
                <a:gd name="T10" fmla="*/ 60 w 212"/>
                <a:gd name="T11" fmla="*/ 183 h 212"/>
                <a:gd name="T12" fmla="*/ 29 w 212"/>
                <a:gd name="T13" fmla="*/ 151 h 212"/>
              </a:gdLst>
              <a:ahLst/>
              <a:cxnLst>
                <a:cxn ang="0">
                  <a:pos x="T0" y="T1"/>
                </a:cxn>
                <a:cxn ang="0">
                  <a:pos x="T2" y="T3"/>
                </a:cxn>
                <a:cxn ang="0">
                  <a:pos x="T4" y="T5"/>
                </a:cxn>
                <a:cxn ang="0">
                  <a:pos x="T6" y="T7"/>
                </a:cxn>
                <a:cxn ang="0">
                  <a:pos x="T8" y="T9"/>
                </a:cxn>
                <a:cxn ang="0">
                  <a:pos x="T10" y="T11"/>
                </a:cxn>
                <a:cxn ang="0">
                  <a:pos x="T12" y="T13"/>
                </a:cxn>
              </a:cxnLst>
              <a:rect l="0" t="0" r="r" b="b"/>
              <a:pathLst>
                <a:path w="212" h="212">
                  <a:moveTo>
                    <a:pt x="29" y="151"/>
                  </a:moveTo>
                  <a:cubicBezTo>
                    <a:pt x="0" y="122"/>
                    <a:pt x="3" y="71"/>
                    <a:pt x="37" y="37"/>
                  </a:cubicBezTo>
                  <a:cubicBezTo>
                    <a:pt x="71" y="3"/>
                    <a:pt x="122" y="0"/>
                    <a:pt x="151" y="29"/>
                  </a:cubicBezTo>
                  <a:lnTo>
                    <a:pt x="183" y="61"/>
                  </a:lnTo>
                  <a:cubicBezTo>
                    <a:pt x="212" y="90"/>
                    <a:pt x="208" y="141"/>
                    <a:pt x="175" y="175"/>
                  </a:cubicBezTo>
                  <a:cubicBezTo>
                    <a:pt x="141" y="209"/>
                    <a:pt x="90" y="212"/>
                    <a:pt x="60" y="183"/>
                  </a:cubicBezTo>
                  <a:lnTo>
                    <a:pt x="29" y="151"/>
                  </a:ln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76">
              <a:extLst>
                <a:ext uri="{FF2B5EF4-FFF2-40B4-BE49-F238E27FC236}">
                  <a16:creationId xmlns:a16="http://schemas.microsoft.com/office/drawing/2014/main" id="{C95FB16E-9B93-46E3-953E-E2CD23AD6136}"/>
                </a:ext>
              </a:extLst>
            </p:cNvPr>
            <p:cNvSpPr>
              <a:spLocks/>
            </p:cNvSpPr>
            <p:nvPr userDrawn="1"/>
          </p:nvSpPr>
          <p:spPr bwMode="auto">
            <a:xfrm>
              <a:off x="6430963" y="2322513"/>
              <a:ext cx="139700" cy="176213"/>
            </a:xfrm>
            <a:custGeom>
              <a:avLst/>
              <a:gdLst>
                <a:gd name="T0" fmla="*/ 6 w 171"/>
                <a:gd name="T1" fmla="*/ 89 h 215"/>
                <a:gd name="T2" fmla="*/ 93 w 171"/>
                <a:gd name="T3" fmla="*/ 3 h 215"/>
                <a:gd name="T4" fmla="*/ 168 w 171"/>
                <a:gd name="T5" fmla="*/ 78 h 215"/>
                <a:gd name="T6" fmla="*/ 165 w 171"/>
                <a:gd name="T7" fmla="*/ 126 h 215"/>
                <a:gd name="T8" fmla="*/ 78 w 171"/>
                <a:gd name="T9" fmla="*/ 212 h 215"/>
                <a:gd name="T10" fmla="*/ 3 w 171"/>
                <a:gd name="T11" fmla="*/ 137 h 215"/>
                <a:gd name="T12" fmla="*/ 6 w 171"/>
                <a:gd name="T13" fmla="*/ 89 h 215"/>
              </a:gdLst>
              <a:ahLst/>
              <a:cxnLst>
                <a:cxn ang="0">
                  <a:pos x="T0" y="T1"/>
                </a:cxn>
                <a:cxn ang="0">
                  <a:pos x="T2" y="T3"/>
                </a:cxn>
                <a:cxn ang="0">
                  <a:pos x="T4" y="T5"/>
                </a:cxn>
                <a:cxn ang="0">
                  <a:pos x="T6" y="T7"/>
                </a:cxn>
                <a:cxn ang="0">
                  <a:pos x="T8" y="T9"/>
                </a:cxn>
                <a:cxn ang="0">
                  <a:pos x="T10" y="T11"/>
                </a:cxn>
                <a:cxn ang="0">
                  <a:pos x="T12" y="T13"/>
                </a:cxn>
              </a:cxnLst>
              <a:rect l="0" t="0" r="r" b="b"/>
              <a:pathLst>
                <a:path w="171" h="215">
                  <a:moveTo>
                    <a:pt x="6" y="89"/>
                  </a:moveTo>
                  <a:cubicBezTo>
                    <a:pt x="9" y="45"/>
                    <a:pt x="48" y="6"/>
                    <a:pt x="93" y="3"/>
                  </a:cubicBezTo>
                  <a:cubicBezTo>
                    <a:pt x="137" y="0"/>
                    <a:pt x="171" y="33"/>
                    <a:pt x="168" y="78"/>
                  </a:cubicBezTo>
                  <a:lnTo>
                    <a:pt x="165" y="126"/>
                  </a:lnTo>
                  <a:cubicBezTo>
                    <a:pt x="161" y="170"/>
                    <a:pt x="123" y="209"/>
                    <a:pt x="78" y="212"/>
                  </a:cubicBezTo>
                  <a:cubicBezTo>
                    <a:pt x="33" y="215"/>
                    <a:pt x="0" y="182"/>
                    <a:pt x="3" y="137"/>
                  </a:cubicBezTo>
                  <a:lnTo>
                    <a:pt x="6" y="89"/>
                  </a:ln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77">
              <a:extLst>
                <a:ext uri="{FF2B5EF4-FFF2-40B4-BE49-F238E27FC236}">
                  <a16:creationId xmlns:a16="http://schemas.microsoft.com/office/drawing/2014/main" id="{94DDB62A-A3B6-498D-8230-423CADBC8437}"/>
                </a:ext>
              </a:extLst>
            </p:cNvPr>
            <p:cNvSpPr>
              <a:spLocks/>
            </p:cNvSpPr>
            <p:nvPr userDrawn="1"/>
          </p:nvSpPr>
          <p:spPr bwMode="auto">
            <a:xfrm>
              <a:off x="6265863" y="2270125"/>
              <a:ext cx="177800" cy="177800"/>
            </a:xfrm>
            <a:custGeom>
              <a:avLst/>
              <a:gdLst>
                <a:gd name="T0" fmla="*/ 73 w 217"/>
                <a:gd name="T1" fmla="*/ 37 h 217"/>
                <a:gd name="T2" fmla="*/ 188 w 217"/>
                <a:gd name="T3" fmla="*/ 29 h 217"/>
                <a:gd name="T4" fmla="*/ 180 w 217"/>
                <a:gd name="T5" fmla="*/ 143 h 217"/>
                <a:gd name="T6" fmla="*/ 143 w 217"/>
                <a:gd name="T7" fmla="*/ 180 h 217"/>
                <a:gd name="T8" fmla="*/ 29 w 217"/>
                <a:gd name="T9" fmla="*/ 188 h 217"/>
                <a:gd name="T10" fmla="*/ 37 w 217"/>
                <a:gd name="T11" fmla="*/ 73 h 217"/>
                <a:gd name="T12" fmla="*/ 73 w 217"/>
                <a:gd name="T13" fmla="*/ 37 h 217"/>
              </a:gdLst>
              <a:ahLst/>
              <a:cxnLst>
                <a:cxn ang="0">
                  <a:pos x="T0" y="T1"/>
                </a:cxn>
                <a:cxn ang="0">
                  <a:pos x="T2" y="T3"/>
                </a:cxn>
                <a:cxn ang="0">
                  <a:pos x="T4" y="T5"/>
                </a:cxn>
                <a:cxn ang="0">
                  <a:pos x="T6" y="T7"/>
                </a:cxn>
                <a:cxn ang="0">
                  <a:pos x="T8" y="T9"/>
                </a:cxn>
                <a:cxn ang="0">
                  <a:pos x="T10" y="T11"/>
                </a:cxn>
                <a:cxn ang="0">
                  <a:pos x="T12" y="T13"/>
                </a:cxn>
              </a:cxnLst>
              <a:rect l="0" t="0" r="r" b="b"/>
              <a:pathLst>
                <a:path w="217" h="217">
                  <a:moveTo>
                    <a:pt x="73" y="37"/>
                  </a:moveTo>
                  <a:cubicBezTo>
                    <a:pt x="107" y="3"/>
                    <a:pt x="158" y="0"/>
                    <a:pt x="188" y="29"/>
                  </a:cubicBezTo>
                  <a:cubicBezTo>
                    <a:pt x="217" y="59"/>
                    <a:pt x="213" y="110"/>
                    <a:pt x="180" y="143"/>
                  </a:cubicBezTo>
                  <a:lnTo>
                    <a:pt x="143" y="180"/>
                  </a:lnTo>
                  <a:cubicBezTo>
                    <a:pt x="110" y="213"/>
                    <a:pt x="59" y="217"/>
                    <a:pt x="29" y="188"/>
                  </a:cubicBezTo>
                  <a:cubicBezTo>
                    <a:pt x="0" y="158"/>
                    <a:pt x="3" y="107"/>
                    <a:pt x="37" y="73"/>
                  </a:cubicBezTo>
                  <a:lnTo>
                    <a:pt x="73" y="37"/>
                  </a:ln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78">
              <a:extLst>
                <a:ext uri="{FF2B5EF4-FFF2-40B4-BE49-F238E27FC236}">
                  <a16:creationId xmlns:a16="http://schemas.microsoft.com/office/drawing/2014/main" id="{5CA3B2B4-4078-45ED-A07A-86E4A05D5094}"/>
                </a:ext>
              </a:extLst>
            </p:cNvPr>
            <p:cNvSpPr>
              <a:spLocks/>
            </p:cNvSpPr>
            <p:nvPr userDrawn="1"/>
          </p:nvSpPr>
          <p:spPr bwMode="auto">
            <a:xfrm>
              <a:off x="6213475" y="2141538"/>
              <a:ext cx="177800" cy="141288"/>
            </a:xfrm>
            <a:custGeom>
              <a:avLst/>
              <a:gdLst>
                <a:gd name="T0" fmla="*/ 138 w 216"/>
                <a:gd name="T1" fmla="*/ 3 h 171"/>
                <a:gd name="T2" fmla="*/ 213 w 216"/>
                <a:gd name="T3" fmla="*/ 78 h 171"/>
                <a:gd name="T4" fmla="*/ 127 w 216"/>
                <a:gd name="T5" fmla="*/ 165 h 171"/>
                <a:gd name="T6" fmla="*/ 79 w 216"/>
                <a:gd name="T7" fmla="*/ 168 h 171"/>
                <a:gd name="T8" fmla="*/ 3 w 216"/>
                <a:gd name="T9" fmla="*/ 93 h 171"/>
                <a:gd name="T10" fmla="*/ 90 w 216"/>
                <a:gd name="T11" fmla="*/ 6 h 171"/>
                <a:gd name="T12" fmla="*/ 138 w 216"/>
                <a:gd name="T13" fmla="*/ 3 h 171"/>
              </a:gdLst>
              <a:ahLst/>
              <a:cxnLst>
                <a:cxn ang="0">
                  <a:pos x="T0" y="T1"/>
                </a:cxn>
                <a:cxn ang="0">
                  <a:pos x="T2" y="T3"/>
                </a:cxn>
                <a:cxn ang="0">
                  <a:pos x="T4" y="T5"/>
                </a:cxn>
                <a:cxn ang="0">
                  <a:pos x="T6" y="T7"/>
                </a:cxn>
                <a:cxn ang="0">
                  <a:pos x="T8" y="T9"/>
                </a:cxn>
                <a:cxn ang="0">
                  <a:pos x="T10" y="T11"/>
                </a:cxn>
                <a:cxn ang="0">
                  <a:pos x="T12" y="T13"/>
                </a:cxn>
              </a:cxnLst>
              <a:rect l="0" t="0" r="r" b="b"/>
              <a:pathLst>
                <a:path w="216" h="171">
                  <a:moveTo>
                    <a:pt x="138" y="3"/>
                  </a:moveTo>
                  <a:cubicBezTo>
                    <a:pt x="182" y="0"/>
                    <a:pt x="216" y="33"/>
                    <a:pt x="213" y="78"/>
                  </a:cubicBezTo>
                  <a:cubicBezTo>
                    <a:pt x="210" y="123"/>
                    <a:pt x="171" y="161"/>
                    <a:pt x="127" y="165"/>
                  </a:cubicBezTo>
                  <a:lnTo>
                    <a:pt x="79" y="168"/>
                  </a:lnTo>
                  <a:cubicBezTo>
                    <a:pt x="34" y="171"/>
                    <a:pt x="0" y="137"/>
                    <a:pt x="3" y="93"/>
                  </a:cubicBezTo>
                  <a:cubicBezTo>
                    <a:pt x="7" y="48"/>
                    <a:pt x="45" y="9"/>
                    <a:pt x="90" y="6"/>
                  </a:cubicBezTo>
                  <a:lnTo>
                    <a:pt x="138" y="3"/>
                  </a:lnTo>
                  <a:close/>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79">
              <a:extLst>
                <a:ext uri="{FF2B5EF4-FFF2-40B4-BE49-F238E27FC236}">
                  <a16:creationId xmlns:a16="http://schemas.microsoft.com/office/drawing/2014/main" id="{8A7D9F8A-062C-4413-9B11-17A4B3B8E1C3}"/>
                </a:ext>
              </a:extLst>
            </p:cNvPr>
            <p:cNvSpPr>
              <a:spLocks/>
            </p:cNvSpPr>
            <p:nvPr userDrawn="1"/>
          </p:nvSpPr>
          <p:spPr bwMode="auto">
            <a:xfrm>
              <a:off x="6288088" y="1970088"/>
              <a:ext cx="174625" cy="174625"/>
            </a:xfrm>
            <a:custGeom>
              <a:avLst/>
              <a:gdLst>
                <a:gd name="T0" fmla="*/ 183 w 212"/>
                <a:gd name="T1" fmla="*/ 60 h 212"/>
                <a:gd name="T2" fmla="*/ 175 w 212"/>
                <a:gd name="T3" fmla="*/ 175 h 212"/>
                <a:gd name="T4" fmla="*/ 60 w 212"/>
                <a:gd name="T5" fmla="*/ 183 h 212"/>
                <a:gd name="T6" fmla="*/ 29 w 212"/>
                <a:gd name="T7" fmla="*/ 151 h 212"/>
                <a:gd name="T8" fmla="*/ 37 w 212"/>
                <a:gd name="T9" fmla="*/ 37 h 212"/>
                <a:gd name="T10" fmla="*/ 151 w 212"/>
                <a:gd name="T11" fmla="*/ 29 h 212"/>
                <a:gd name="T12" fmla="*/ 183 w 212"/>
                <a:gd name="T13" fmla="*/ 60 h 212"/>
              </a:gdLst>
              <a:ahLst/>
              <a:cxnLst>
                <a:cxn ang="0">
                  <a:pos x="T0" y="T1"/>
                </a:cxn>
                <a:cxn ang="0">
                  <a:pos x="T2" y="T3"/>
                </a:cxn>
                <a:cxn ang="0">
                  <a:pos x="T4" y="T5"/>
                </a:cxn>
                <a:cxn ang="0">
                  <a:pos x="T6" y="T7"/>
                </a:cxn>
                <a:cxn ang="0">
                  <a:pos x="T8" y="T9"/>
                </a:cxn>
                <a:cxn ang="0">
                  <a:pos x="T10" y="T11"/>
                </a:cxn>
                <a:cxn ang="0">
                  <a:pos x="T12" y="T13"/>
                </a:cxn>
              </a:cxnLst>
              <a:rect l="0" t="0" r="r" b="b"/>
              <a:pathLst>
                <a:path w="212" h="212">
                  <a:moveTo>
                    <a:pt x="183" y="60"/>
                  </a:moveTo>
                  <a:cubicBezTo>
                    <a:pt x="212" y="90"/>
                    <a:pt x="208" y="141"/>
                    <a:pt x="175" y="175"/>
                  </a:cubicBezTo>
                  <a:cubicBezTo>
                    <a:pt x="141" y="209"/>
                    <a:pt x="90" y="212"/>
                    <a:pt x="60" y="183"/>
                  </a:cubicBezTo>
                  <a:lnTo>
                    <a:pt x="29" y="151"/>
                  </a:lnTo>
                  <a:cubicBezTo>
                    <a:pt x="0" y="122"/>
                    <a:pt x="3" y="71"/>
                    <a:pt x="37" y="37"/>
                  </a:cubicBezTo>
                  <a:cubicBezTo>
                    <a:pt x="71" y="3"/>
                    <a:pt x="122" y="0"/>
                    <a:pt x="151" y="29"/>
                  </a:cubicBezTo>
                  <a:lnTo>
                    <a:pt x="183" y="60"/>
                  </a:ln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80">
              <a:extLst>
                <a:ext uri="{FF2B5EF4-FFF2-40B4-BE49-F238E27FC236}">
                  <a16:creationId xmlns:a16="http://schemas.microsoft.com/office/drawing/2014/main" id="{D264404E-CF8F-4F7E-8D80-1EAA3D8E34A9}"/>
                </a:ext>
              </a:extLst>
            </p:cNvPr>
            <p:cNvSpPr>
              <a:spLocks/>
            </p:cNvSpPr>
            <p:nvPr userDrawn="1"/>
          </p:nvSpPr>
          <p:spPr bwMode="auto">
            <a:xfrm>
              <a:off x="6459538" y="1895475"/>
              <a:ext cx="139700" cy="177800"/>
            </a:xfrm>
            <a:custGeom>
              <a:avLst/>
              <a:gdLst>
                <a:gd name="T0" fmla="*/ 164 w 171"/>
                <a:gd name="T1" fmla="*/ 127 h 216"/>
                <a:gd name="T2" fmla="*/ 78 w 171"/>
                <a:gd name="T3" fmla="*/ 213 h 216"/>
                <a:gd name="T4" fmla="*/ 3 w 171"/>
                <a:gd name="T5" fmla="*/ 138 h 216"/>
                <a:gd name="T6" fmla="*/ 6 w 171"/>
                <a:gd name="T7" fmla="*/ 90 h 216"/>
                <a:gd name="T8" fmla="*/ 93 w 171"/>
                <a:gd name="T9" fmla="*/ 4 h 216"/>
                <a:gd name="T10" fmla="*/ 168 w 171"/>
                <a:gd name="T11" fmla="*/ 79 h 216"/>
                <a:gd name="T12" fmla="*/ 164 w 171"/>
                <a:gd name="T13" fmla="*/ 127 h 216"/>
              </a:gdLst>
              <a:ahLst/>
              <a:cxnLst>
                <a:cxn ang="0">
                  <a:pos x="T0" y="T1"/>
                </a:cxn>
                <a:cxn ang="0">
                  <a:pos x="T2" y="T3"/>
                </a:cxn>
                <a:cxn ang="0">
                  <a:pos x="T4" y="T5"/>
                </a:cxn>
                <a:cxn ang="0">
                  <a:pos x="T6" y="T7"/>
                </a:cxn>
                <a:cxn ang="0">
                  <a:pos x="T8" y="T9"/>
                </a:cxn>
                <a:cxn ang="0">
                  <a:pos x="T10" y="T11"/>
                </a:cxn>
                <a:cxn ang="0">
                  <a:pos x="T12" y="T13"/>
                </a:cxn>
              </a:cxnLst>
              <a:rect l="0" t="0" r="r" b="b"/>
              <a:pathLst>
                <a:path w="171" h="216">
                  <a:moveTo>
                    <a:pt x="164" y="127"/>
                  </a:moveTo>
                  <a:cubicBezTo>
                    <a:pt x="161" y="171"/>
                    <a:pt x="123" y="210"/>
                    <a:pt x="78" y="213"/>
                  </a:cubicBezTo>
                  <a:cubicBezTo>
                    <a:pt x="33" y="216"/>
                    <a:pt x="0" y="182"/>
                    <a:pt x="3" y="138"/>
                  </a:cubicBezTo>
                  <a:lnTo>
                    <a:pt x="6" y="90"/>
                  </a:lnTo>
                  <a:cubicBezTo>
                    <a:pt x="9" y="45"/>
                    <a:pt x="48" y="7"/>
                    <a:pt x="93" y="4"/>
                  </a:cubicBezTo>
                  <a:cubicBezTo>
                    <a:pt x="137" y="0"/>
                    <a:pt x="171" y="34"/>
                    <a:pt x="168" y="79"/>
                  </a:cubicBezTo>
                  <a:lnTo>
                    <a:pt x="164" y="127"/>
                  </a:lnTo>
                  <a:close/>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81">
              <a:extLst>
                <a:ext uri="{FF2B5EF4-FFF2-40B4-BE49-F238E27FC236}">
                  <a16:creationId xmlns:a16="http://schemas.microsoft.com/office/drawing/2014/main" id="{0CE3B2C2-7715-4481-807D-EFC023206F3B}"/>
                </a:ext>
              </a:extLst>
            </p:cNvPr>
            <p:cNvSpPr>
              <a:spLocks noEditPoints="1"/>
            </p:cNvSpPr>
            <p:nvPr userDrawn="1"/>
          </p:nvSpPr>
          <p:spPr bwMode="auto">
            <a:xfrm>
              <a:off x="6300788" y="1984375"/>
              <a:ext cx="428625" cy="428625"/>
            </a:xfrm>
            <a:custGeom>
              <a:avLst/>
              <a:gdLst>
                <a:gd name="T0" fmla="*/ 204 w 525"/>
                <a:gd name="T1" fmla="*/ 202 h 523"/>
                <a:gd name="T2" fmla="*/ 292 w 525"/>
                <a:gd name="T3" fmla="*/ 173 h 523"/>
                <a:gd name="T4" fmla="*/ 274 w 525"/>
                <a:gd name="T5" fmla="*/ 288 h 523"/>
                <a:gd name="T6" fmla="*/ 186 w 525"/>
                <a:gd name="T7" fmla="*/ 316 h 523"/>
                <a:gd name="T8" fmla="*/ 204 w 525"/>
                <a:gd name="T9" fmla="*/ 202 h 523"/>
                <a:gd name="T10" fmla="*/ 514 w 525"/>
                <a:gd name="T11" fmla="*/ 162 h 523"/>
                <a:gd name="T12" fmla="*/ 502 w 525"/>
                <a:gd name="T13" fmla="*/ 129 h 523"/>
                <a:gd name="T14" fmla="*/ 502 w 525"/>
                <a:gd name="T15" fmla="*/ 127 h 523"/>
                <a:gd name="T16" fmla="*/ 472 w 525"/>
                <a:gd name="T17" fmla="*/ 79 h 523"/>
                <a:gd name="T18" fmla="*/ 458 w 525"/>
                <a:gd name="T19" fmla="*/ 64 h 523"/>
                <a:gd name="T20" fmla="*/ 401 w 525"/>
                <a:gd name="T21" fmla="*/ 24 h 523"/>
                <a:gd name="T22" fmla="*/ 396 w 525"/>
                <a:gd name="T23" fmla="*/ 21 h 523"/>
                <a:gd name="T24" fmla="*/ 360 w 525"/>
                <a:gd name="T25" fmla="*/ 9 h 523"/>
                <a:gd name="T26" fmla="*/ 335 w 525"/>
                <a:gd name="T27" fmla="*/ 4 h 523"/>
                <a:gd name="T28" fmla="*/ 311 w 525"/>
                <a:gd name="T29" fmla="*/ 1 h 523"/>
                <a:gd name="T30" fmla="*/ 274 w 525"/>
                <a:gd name="T31" fmla="*/ 2 h 523"/>
                <a:gd name="T32" fmla="*/ 199 w 525"/>
                <a:gd name="T33" fmla="*/ 20 h 523"/>
                <a:gd name="T34" fmla="*/ 161 w 525"/>
                <a:gd name="T35" fmla="*/ 37 h 523"/>
                <a:gd name="T36" fmla="*/ 159 w 525"/>
                <a:gd name="T37" fmla="*/ 39 h 523"/>
                <a:gd name="T38" fmla="*/ 141 w 525"/>
                <a:gd name="T39" fmla="*/ 50 h 523"/>
                <a:gd name="T40" fmla="*/ 92 w 525"/>
                <a:gd name="T41" fmla="*/ 90 h 523"/>
                <a:gd name="T42" fmla="*/ 42 w 525"/>
                <a:gd name="T43" fmla="*/ 155 h 523"/>
                <a:gd name="T44" fmla="*/ 39 w 525"/>
                <a:gd name="T45" fmla="*/ 160 h 523"/>
                <a:gd name="T46" fmla="*/ 31 w 525"/>
                <a:gd name="T47" fmla="*/ 176 h 523"/>
                <a:gd name="T48" fmla="*/ 22 w 525"/>
                <a:gd name="T49" fmla="*/ 197 h 523"/>
                <a:gd name="T50" fmla="*/ 4 w 525"/>
                <a:gd name="T51" fmla="*/ 319 h 523"/>
                <a:gd name="T52" fmla="*/ 6 w 525"/>
                <a:gd name="T53" fmla="*/ 338 h 523"/>
                <a:gd name="T54" fmla="*/ 11 w 525"/>
                <a:gd name="T55" fmla="*/ 358 h 523"/>
                <a:gd name="T56" fmla="*/ 11 w 525"/>
                <a:gd name="T57" fmla="*/ 360 h 523"/>
                <a:gd name="T58" fmla="*/ 23 w 525"/>
                <a:gd name="T59" fmla="*/ 394 h 523"/>
                <a:gd name="T60" fmla="*/ 66 w 525"/>
                <a:gd name="T61" fmla="*/ 456 h 523"/>
                <a:gd name="T62" fmla="*/ 76 w 525"/>
                <a:gd name="T63" fmla="*/ 466 h 523"/>
                <a:gd name="T64" fmla="*/ 81 w 525"/>
                <a:gd name="T65" fmla="*/ 470 h 523"/>
                <a:gd name="T66" fmla="*/ 117 w 525"/>
                <a:gd name="T67" fmla="*/ 494 h 523"/>
                <a:gd name="T68" fmla="*/ 129 w 525"/>
                <a:gd name="T69" fmla="*/ 500 h 523"/>
                <a:gd name="T70" fmla="*/ 164 w 525"/>
                <a:gd name="T71" fmla="*/ 512 h 523"/>
                <a:gd name="T72" fmla="*/ 276 w 525"/>
                <a:gd name="T73" fmla="*/ 515 h 523"/>
                <a:gd name="T74" fmla="*/ 326 w 525"/>
                <a:gd name="T75" fmla="*/ 501 h 523"/>
                <a:gd name="T76" fmla="*/ 355 w 525"/>
                <a:gd name="T77" fmla="*/ 488 h 523"/>
                <a:gd name="T78" fmla="*/ 363 w 525"/>
                <a:gd name="T79" fmla="*/ 483 h 523"/>
                <a:gd name="T80" fmla="*/ 433 w 525"/>
                <a:gd name="T81" fmla="*/ 431 h 523"/>
                <a:gd name="T82" fmla="*/ 477 w 525"/>
                <a:gd name="T83" fmla="*/ 375 h 523"/>
                <a:gd name="T84" fmla="*/ 485 w 525"/>
                <a:gd name="T85" fmla="*/ 361 h 523"/>
                <a:gd name="T86" fmla="*/ 503 w 525"/>
                <a:gd name="T87" fmla="*/ 324 h 523"/>
                <a:gd name="T88" fmla="*/ 515 w 525"/>
                <a:gd name="T89" fmla="*/ 286 h 523"/>
                <a:gd name="T90" fmla="*/ 514 w 525"/>
                <a:gd name="T91" fmla="*/ 16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5" h="523">
                  <a:moveTo>
                    <a:pt x="204" y="202"/>
                  </a:moveTo>
                  <a:cubicBezTo>
                    <a:pt x="229" y="177"/>
                    <a:pt x="263" y="167"/>
                    <a:pt x="292" y="173"/>
                  </a:cubicBezTo>
                  <a:cubicBezTo>
                    <a:pt x="314" y="206"/>
                    <a:pt x="307" y="255"/>
                    <a:pt x="274" y="288"/>
                  </a:cubicBezTo>
                  <a:cubicBezTo>
                    <a:pt x="249" y="313"/>
                    <a:pt x="215" y="323"/>
                    <a:pt x="186" y="316"/>
                  </a:cubicBezTo>
                  <a:cubicBezTo>
                    <a:pt x="164" y="283"/>
                    <a:pt x="170" y="235"/>
                    <a:pt x="204" y="202"/>
                  </a:cubicBezTo>
                  <a:close/>
                  <a:moveTo>
                    <a:pt x="514" y="162"/>
                  </a:moveTo>
                  <a:cubicBezTo>
                    <a:pt x="511" y="151"/>
                    <a:pt x="507" y="140"/>
                    <a:pt x="502" y="129"/>
                  </a:cubicBezTo>
                  <a:lnTo>
                    <a:pt x="502" y="127"/>
                  </a:lnTo>
                  <a:cubicBezTo>
                    <a:pt x="494" y="110"/>
                    <a:pt x="484" y="94"/>
                    <a:pt x="472" y="79"/>
                  </a:cubicBezTo>
                  <a:cubicBezTo>
                    <a:pt x="468" y="74"/>
                    <a:pt x="463" y="69"/>
                    <a:pt x="458" y="64"/>
                  </a:cubicBezTo>
                  <a:cubicBezTo>
                    <a:pt x="441" y="47"/>
                    <a:pt x="422" y="34"/>
                    <a:pt x="401" y="24"/>
                  </a:cubicBezTo>
                  <a:cubicBezTo>
                    <a:pt x="399" y="23"/>
                    <a:pt x="397" y="22"/>
                    <a:pt x="396" y="21"/>
                  </a:cubicBezTo>
                  <a:cubicBezTo>
                    <a:pt x="384" y="16"/>
                    <a:pt x="372" y="12"/>
                    <a:pt x="360" y="9"/>
                  </a:cubicBezTo>
                  <a:cubicBezTo>
                    <a:pt x="352" y="6"/>
                    <a:pt x="344" y="5"/>
                    <a:pt x="335" y="4"/>
                  </a:cubicBezTo>
                  <a:cubicBezTo>
                    <a:pt x="327" y="2"/>
                    <a:pt x="319" y="1"/>
                    <a:pt x="311" y="1"/>
                  </a:cubicBezTo>
                  <a:cubicBezTo>
                    <a:pt x="299" y="0"/>
                    <a:pt x="287" y="1"/>
                    <a:pt x="274" y="2"/>
                  </a:cubicBezTo>
                  <a:cubicBezTo>
                    <a:pt x="249" y="4"/>
                    <a:pt x="223" y="10"/>
                    <a:pt x="199" y="20"/>
                  </a:cubicBezTo>
                  <a:cubicBezTo>
                    <a:pt x="186" y="25"/>
                    <a:pt x="174" y="30"/>
                    <a:pt x="161" y="37"/>
                  </a:cubicBezTo>
                  <a:lnTo>
                    <a:pt x="159" y="39"/>
                  </a:lnTo>
                  <a:cubicBezTo>
                    <a:pt x="153" y="42"/>
                    <a:pt x="147" y="46"/>
                    <a:pt x="141" y="50"/>
                  </a:cubicBezTo>
                  <a:cubicBezTo>
                    <a:pt x="124" y="61"/>
                    <a:pt x="107" y="75"/>
                    <a:pt x="92" y="90"/>
                  </a:cubicBezTo>
                  <a:cubicBezTo>
                    <a:pt x="72" y="110"/>
                    <a:pt x="55" y="132"/>
                    <a:pt x="42" y="155"/>
                  </a:cubicBezTo>
                  <a:cubicBezTo>
                    <a:pt x="41" y="156"/>
                    <a:pt x="40" y="158"/>
                    <a:pt x="39" y="160"/>
                  </a:cubicBezTo>
                  <a:cubicBezTo>
                    <a:pt x="36" y="165"/>
                    <a:pt x="33" y="170"/>
                    <a:pt x="31" y="176"/>
                  </a:cubicBezTo>
                  <a:cubicBezTo>
                    <a:pt x="27" y="183"/>
                    <a:pt x="25" y="190"/>
                    <a:pt x="22" y="197"/>
                  </a:cubicBezTo>
                  <a:cubicBezTo>
                    <a:pt x="6" y="237"/>
                    <a:pt x="0" y="279"/>
                    <a:pt x="4" y="319"/>
                  </a:cubicBezTo>
                  <a:cubicBezTo>
                    <a:pt x="4" y="325"/>
                    <a:pt x="5" y="331"/>
                    <a:pt x="6" y="338"/>
                  </a:cubicBezTo>
                  <a:cubicBezTo>
                    <a:pt x="7" y="345"/>
                    <a:pt x="9" y="351"/>
                    <a:pt x="11" y="358"/>
                  </a:cubicBezTo>
                  <a:lnTo>
                    <a:pt x="11" y="360"/>
                  </a:lnTo>
                  <a:cubicBezTo>
                    <a:pt x="14" y="371"/>
                    <a:pt x="18" y="382"/>
                    <a:pt x="23" y="394"/>
                  </a:cubicBezTo>
                  <a:cubicBezTo>
                    <a:pt x="33" y="416"/>
                    <a:pt x="48" y="438"/>
                    <a:pt x="66" y="456"/>
                  </a:cubicBezTo>
                  <a:cubicBezTo>
                    <a:pt x="70" y="460"/>
                    <a:pt x="73" y="463"/>
                    <a:pt x="76" y="466"/>
                  </a:cubicBezTo>
                  <a:cubicBezTo>
                    <a:pt x="78" y="467"/>
                    <a:pt x="80" y="469"/>
                    <a:pt x="81" y="470"/>
                  </a:cubicBezTo>
                  <a:cubicBezTo>
                    <a:pt x="92" y="479"/>
                    <a:pt x="104" y="487"/>
                    <a:pt x="117" y="494"/>
                  </a:cubicBezTo>
                  <a:cubicBezTo>
                    <a:pt x="121" y="496"/>
                    <a:pt x="125" y="498"/>
                    <a:pt x="129" y="500"/>
                  </a:cubicBezTo>
                  <a:cubicBezTo>
                    <a:pt x="141" y="505"/>
                    <a:pt x="152" y="509"/>
                    <a:pt x="164" y="512"/>
                  </a:cubicBezTo>
                  <a:cubicBezTo>
                    <a:pt x="200" y="522"/>
                    <a:pt x="238" y="523"/>
                    <a:pt x="276" y="515"/>
                  </a:cubicBezTo>
                  <a:cubicBezTo>
                    <a:pt x="293" y="512"/>
                    <a:pt x="310" y="508"/>
                    <a:pt x="326" y="501"/>
                  </a:cubicBezTo>
                  <a:cubicBezTo>
                    <a:pt x="336" y="497"/>
                    <a:pt x="346" y="493"/>
                    <a:pt x="355" y="488"/>
                  </a:cubicBezTo>
                  <a:cubicBezTo>
                    <a:pt x="358" y="486"/>
                    <a:pt x="361" y="485"/>
                    <a:pt x="363" y="483"/>
                  </a:cubicBezTo>
                  <a:cubicBezTo>
                    <a:pt x="388" y="470"/>
                    <a:pt x="411" y="452"/>
                    <a:pt x="433" y="431"/>
                  </a:cubicBezTo>
                  <a:cubicBezTo>
                    <a:pt x="450" y="414"/>
                    <a:pt x="465" y="395"/>
                    <a:pt x="477" y="375"/>
                  </a:cubicBezTo>
                  <a:cubicBezTo>
                    <a:pt x="480" y="371"/>
                    <a:pt x="483" y="366"/>
                    <a:pt x="485" y="361"/>
                  </a:cubicBezTo>
                  <a:cubicBezTo>
                    <a:pt x="492" y="349"/>
                    <a:pt x="498" y="337"/>
                    <a:pt x="503" y="324"/>
                  </a:cubicBezTo>
                  <a:cubicBezTo>
                    <a:pt x="508" y="311"/>
                    <a:pt x="512" y="299"/>
                    <a:pt x="515" y="286"/>
                  </a:cubicBezTo>
                  <a:cubicBezTo>
                    <a:pt x="525" y="244"/>
                    <a:pt x="524" y="202"/>
                    <a:pt x="514" y="162"/>
                  </a:cubicBez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82">
              <a:extLst>
                <a:ext uri="{FF2B5EF4-FFF2-40B4-BE49-F238E27FC236}">
                  <a16:creationId xmlns:a16="http://schemas.microsoft.com/office/drawing/2014/main" id="{D1F08CAB-007C-455D-A239-34E17DEDD6A4}"/>
                </a:ext>
              </a:extLst>
            </p:cNvPr>
            <p:cNvSpPr>
              <a:spLocks noEditPoints="1"/>
            </p:cNvSpPr>
            <p:nvPr userDrawn="1"/>
          </p:nvSpPr>
          <p:spPr bwMode="auto">
            <a:xfrm>
              <a:off x="6326188" y="2009775"/>
              <a:ext cx="377825" cy="376238"/>
            </a:xfrm>
            <a:custGeom>
              <a:avLst/>
              <a:gdLst>
                <a:gd name="T0" fmla="*/ 172 w 462"/>
                <a:gd name="T1" fmla="*/ 171 h 460"/>
                <a:gd name="T2" fmla="*/ 260 w 462"/>
                <a:gd name="T3" fmla="*/ 142 h 460"/>
                <a:gd name="T4" fmla="*/ 242 w 462"/>
                <a:gd name="T5" fmla="*/ 257 h 460"/>
                <a:gd name="T6" fmla="*/ 154 w 462"/>
                <a:gd name="T7" fmla="*/ 285 h 460"/>
                <a:gd name="T8" fmla="*/ 172 w 462"/>
                <a:gd name="T9" fmla="*/ 171 h 460"/>
                <a:gd name="T10" fmla="*/ 451 w 462"/>
                <a:gd name="T11" fmla="*/ 136 h 460"/>
                <a:gd name="T12" fmla="*/ 444 w 462"/>
                <a:gd name="T13" fmla="*/ 118 h 460"/>
                <a:gd name="T14" fmla="*/ 436 w 462"/>
                <a:gd name="T15" fmla="*/ 100 h 460"/>
                <a:gd name="T16" fmla="*/ 435 w 462"/>
                <a:gd name="T17" fmla="*/ 99 h 460"/>
                <a:gd name="T18" fmla="*/ 417 w 462"/>
                <a:gd name="T19" fmla="*/ 72 h 460"/>
                <a:gd name="T20" fmla="*/ 403 w 462"/>
                <a:gd name="T21" fmla="*/ 57 h 460"/>
                <a:gd name="T22" fmla="*/ 350 w 462"/>
                <a:gd name="T23" fmla="*/ 19 h 460"/>
                <a:gd name="T24" fmla="*/ 341 w 462"/>
                <a:gd name="T25" fmla="*/ 16 h 460"/>
                <a:gd name="T26" fmla="*/ 323 w 462"/>
                <a:gd name="T27" fmla="*/ 9 h 460"/>
                <a:gd name="T28" fmla="*/ 286 w 462"/>
                <a:gd name="T29" fmla="*/ 2 h 460"/>
                <a:gd name="T30" fmla="*/ 266 w 462"/>
                <a:gd name="T31" fmla="*/ 0 h 460"/>
                <a:gd name="T32" fmla="*/ 167 w 462"/>
                <a:gd name="T33" fmla="*/ 20 h 460"/>
                <a:gd name="T34" fmla="*/ 148 w 462"/>
                <a:gd name="T35" fmla="*/ 29 h 460"/>
                <a:gd name="T36" fmla="*/ 146 w 462"/>
                <a:gd name="T37" fmla="*/ 30 h 460"/>
                <a:gd name="T38" fmla="*/ 106 w 462"/>
                <a:gd name="T39" fmla="*/ 56 h 460"/>
                <a:gd name="T40" fmla="*/ 80 w 462"/>
                <a:gd name="T41" fmla="*/ 79 h 460"/>
                <a:gd name="T42" fmla="*/ 47 w 462"/>
                <a:gd name="T43" fmla="*/ 119 h 460"/>
                <a:gd name="T44" fmla="*/ 30 w 462"/>
                <a:gd name="T45" fmla="*/ 147 h 460"/>
                <a:gd name="T46" fmla="*/ 21 w 462"/>
                <a:gd name="T47" fmla="*/ 166 h 460"/>
                <a:gd name="T48" fmla="*/ 20 w 462"/>
                <a:gd name="T49" fmla="*/ 168 h 460"/>
                <a:gd name="T50" fmla="*/ 1 w 462"/>
                <a:gd name="T51" fmla="*/ 268 h 460"/>
                <a:gd name="T52" fmla="*/ 4 w 462"/>
                <a:gd name="T53" fmla="*/ 296 h 460"/>
                <a:gd name="T54" fmla="*/ 10 w 462"/>
                <a:gd name="T55" fmla="*/ 322 h 460"/>
                <a:gd name="T56" fmla="*/ 17 w 462"/>
                <a:gd name="T57" fmla="*/ 340 h 460"/>
                <a:gd name="T58" fmla="*/ 58 w 462"/>
                <a:gd name="T59" fmla="*/ 402 h 460"/>
                <a:gd name="T60" fmla="*/ 64 w 462"/>
                <a:gd name="T61" fmla="*/ 408 h 460"/>
                <a:gd name="T62" fmla="*/ 71 w 462"/>
                <a:gd name="T63" fmla="*/ 414 h 460"/>
                <a:gd name="T64" fmla="*/ 71 w 462"/>
                <a:gd name="T65" fmla="*/ 415 h 460"/>
                <a:gd name="T66" fmla="*/ 88 w 462"/>
                <a:gd name="T67" fmla="*/ 427 h 460"/>
                <a:gd name="T68" fmla="*/ 119 w 462"/>
                <a:gd name="T69" fmla="*/ 443 h 460"/>
                <a:gd name="T70" fmla="*/ 137 w 462"/>
                <a:gd name="T71" fmla="*/ 450 h 460"/>
                <a:gd name="T72" fmla="*/ 172 w 462"/>
                <a:gd name="T73" fmla="*/ 457 h 460"/>
                <a:gd name="T74" fmla="*/ 246 w 462"/>
                <a:gd name="T75" fmla="*/ 454 h 460"/>
                <a:gd name="T76" fmla="*/ 294 w 462"/>
                <a:gd name="T77" fmla="*/ 439 h 460"/>
                <a:gd name="T78" fmla="*/ 299 w 462"/>
                <a:gd name="T79" fmla="*/ 436 h 460"/>
                <a:gd name="T80" fmla="*/ 313 w 462"/>
                <a:gd name="T81" fmla="*/ 430 h 460"/>
                <a:gd name="T82" fmla="*/ 381 w 462"/>
                <a:gd name="T83" fmla="*/ 380 h 460"/>
                <a:gd name="T84" fmla="*/ 427 w 462"/>
                <a:gd name="T85" fmla="*/ 319 h 460"/>
                <a:gd name="T86" fmla="*/ 431 w 462"/>
                <a:gd name="T87" fmla="*/ 312 h 460"/>
                <a:gd name="T88" fmla="*/ 440 w 462"/>
                <a:gd name="T89" fmla="*/ 293 h 460"/>
                <a:gd name="T90" fmla="*/ 451 w 462"/>
                <a:gd name="T91" fmla="*/ 260 h 460"/>
                <a:gd name="T92" fmla="*/ 451 w 462"/>
                <a:gd name="T93" fmla="*/ 13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2" h="460">
                  <a:moveTo>
                    <a:pt x="172" y="171"/>
                  </a:moveTo>
                  <a:cubicBezTo>
                    <a:pt x="197" y="146"/>
                    <a:pt x="231" y="136"/>
                    <a:pt x="260" y="142"/>
                  </a:cubicBezTo>
                  <a:cubicBezTo>
                    <a:pt x="282" y="175"/>
                    <a:pt x="275" y="224"/>
                    <a:pt x="242" y="257"/>
                  </a:cubicBezTo>
                  <a:cubicBezTo>
                    <a:pt x="217" y="282"/>
                    <a:pt x="183" y="292"/>
                    <a:pt x="154" y="285"/>
                  </a:cubicBezTo>
                  <a:cubicBezTo>
                    <a:pt x="132" y="252"/>
                    <a:pt x="138" y="204"/>
                    <a:pt x="172" y="171"/>
                  </a:cubicBezTo>
                  <a:close/>
                  <a:moveTo>
                    <a:pt x="451" y="136"/>
                  </a:moveTo>
                  <a:cubicBezTo>
                    <a:pt x="449" y="130"/>
                    <a:pt x="447" y="124"/>
                    <a:pt x="444" y="118"/>
                  </a:cubicBezTo>
                  <a:cubicBezTo>
                    <a:pt x="442" y="112"/>
                    <a:pt x="439" y="106"/>
                    <a:pt x="436" y="100"/>
                  </a:cubicBezTo>
                  <a:lnTo>
                    <a:pt x="435" y="99"/>
                  </a:lnTo>
                  <a:cubicBezTo>
                    <a:pt x="430" y="90"/>
                    <a:pt x="424" y="80"/>
                    <a:pt x="417" y="72"/>
                  </a:cubicBezTo>
                  <a:cubicBezTo>
                    <a:pt x="412" y="66"/>
                    <a:pt x="408" y="61"/>
                    <a:pt x="403" y="57"/>
                  </a:cubicBezTo>
                  <a:cubicBezTo>
                    <a:pt x="387" y="41"/>
                    <a:pt x="369" y="28"/>
                    <a:pt x="350" y="19"/>
                  </a:cubicBezTo>
                  <a:cubicBezTo>
                    <a:pt x="347" y="18"/>
                    <a:pt x="344" y="17"/>
                    <a:pt x="341" y="16"/>
                  </a:cubicBezTo>
                  <a:cubicBezTo>
                    <a:pt x="336" y="13"/>
                    <a:pt x="330" y="11"/>
                    <a:pt x="323" y="9"/>
                  </a:cubicBezTo>
                  <a:cubicBezTo>
                    <a:pt x="311" y="5"/>
                    <a:pt x="299" y="3"/>
                    <a:pt x="286" y="2"/>
                  </a:cubicBezTo>
                  <a:cubicBezTo>
                    <a:pt x="279" y="1"/>
                    <a:pt x="273" y="0"/>
                    <a:pt x="266" y="0"/>
                  </a:cubicBezTo>
                  <a:cubicBezTo>
                    <a:pt x="233" y="0"/>
                    <a:pt x="199" y="6"/>
                    <a:pt x="167" y="20"/>
                  </a:cubicBezTo>
                  <a:cubicBezTo>
                    <a:pt x="161" y="23"/>
                    <a:pt x="154" y="26"/>
                    <a:pt x="148" y="29"/>
                  </a:cubicBezTo>
                  <a:lnTo>
                    <a:pt x="146" y="30"/>
                  </a:lnTo>
                  <a:cubicBezTo>
                    <a:pt x="132" y="37"/>
                    <a:pt x="119" y="46"/>
                    <a:pt x="106" y="56"/>
                  </a:cubicBezTo>
                  <a:cubicBezTo>
                    <a:pt x="97" y="63"/>
                    <a:pt x="88" y="71"/>
                    <a:pt x="80" y="79"/>
                  </a:cubicBezTo>
                  <a:cubicBezTo>
                    <a:pt x="67" y="92"/>
                    <a:pt x="56" y="105"/>
                    <a:pt x="47" y="119"/>
                  </a:cubicBezTo>
                  <a:cubicBezTo>
                    <a:pt x="40" y="128"/>
                    <a:pt x="35" y="138"/>
                    <a:pt x="30" y="147"/>
                  </a:cubicBezTo>
                  <a:cubicBezTo>
                    <a:pt x="27" y="153"/>
                    <a:pt x="24" y="160"/>
                    <a:pt x="21" y="166"/>
                  </a:cubicBezTo>
                  <a:lnTo>
                    <a:pt x="20" y="168"/>
                  </a:lnTo>
                  <a:cubicBezTo>
                    <a:pt x="7" y="200"/>
                    <a:pt x="0" y="235"/>
                    <a:pt x="1" y="268"/>
                  </a:cubicBezTo>
                  <a:cubicBezTo>
                    <a:pt x="2" y="277"/>
                    <a:pt x="2" y="287"/>
                    <a:pt x="4" y="296"/>
                  </a:cubicBezTo>
                  <a:cubicBezTo>
                    <a:pt x="5" y="305"/>
                    <a:pt x="7" y="314"/>
                    <a:pt x="10" y="322"/>
                  </a:cubicBezTo>
                  <a:cubicBezTo>
                    <a:pt x="12" y="329"/>
                    <a:pt x="14" y="334"/>
                    <a:pt x="17" y="340"/>
                  </a:cubicBezTo>
                  <a:cubicBezTo>
                    <a:pt x="26" y="363"/>
                    <a:pt x="39" y="384"/>
                    <a:pt x="58" y="402"/>
                  </a:cubicBezTo>
                  <a:cubicBezTo>
                    <a:pt x="60" y="404"/>
                    <a:pt x="62" y="406"/>
                    <a:pt x="64" y="408"/>
                  </a:cubicBezTo>
                  <a:cubicBezTo>
                    <a:pt x="66" y="410"/>
                    <a:pt x="69" y="412"/>
                    <a:pt x="71" y="414"/>
                  </a:cubicBezTo>
                  <a:lnTo>
                    <a:pt x="71" y="415"/>
                  </a:lnTo>
                  <a:cubicBezTo>
                    <a:pt x="77" y="419"/>
                    <a:pt x="82" y="423"/>
                    <a:pt x="88" y="427"/>
                  </a:cubicBezTo>
                  <a:cubicBezTo>
                    <a:pt x="98" y="433"/>
                    <a:pt x="108" y="439"/>
                    <a:pt x="119" y="443"/>
                  </a:cubicBezTo>
                  <a:cubicBezTo>
                    <a:pt x="125" y="446"/>
                    <a:pt x="131" y="448"/>
                    <a:pt x="137" y="450"/>
                  </a:cubicBezTo>
                  <a:cubicBezTo>
                    <a:pt x="148" y="453"/>
                    <a:pt x="160" y="455"/>
                    <a:pt x="172" y="457"/>
                  </a:cubicBezTo>
                  <a:cubicBezTo>
                    <a:pt x="196" y="460"/>
                    <a:pt x="221" y="459"/>
                    <a:pt x="246" y="454"/>
                  </a:cubicBezTo>
                  <a:cubicBezTo>
                    <a:pt x="262" y="450"/>
                    <a:pt x="278" y="445"/>
                    <a:pt x="294" y="439"/>
                  </a:cubicBezTo>
                  <a:cubicBezTo>
                    <a:pt x="296" y="438"/>
                    <a:pt x="297" y="437"/>
                    <a:pt x="299" y="436"/>
                  </a:cubicBezTo>
                  <a:cubicBezTo>
                    <a:pt x="304" y="434"/>
                    <a:pt x="308" y="432"/>
                    <a:pt x="313" y="430"/>
                  </a:cubicBezTo>
                  <a:cubicBezTo>
                    <a:pt x="337" y="417"/>
                    <a:pt x="360" y="401"/>
                    <a:pt x="381" y="380"/>
                  </a:cubicBezTo>
                  <a:cubicBezTo>
                    <a:pt x="399" y="361"/>
                    <a:pt x="415" y="341"/>
                    <a:pt x="427" y="319"/>
                  </a:cubicBezTo>
                  <a:cubicBezTo>
                    <a:pt x="428" y="317"/>
                    <a:pt x="430" y="314"/>
                    <a:pt x="431" y="312"/>
                  </a:cubicBezTo>
                  <a:cubicBezTo>
                    <a:pt x="434" y="305"/>
                    <a:pt x="437" y="299"/>
                    <a:pt x="440" y="293"/>
                  </a:cubicBezTo>
                  <a:cubicBezTo>
                    <a:pt x="444" y="282"/>
                    <a:pt x="448" y="271"/>
                    <a:pt x="451" y="260"/>
                  </a:cubicBezTo>
                  <a:cubicBezTo>
                    <a:pt x="462" y="218"/>
                    <a:pt x="462" y="175"/>
                    <a:pt x="451" y="136"/>
                  </a:cubicBez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83">
              <a:extLst>
                <a:ext uri="{FF2B5EF4-FFF2-40B4-BE49-F238E27FC236}">
                  <a16:creationId xmlns:a16="http://schemas.microsoft.com/office/drawing/2014/main" id="{32155F0C-3CB8-4E8B-896B-3DB24FCCEA0B}"/>
                </a:ext>
              </a:extLst>
            </p:cNvPr>
            <p:cNvSpPr>
              <a:spLocks noEditPoints="1"/>
            </p:cNvSpPr>
            <p:nvPr userDrawn="1"/>
          </p:nvSpPr>
          <p:spPr bwMode="auto">
            <a:xfrm>
              <a:off x="6415088" y="2101850"/>
              <a:ext cx="195263" cy="196850"/>
            </a:xfrm>
            <a:custGeom>
              <a:avLst/>
              <a:gdLst>
                <a:gd name="T0" fmla="*/ 63 w 238"/>
                <a:gd name="T1" fmla="*/ 59 h 241"/>
                <a:gd name="T2" fmla="*/ 151 w 238"/>
                <a:gd name="T3" fmla="*/ 30 h 241"/>
                <a:gd name="T4" fmla="*/ 133 w 238"/>
                <a:gd name="T5" fmla="*/ 145 h 241"/>
                <a:gd name="T6" fmla="*/ 45 w 238"/>
                <a:gd name="T7" fmla="*/ 173 h 241"/>
                <a:gd name="T8" fmla="*/ 63 w 238"/>
                <a:gd name="T9" fmla="*/ 59 h 241"/>
                <a:gd name="T10" fmla="*/ 230 w 238"/>
                <a:gd name="T11" fmla="*/ 64 h 241"/>
                <a:gd name="T12" fmla="*/ 209 w 238"/>
                <a:gd name="T13" fmla="*/ 30 h 241"/>
                <a:gd name="T14" fmla="*/ 168 w 238"/>
                <a:gd name="T15" fmla="*/ 6 h 241"/>
                <a:gd name="T16" fmla="*/ 118 w 238"/>
                <a:gd name="T17" fmla="*/ 3 h 241"/>
                <a:gd name="T18" fmla="*/ 45 w 238"/>
                <a:gd name="T19" fmla="*/ 41 h 241"/>
                <a:gd name="T20" fmla="*/ 7 w 238"/>
                <a:gd name="T21" fmla="*/ 154 h 241"/>
                <a:gd name="T22" fmla="*/ 27 w 238"/>
                <a:gd name="T23" fmla="*/ 197 h 241"/>
                <a:gd name="T24" fmla="*/ 34 w 238"/>
                <a:gd name="T25" fmla="*/ 205 h 241"/>
                <a:gd name="T26" fmla="*/ 154 w 238"/>
                <a:gd name="T27" fmla="*/ 223 h 241"/>
                <a:gd name="T28" fmla="*/ 197 w 238"/>
                <a:gd name="T29" fmla="*/ 193 h 241"/>
                <a:gd name="T30" fmla="*/ 221 w 238"/>
                <a:gd name="T31" fmla="*/ 162 h 241"/>
                <a:gd name="T32" fmla="*/ 236 w 238"/>
                <a:gd name="T33" fmla="*/ 114 h 241"/>
                <a:gd name="T34" fmla="*/ 230 w 238"/>
                <a:gd name="T35" fmla="*/ 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8" h="241">
                  <a:moveTo>
                    <a:pt x="63" y="59"/>
                  </a:moveTo>
                  <a:cubicBezTo>
                    <a:pt x="88" y="34"/>
                    <a:pt x="122" y="24"/>
                    <a:pt x="151" y="30"/>
                  </a:cubicBezTo>
                  <a:cubicBezTo>
                    <a:pt x="173" y="63"/>
                    <a:pt x="166" y="112"/>
                    <a:pt x="133" y="145"/>
                  </a:cubicBezTo>
                  <a:cubicBezTo>
                    <a:pt x="108" y="170"/>
                    <a:pt x="74" y="180"/>
                    <a:pt x="45" y="173"/>
                  </a:cubicBezTo>
                  <a:cubicBezTo>
                    <a:pt x="23" y="140"/>
                    <a:pt x="29" y="92"/>
                    <a:pt x="63" y="59"/>
                  </a:cubicBezTo>
                  <a:close/>
                  <a:moveTo>
                    <a:pt x="230" y="64"/>
                  </a:moveTo>
                  <a:cubicBezTo>
                    <a:pt x="226" y="52"/>
                    <a:pt x="218" y="40"/>
                    <a:pt x="209" y="30"/>
                  </a:cubicBezTo>
                  <a:cubicBezTo>
                    <a:pt x="197" y="19"/>
                    <a:pt x="183" y="11"/>
                    <a:pt x="168" y="6"/>
                  </a:cubicBezTo>
                  <a:cubicBezTo>
                    <a:pt x="152" y="1"/>
                    <a:pt x="135" y="0"/>
                    <a:pt x="118" y="3"/>
                  </a:cubicBezTo>
                  <a:cubicBezTo>
                    <a:pt x="92" y="8"/>
                    <a:pt x="66" y="21"/>
                    <a:pt x="45" y="41"/>
                  </a:cubicBezTo>
                  <a:cubicBezTo>
                    <a:pt x="13" y="73"/>
                    <a:pt x="0" y="116"/>
                    <a:pt x="7" y="154"/>
                  </a:cubicBezTo>
                  <a:cubicBezTo>
                    <a:pt x="10" y="170"/>
                    <a:pt x="17" y="185"/>
                    <a:pt x="27" y="197"/>
                  </a:cubicBezTo>
                  <a:cubicBezTo>
                    <a:pt x="29" y="200"/>
                    <a:pt x="32" y="202"/>
                    <a:pt x="34" y="205"/>
                  </a:cubicBezTo>
                  <a:cubicBezTo>
                    <a:pt x="65" y="235"/>
                    <a:pt x="112" y="241"/>
                    <a:pt x="154" y="223"/>
                  </a:cubicBezTo>
                  <a:cubicBezTo>
                    <a:pt x="169" y="216"/>
                    <a:pt x="184" y="206"/>
                    <a:pt x="197" y="193"/>
                  </a:cubicBezTo>
                  <a:cubicBezTo>
                    <a:pt x="207" y="184"/>
                    <a:pt x="215" y="173"/>
                    <a:pt x="221" y="162"/>
                  </a:cubicBezTo>
                  <a:cubicBezTo>
                    <a:pt x="229" y="147"/>
                    <a:pt x="235" y="130"/>
                    <a:pt x="236" y="114"/>
                  </a:cubicBezTo>
                  <a:cubicBezTo>
                    <a:pt x="238" y="97"/>
                    <a:pt x="236" y="80"/>
                    <a:pt x="230" y="64"/>
                  </a:cubicBez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84">
              <a:extLst>
                <a:ext uri="{FF2B5EF4-FFF2-40B4-BE49-F238E27FC236}">
                  <a16:creationId xmlns:a16="http://schemas.microsoft.com/office/drawing/2014/main" id="{B23BD794-2A8C-459A-AC6B-EB98E76DA6B3}"/>
                </a:ext>
              </a:extLst>
            </p:cNvPr>
            <p:cNvSpPr>
              <a:spLocks/>
            </p:cNvSpPr>
            <p:nvPr userDrawn="1"/>
          </p:nvSpPr>
          <p:spPr bwMode="auto">
            <a:xfrm>
              <a:off x="6453188" y="2125663"/>
              <a:ext cx="142875" cy="150813"/>
            </a:xfrm>
            <a:custGeom>
              <a:avLst/>
              <a:gdLst>
                <a:gd name="T0" fmla="*/ 135 w 176"/>
                <a:gd name="T1" fmla="*/ 146 h 184"/>
                <a:gd name="T2" fmla="*/ 33 w 176"/>
                <a:gd name="T3" fmla="*/ 170 h 184"/>
                <a:gd name="T4" fmla="*/ 9 w 176"/>
                <a:gd name="T5" fmla="*/ 155 h 184"/>
                <a:gd name="T6" fmla="*/ 0 w 176"/>
                <a:gd name="T7" fmla="*/ 143 h 184"/>
                <a:gd name="T8" fmla="*/ 88 w 176"/>
                <a:gd name="T9" fmla="*/ 115 h 184"/>
                <a:gd name="T10" fmla="*/ 106 w 176"/>
                <a:gd name="T11" fmla="*/ 0 h 184"/>
                <a:gd name="T12" fmla="*/ 143 w 176"/>
                <a:gd name="T13" fmla="*/ 20 h 184"/>
                <a:gd name="T14" fmla="*/ 144 w 176"/>
                <a:gd name="T15" fmla="*/ 20 h 184"/>
                <a:gd name="T16" fmla="*/ 135 w 176"/>
                <a:gd name="T17" fmla="*/ 14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84">
                  <a:moveTo>
                    <a:pt x="135" y="146"/>
                  </a:moveTo>
                  <a:cubicBezTo>
                    <a:pt x="106" y="175"/>
                    <a:pt x="65" y="184"/>
                    <a:pt x="33" y="170"/>
                  </a:cubicBezTo>
                  <a:cubicBezTo>
                    <a:pt x="24" y="167"/>
                    <a:pt x="16" y="162"/>
                    <a:pt x="9" y="155"/>
                  </a:cubicBezTo>
                  <a:cubicBezTo>
                    <a:pt x="6" y="151"/>
                    <a:pt x="3" y="148"/>
                    <a:pt x="0" y="143"/>
                  </a:cubicBezTo>
                  <a:cubicBezTo>
                    <a:pt x="29" y="150"/>
                    <a:pt x="63" y="140"/>
                    <a:pt x="88" y="115"/>
                  </a:cubicBezTo>
                  <a:cubicBezTo>
                    <a:pt x="121" y="82"/>
                    <a:pt x="128" y="33"/>
                    <a:pt x="106" y="0"/>
                  </a:cubicBezTo>
                  <a:cubicBezTo>
                    <a:pt x="120" y="3"/>
                    <a:pt x="133" y="10"/>
                    <a:pt x="143" y="20"/>
                  </a:cubicBezTo>
                  <a:lnTo>
                    <a:pt x="144" y="20"/>
                  </a:lnTo>
                  <a:cubicBezTo>
                    <a:pt x="176" y="52"/>
                    <a:pt x="172" y="109"/>
                    <a:pt x="135" y="146"/>
                  </a:cubicBez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85">
              <a:extLst>
                <a:ext uri="{FF2B5EF4-FFF2-40B4-BE49-F238E27FC236}">
                  <a16:creationId xmlns:a16="http://schemas.microsoft.com/office/drawing/2014/main" id="{8325E9AC-1B76-45D6-B471-1D4C951CE869}"/>
                </a:ext>
              </a:extLst>
            </p:cNvPr>
            <p:cNvSpPr>
              <a:spLocks/>
            </p:cNvSpPr>
            <p:nvPr userDrawn="1"/>
          </p:nvSpPr>
          <p:spPr bwMode="auto">
            <a:xfrm>
              <a:off x="6356350" y="1962150"/>
              <a:ext cx="42863" cy="31750"/>
            </a:xfrm>
            <a:custGeom>
              <a:avLst/>
              <a:gdLst>
                <a:gd name="T0" fmla="*/ 52 w 52"/>
                <a:gd name="T1" fmla="*/ 28 h 39"/>
                <a:gd name="T2" fmla="*/ 12 w 52"/>
                <a:gd name="T3" fmla="*/ 0 h 39"/>
                <a:gd name="T4" fmla="*/ 13 w 52"/>
                <a:gd name="T5" fmla="*/ 20 h 39"/>
                <a:gd name="T6" fmla="*/ 52 w 52"/>
                <a:gd name="T7" fmla="*/ 28 h 39"/>
              </a:gdLst>
              <a:ahLst/>
              <a:cxnLst>
                <a:cxn ang="0">
                  <a:pos x="T0" y="T1"/>
                </a:cxn>
                <a:cxn ang="0">
                  <a:pos x="T2" y="T3"/>
                </a:cxn>
                <a:cxn ang="0">
                  <a:pos x="T4" y="T5"/>
                </a:cxn>
                <a:cxn ang="0">
                  <a:pos x="T6" y="T7"/>
                </a:cxn>
              </a:cxnLst>
              <a:rect l="0" t="0" r="r" b="b"/>
              <a:pathLst>
                <a:path w="52" h="39">
                  <a:moveTo>
                    <a:pt x="52" y="28"/>
                  </a:moveTo>
                  <a:lnTo>
                    <a:pt x="12" y="0"/>
                  </a:lnTo>
                  <a:cubicBezTo>
                    <a:pt x="12" y="0"/>
                    <a:pt x="0" y="1"/>
                    <a:pt x="13" y="20"/>
                  </a:cubicBezTo>
                  <a:cubicBezTo>
                    <a:pt x="26" y="39"/>
                    <a:pt x="52" y="28"/>
                    <a:pt x="52" y="28"/>
                  </a:cubicBez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86">
              <a:extLst>
                <a:ext uri="{FF2B5EF4-FFF2-40B4-BE49-F238E27FC236}">
                  <a16:creationId xmlns:a16="http://schemas.microsoft.com/office/drawing/2014/main" id="{60350A99-9C29-4FDE-8129-C7F545696471}"/>
                </a:ext>
              </a:extLst>
            </p:cNvPr>
            <p:cNvSpPr>
              <a:spLocks/>
            </p:cNvSpPr>
            <p:nvPr userDrawn="1"/>
          </p:nvSpPr>
          <p:spPr bwMode="auto">
            <a:xfrm>
              <a:off x="6518275" y="1881188"/>
              <a:ext cx="47625" cy="42863"/>
            </a:xfrm>
            <a:custGeom>
              <a:avLst/>
              <a:gdLst>
                <a:gd name="T0" fmla="*/ 57 w 57"/>
                <a:gd name="T1" fmla="*/ 29 h 53"/>
                <a:gd name="T2" fmla="*/ 15 w 57"/>
                <a:gd name="T3" fmla="*/ 0 h 53"/>
                <a:gd name="T4" fmla="*/ 15 w 57"/>
                <a:gd name="T5" fmla="*/ 29 h 53"/>
                <a:gd name="T6" fmla="*/ 45 w 57"/>
                <a:gd name="T7" fmla="*/ 49 h 53"/>
                <a:gd name="T8" fmla="*/ 57 w 57"/>
                <a:gd name="T9" fmla="*/ 29 h 53"/>
              </a:gdLst>
              <a:ahLst/>
              <a:cxnLst>
                <a:cxn ang="0">
                  <a:pos x="T0" y="T1"/>
                </a:cxn>
                <a:cxn ang="0">
                  <a:pos x="T2" y="T3"/>
                </a:cxn>
                <a:cxn ang="0">
                  <a:pos x="T4" y="T5"/>
                </a:cxn>
                <a:cxn ang="0">
                  <a:pos x="T6" y="T7"/>
                </a:cxn>
                <a:cxn ang="0">
                  <a:pos x="T8" y="T9"/>
                </a:cxn>
              </a:cxnLst>
              <a:rect l="0" t="0" r="r" b="b"/>
              <a:pathLst>
                <a:path w="57" h="53">
                  <a:moveTo>
                    <a:pt x="57" y="29"/>
                  </a:moveTo>
                  <a:lnTo>
                    <a:pt x="15" y="0"/>
                  </a:lnTo>
                  <a:cubicBezTo>
                    <a:pt x="15" y="0"/>
                    <a:pt x="0" y="12"/>
                    <a:pt x="15" y="29"/>
                  </a:cubicBezTo>
                  <a:cubicBezTo>
                    <a:pt x="29" y="46"/>
                    <a:pt x="34" y="53"/>
                    <a:pt x="45" y="49"/>
                  </a:cubicBezTo>
                  <a:cubicBezTo>
                    <a:pt x="56" y="44"/>
                    <a:pt x="57" y="29"/>
                    <a:pt x="57" y="29"/>
                  </a:cubicBezTo>
                  <a:close/>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87">
              <a:extLst>
                <a:ext uri="{FF2B5EF4-FFF2-40B4-BE49-F238E27FC236}">
                  <a16:creationId xmlns:a16="http://schemas.microsoft.com/office/drawing/2014/main" id="{39F975C3-ACA7-4C70-8484-4934E6B82871}"/>
                </a:ext>
              </a:extLst>
            </p:cNvPr>
            <p:cNvSpPr>
              <a:spLocks/>
            </p:cNvSpPr>
            <p:nvPr userDrawn="1"/>
          </p:nvSpPr>
          <p:spPr bwMode="auto">
            <a:xfrm>
              <a:off x="6677025" y="1938338"/>
              <a:ext cx="52388" cy="46038"/>
            </a:xfrm>
            <a:custGeom>
              <a:avLst/>
              <a:gdLst>
                <a:gd name="T0" fmla="*/ 64 w 64"/>
                <a:gd name="T1" fmla="*/ 30 h 56"/>
                <a:gd name="T2" fmla="*/ 19 w 64"/>
                <a:gd name="T3" fmla="*/ 0 h 56"/>
                <a:gd name="T4" fmla="*/ 19 w 64"/>
                <a:gd name="T5" fmla="*/ 28 h 56"/>
                <a:gd name="T6" fmla="*/ 55 w 64"/>
                <a:gd name="T7" fmla="*/ 51 h 56"/>
                <a:gd name="T8" fmla="*/ 64 w 64"/>
                <a:gd name="T9" fmla="*/ 30 h 56"/>
              </a:gdLst>
              <a:ahLst/>
              <a:cxnLst>
                <a:cxn ang="0">
                  <a:pos x="T0" y="T1"/>
                </a:cxn>
                <a:cxn ang="0">
                  <a:pos x="T2" y="T3"/>
                </a:cxn>
                <a:cxn ang="0">
                  <a:pos x="T4" y="T5"/>
                </a:cxn>
                <a:cxn ang="0">
                  <a:pos x="T6" y="T7"/>
                </a:cxn>
                <a:cxn ang="0">
                  <a:pos x="T8" y="T9"/>
                </a:cxn>
              </a:cxnLst>
              <a:rect l="0" t="0" r="r" b="b"/>
              <a:pathLst>
                <a:path w="64" h="56">
                  <a:moveTo>
                    <a:pt x="64" y="30"/>
                  </a:moveTo>
                  <a:lnTo>
                    <a:pt x="19" y="0"/>
                  </a:lnTo>
                  <a:cubicBezTo>
                    <a:pt x="19" y="0"/>
                    <a:pt x="0" y="4"/>
                    <a:pt x="19" y="28"/>
                  </a:cubicBezTo>
                  <a:cubicBezTo>
                    <a:pt x="38" y="52"/>
                    <a:pt x="48" y="56"/>
                    <a:pt x="55" y="51"/>
                  </a:cubicBezTo>
                  <a:cubicBezTo>
                    <a:pt x="63" y="45"/>
                    <a:pt x="64" y="30"/>
                    <a:pt x="64" y="30"/>
                  </a:cubicBezTo>
                  <a:close/>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88">
              <a:extLst>
                <a:ext uri="{FF2B5EF4-FFF2-40B4-BE49-F238E27FC236}">
                  <a16:creationId xmlns:a16="http://schemas.microsoft.com/office/drawing/2014/main" id="{8BC07DC5-E69D-48BC-8530-C389FDDA8206}"/>
                </a:ext>
              </a:extLst>
            </p:cNvPr>
            <p:cNvSpPr>
              <a:spLocks/>
            </p:cNvSpPr>
            <p:nvPr userDrawn="1"/>
          </p:nvSpPr>
          <p:spPr bwMode="auto">
            <a:xfrm>
              <a:off x="6735763" y="2098675"/>
              <a:ext cx="55563" cy="49213"/>
            </a:xfrm>
            <a:custGeom>
              <a:avLst/>
              <a:gdLst>
                <a:gd name="T0" fmla="*/ 65 w 68"/>
                <a:gd name="T1" fmla="*/ 32 h 60"/>
                <a:gd name="T2" fmla="*/ 17 w 68"/>
                <a:gd name="T3" fmla="*/ 0 h 60"/>
                <a:gd name="T4" fmla="*/ 17 w 68"/>
                <a:gd name="T5" fmla="*/ 28 h 60"/>
                <a:gd name="T6" fmla="*/ 62 w 68"/>
                <a:gd name="T7" fmla="*/ 57 h 60"/>
                <a:gd name="T8" fmla="*/ 65 w 68"/>
                <a:gd name="T9" fmla="*/ 32 h 60"/>
              </a:gdLst>
              <a:ahLst/>
              <a:cxnLst>
                <a:cxn ang="0">
                  <a:pos x="T0" y="T1"/>
                </a:cxn>
                <a:cxn ang="0">
                  <a:pos x="T2" y="T3"/>
                </a:cxn>
                <a:cxn ang="0">
                  <a:pos x="T4" y="T5"/>
                </a:cxn>
                <a:cxn ang="0">
                  <a:pos x="T6" y="T7"/>
                </a:cxn>
                <a:cxn ang="0">
                  <a:pos x="T8" y="T9"/>
                </a:cxn>
              </a:cxnLst>
              <a:rect l="0" t="0" r="r" b="b"/>
              <a:pathLst>
                <a:path w="68" h="60">
                  <a:moveTo>
                    <a:pt x="65" y="32"/>
                  </a:moveTo>
                  <a:lnTo>
                    <a:pt x="17" y="0"/>
                  </a:lnTo>
                  <a:cubicBezTo>
                    <a:pt x="17" y="0"/>
                    <a:pt x="0" y="5"/>
                    <a:pt x="17" y="28"/>
                  </a:cubicBezTo>
                  <a:cubicBezTo>
                    <a:pt x="34" y="51"/>
                    <a:pt x="56" y="60"/>
                    <a:pt x="62" y="57"/>
                  </a:cubicBezTo>
                  <a:cubicBezTo>
                    <a:pt x="68" y="53"/>
                    <a:pt x="65" y="32"/>
                    <a:pt x="65" y="32"/>
                  </a:cubicBez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89">
              <a:extLst>
                <a:ext uri="{FF2B5EF4-FFF2-40B4-BE49-F238E27FC236}">
                  <a16:creationId xmlns:a16="http://schemas.microsoft.com/office/drawing/2014/main" id="{36F1801D-6F1A-4803-B803-6DF74B0546A9}"/>
                </a:ext>
              </a:extLst>
            </p:cNvPr>
            <p:cNvSpPr>
              <a:spLocks/>
            </p:cNvSpPr>
            <p:nvPr userDrawn="1"/>
          </p:nvSpPr>
          <p:spPr bwMode="auto">
            <a:xfrm>
              <a:off x="6591300" y="2365375"/>
              <a:ext cx="44450" cy="42863"/>
            </a:xfrm>
            <a:custGeom>
              <a:avLst/>
              <a:gdLst>
                <a:gd name="T0" fmla="*/ 0 w 55"/>
                <a:gd name="T1" fmla="*/ 22 h 53"/>
                <a:gd name="T2" fmla="*/ 45 w 55"/>
                <a:gd name="T3" fmla="*/ 53 h 53"/>
                <a:gd name="T4" fmla="*/ 52 w 55"/>
                <a:gd name="T5" fmla="*/ 42 h 53"/>
                <a:gd name="T6" fmla="*/ 29 w 55"/>
                <a:gd name="T7" fmla="*/ 7 h 53"/>
                <a:gd name="T8" fmla="*/ 0 w 55"/>
                <a:gd name="T9" fmla="*/ 22 h 53"/>
              </a:gdLst>
              <a:ahLst/>
              <a:cxnLst>
                <a:cxn ang="0">
                  <a:pos x="T0" y="T1"/>
                </a:cxn>
                <a:cxn ang="0">
                  <a:pos x="T2" y="T3"/>
                </a:cxn>
                <a:cxn ang="0">
                  <a:pos x="T4" y="T5"/>
                </a:cxn>
                <a:cxn ang="0">
                  <a:pos x="T6" y="T7"/>
                </a:cxn>
                <a:cxn ang="0">
                  <a:pos x="T8" y="T9"/>
                </a:cxn>
              </a:cxnLst>
              <a:rect l="0" t="0" r="r" b="b"/>
              <a:pathLst>
                <a:path w="55" h="53">
                  <a:moveTo>
                    <a:pt x="0" y="22"/>
                  </a:moveTo>
                  <a:lnTo>
                    <a:pt x="45" y="53"/>
                  </a:lnTo>
                  <a:cubicBezTo>
                    <a:pt x="45" y="53"/>
                    <a:pt x="55" y="53"/>
                    <a:pt x="52" y="42"/>
                  </a:cubicBezTo>
                  <a:cubicBezTo>
                    <a:pt x="49" y="30"/>
                    <a:pt x="45" y="14"/>
                    <a:pt x="29" y="7"/>
                  </a:cubicBezTo>
                  <a:cubicBezTo>
                    <a:pt x="12" y="0"/>
                    <a:pt x="0" y="22"/>
                    <a:pt x="0" y="22"/>
                  </a:cubicBezTo>
                  <a:close/>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90">
              <a:extLst>
                <a:ext uri="{FF2B5EF4-FFF2-40B4-BE49-F238E27FC236}">
                  <a16:creationId xmlns:a16="http://schemas.microsoft.com/office/drawing/2014/main" id="{A1E8E914-E2FD-4CA3-8AD4-ED9A4BD01159}"/>
                </a:ext>
              </a:extLst>
            </p:cNvPr>
            <p:cNvSpPr>
              <a:spLocks/>
            </p:cNvSpPr>
            <p:nvPr userDrawn="1"/>
          </p:nvSpPr>
          <p:spPr bwMode="auto">
            <a:xfrm>
              <a:off x="6405563" y="2443163"/>
              <a:ext cx="65088" cy="47625"/>
            </a:xfrm>
            <a:custGeom>
              <a:avLst/>
              <a:gdLst>
                <a:gd name="T0" fmla="*/ 80 w 80"/>
                <a:gd name="T1" fmla="*/ 48 h 59"/>
                <a:gd name="T2" fmla="*/ 72 w 80"/>
                <a:gd name="T3" fmla="*/ 59 h 59"/>
                <a:gd name="T4" fmla="*/ 14 w 80"/>
                <a:gd name="T5" fmla="*/ 21 h 59"/>
                <a:gd name="T6" fmla="*/ 33 w 80"/>
                <a:gd name="T7" fmla="*/ 1 h 59"/>
                <a:gd name="T8" fmla="*/ 80 w 80"/>
                <a:gd name="T9" fmla="*/ 48 h 59"/>
              </a:gdLst>
              <a:ahLst/>
              <a:cxnLst>
                <a:cxn ang="0">
                  <a:pos x="T0" y="T1"/>
                </a:cxn>
                <a:cxn ang="0">
                  <a:pos x="T2" y="T3"/>
                </a:cxn>
                <a:cxn ang="0">
                  <a:pos x="T4" y="T5"/>
                </a:cxn>
                <a:cxn ang="0">
                  <a:pos x="T6" y="T7"/>
                </a:cxn>
                <a:cxn ang="0">
                  <a:pos x="T8" y="T9"/>
                </a:cxn>
              </a:cxnLst>
              <a:rect l="0" t="0" r="r" b="b"/>
              <a:pathLst>
                <a:path w="80" h="59">
                  <a:moveTo>
                    <a:pt x="80" y="48"/>
                  </a:moveTo>
                  <a:lnTo>
                    <a:pt x="72" y="59"/>
                  </a:lnTo>
                  <a:lnTo>
                    <a:pt x="14" y="21"/>
                  </a:lnTo>
                  <a:cubicBezTo>
                    <a:pt x="14" y="21"/>
                    <a:pt x="0" y="0"/>
                    <a:pt x="33" y="1"/>
                  </a:cubicBezTo>
                  <a:cubicBezTo>
                    <a:pt x="65" y="1"/>
                    <a:pt x="80" y="48"/>
                    <a:pt x="80" y="48"/>
                  </a:cubicBez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91">
              <a:extLst>
                <a:ext uri="{FF2B5EF4-FFF2-40B4-BE49-F238E27FC236}">
                  <a16:creationId xmlns:a16="http://schemas.microsoft.com/office/drawing/2014/main" id="{A377099D-B21E-4606-B608-9B4A9D98F8B8}"/>
                </a:ext>
              </a:extLst>
            </p:cNvPr>
            <p:cNvSpPr>
              <a:spLocks/>
            </p:cNvSpPr>
            <p:nvPr userDrawn="1"/>
          </p:nvSpPr>
          <p:spPr bwMode="auto">
            <a:xfrm>
              <a:off x="6251575" y="2352675"/>
              <a:ext cx="80963" cy="76200"/>
            </a:xfrm>
            <a:custGeom>
              <a:avLst/>
              <a:gdLst>
                <a:gd name="T0" fmla="*/ 55 w 100"/>
                <a:gd name="T1" fmla="*/ 92 h 92"/>
                <a:gd name="T2" fmla="*/ 0 w 100"/>
                <a:gd name="T3" fmla="*/ 54 h 92"/>
                <a:gd name="T4" fmla="*/ 63 w 100"/>
                <a:gd name="T5" fmla="*/ 0 h 92"/>
                <a:gd name="T6" fmla="*/ 93 w 100"/>
                <a:gd name="T7" fmla="*/ 63 h 92"/>
                <a:gd name="T8" fmla="*/ 55 w 100"/>
                <a:gd name="T9" fmla="*/ 92 h 92"/>
              </a:gdLst>
              <a:ahLst/>
              <a:cxnLst>
                <a:cxn ang="0">
                  <a:pos x="T0" y="T1"/>
                </a:cxn>
                <a:cxn ang="0">
                  <a:pos x="T2" y="T3"/>
                </a:cxn>
                <a:cxn ang="0">
                  <a:pos x="T4" y="T5"/>
                </a:cxn>
                <a:cxn ang="0">
                  <a:pos x="T6" y="T7"/>
                </a:cxn>
                <a:cxn ang="0">
                  <a:pos x="T8" y="T9"/>
                </a:cxn>
              </a:cxnLst>
              <a:rect l="0" t="0" r="r" b="b"/>
              <a:pathLst>
                <a:path w="100" h="92">
                  <a:moveTo>
                    <a:pt x="55" y="92"/>
                  </a:moveTo>
                  <a:lnTo>
                    <a:pt x="0" y="54"/>
                  </a:lnTo>
                  <a:lnTo>
                    <a:pt x="63" y="0"/>
                  </a:lnTo>
                  <a:cubicBezTo>
                    <a:pt x="63" y="0"/>
                    <a:pt x="100" y="49"/>
                    <a:pt x="93" y="63"/>
                  </a:cubicBezTo>
                  <a:cubicBezTo>
                    <a:pt x="86" y="77"/>
                    <a:pt x="55" y="92"/>
                    <a:pt x="55" y="92"/>
                  </a:cubicBezTo>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92">
              <a:extLst>
                <a:ext uri="{FF2B5EF4-FFF2-40B4-BE49-F238E27FC236}">
                  <a16:creationId xmlns:a16="http://schemas.microsoft.com/office/drawing/2014/main" id="{E092D701-A7FE-4DD1-8A2A-11CF516EAFE1}"/>
                </a:ext>
              </a:extLst>
            </p:cNvPr>
            <p:cNvSpPr>
              <a:spLocks/>
            </p:cNvSpPr>
            <p:nvPr userDrawn="1"/>
          </p:nvSpPr>
          <p:spPr bwMode="auto">
            <a:xfrm>
              <a:off x="6203950" y="2195513"/>
              <a:ext cx="74613" cy="74613"/>
            </a:xfrm>
            <a:custGeom>
              <a:avLst/>
              <a:gdLst>
                <a:gd name="T0" fmla="*/ 46 w 92"/>
                <a:gd name="T1" fmla="*/ 91 h 91"/>
                <a:gd name="T2" fmla="*/ 0 w 92"/>
                <a:gd name="T3" fmla="*/ 61 h 91"/>
                <a:gd name="T4" fmla="*/ 54 w 92"/>
                <a:gd name="T5" fmla="*/ 0 h 91"/>
                <a:gd name="T6" fmla="*/ 84 w 92"/>
                <a:gd name="T7" fmla="*/ 62 h 91"/>
                <a:gd name="T8" fmla="*/ 46 w 92"/>
                <a:gd name="T9" fmla="*/ 91 h 91"/>
              </a:gdLst>
              <a:ahLst/>
              <a:cxnLst>
                <a:cxn ang="0">
                  <a:pos x="T0" y="T1"/>
                </a:cxn>
                <a:cxn ang="0">
                  <a:pos x="T2" y="T3"/>
                </a:cxn>
                <a:cxn ang="0">
                  <a:pos x="T4" y="T5"/>
                </a:cxn>
                <a:cxn ang="0">
                  <a:pos x="T6" y="T7"/>
                </a:cxn>
                <a:cxn ang="0">
                  <a:pos x="T8" y="T9"/>
                </a:cxn>
              </a:cxnLst>
              <a:rect l="0" t="0" r="r" b="b"/>
              <a:pathLst>
                <a:path w="92" h="91">
                  <a:moveTo>
                    <a:pt x="46" y="91"/>
                  </a:moveTo>
                  <a:lnTo>
                    <a:pt x="0" y="61"/>
                  </a:lnTo>
                  <a:lnTo>
                    <a:pt x="54" y="0"/>
                  </a:lnTo>
                  <a:cubicBezTo>
                    <a:pt x="54" y="0"/>
                    <a:pt x="92" y="48"/>
                    <a:pt x="84" y="62"/>
                  </a:cubicBezTo>
                  <a:cubicBezTo>
                    <a:pt x="77" y="76"/>
                    <a:pt x="46" y="91"/>
                    <a:pt x="46" y="91"/>
                  </a:cubicBezTo>
                  <a:close/>
                </a:path>
              </a:pathLst>
            </a:custGeom>
            <a:solidFill>
              <a:srgbClr val="CE5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93">
              <a:extLst>
                <a:ext uri="{FF2B5EF4-FFF2-40B4-BE49-F238E27FC236}">
                  <a16:creationId xmlns:a16="http://schemas.microsoft.com/office/drawing/2014/main" id="{270A8A0B-C4BC-401A-84D6-33DB1EF704B4}"/>
                </a:ext>
              </a:extLst>
            </p:cNvPr>
            <p:cNvSpPr>
              <a:spLocks/>
            </p:cNvSpPr>
            <p:nvPr userDrawn="1"/>
          </p:nvSpPr>
          <p:spPr bwMode="auto">
            <a:xfrm>
              <a:off x="6548438" y="1922463"/>
              <a:ext cx="177800" cy="177800"/>
            </a:xfrm>
            <a:custGeom>
              <a:avLst/>
              <a:gdLst>
                <a:gd name="T0" fmla="*/ 144 w 217"/>
                <a:gd name="T1" fmla="*/ 180 h 217"/>
                <a:gd name="T2" fmla="*/ 29 w 217"/>
                <a:gd name="T3" fmla="*/ 187 h 217"/>
                <a:gd name="T4" fmla="*/ 37 w 217"/>
                <a:gd name="T5" fmla="*/ 73 h 217"/>
                <a:gd name="T6" fmla="*/ 73 w 217"/>
                <a:gd name="T7" fmla="*/ 37 h 217"/>
                <a:gd name="T8" fmla="*/ 188 w 217"/>
                <a:gd name="T9" fmla="*/ 29 h 217"/>
                <a:gd name="T10" fmla="*/ 180 w 217"/>
                <a:gd name="T11" fmla="*/ 143 h 217"/>
                <a:gd name="T12" fmla="*/ 144 w 217"/>
                <a:gd name="T13" fmla="*/ 180 h 217"/>
              </a:gdLst>
              <a:ahLst/>
              <a:cxnLst>
                <a:cxn ang="0">
                  <a:pos x="T0" y="T1"/>
                </a:cxn>
                <a:cxn ang="0">
                  <a:pos x="T2" y="T3"/>
                </a:cxn>
                <a:cxn ang="0">
                  <a:pos x="T4" y="T5"/>
                </a:cxn>
                <a:cxn ang="0">
                  <a:pos x="T6" y="T7"/>
                </a:cxn>
                <a:cxn ang="0">
                  <a:pos x="T8" y="T9"/>
                </a:cxn>
                <a:cxn ang="0">
                  <a:pos x="T10" y="T11"/>
                </a:cxn>
                <a:cxn ang="0">
                  <a:pos x="T12" y="T13"/>
                </a:cxn>
              </a:cxnLst>
              <a:rect l="0" t="0" r="r" b="b"/>
              <a:pathLst>
                <a:path w="217" h="217">
                  <a:moveTo>
                    <a:pt x="144" y="180"/>
                  </a:moveTo>
                  <a:cubicBezTo>
                    <a:pt x="110" y="213"/>
                    <a:pt x="59" y="217"/>
                    <a:pt x="29" y="187"/>
                  </a:cubicBezTo>
                  <a:cubicBezTo>
                    <a:pt x="0" y="158"/>
                    <a:pt x="3" y="107"/>
                    <a:pt x="37" y="73"/>
                  </a:cubicBezTo>
                  <a:lnTo>
                    <a:pt x="73" y="37"/>
                  </a:lnTo>
                  <a:cubicBezTo>
                    <a:pt x="107" y="3"/>
                    <a:pt x="158" y="0"/>
                    <a:pt x="188" y="29"/>
                  </a:cubicBezTo>
                  <a:cubicBezTo>
                    <a:pt x="217" y="58"/>
                    <a:pt x="213" y="110"/>
                    <a:pt x="180" y="143"/>
                  </a:cubicBezTo>
                  <a:lnTo>
                    <a:pt x="144" y="180"/>
                  </a:lnTo>
                  <a:close/>
                </a:path>
              </a:pathLst>
            </a:custGeom>
            <a:solidFill>
              <a:srgbClr val="E47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94">
              <a:extLst>
                <a:ext uri="{FF2B5EF4-FFF2-40B4-BE49-F238E27FC236}">
                  <a16:creationId xmlns:a16="http://schemas.microsoft.com/office/drawing/2014/main" id="{19BC9372-F566-4281-A918-1C797636B588}"/>
                </a:ext>
              </a:extLst>
            </p:cNvPr>
            <p:cNvSpPr>
              <a:spLocks/>
            </p:cNvSpPr>
            <p:nvPr userDrawn="1"/>
          </p:nvSpPr>
          <p:spPr bwMode="auto">
            <a:xfrm>
              <a:off x="6600825" y="2087563"/>
              <a:ext cx="176213" cy="139700"/>
            </a:xfrm>
            <a:custGeom>
              <a:avLst/>
              <a:gdLst>
                <a:gd name="T0" fmla="*/ 78 w 215"/>
                <a:gd name="T1" fmla="*/ 168 h 171"/>
                <a:gd name="T2" fmla="*/ 3 w 215"/>
                <a:gd name="T3" fmla="*/ 92 h 171"/>
                <a:gd name="T4" fmla="*/ 89 w 215"/>
                <a:gd name="T5" fmla="*/ 6 h 171"/>
                <a:gd name="T6" fmla="*/ 137 w 215"/>
                <a:gd name="T7" fmla="*/ 3 h 171"/>
                <a:gd name="T8" fmla="*/ 212 w 215"/>
                <a:gd name="T9" fmla="*/ 78 h 171"/>
                <a:gd name="T10" fmla="*/ 126 w 215"/>
                <a:gd name="T11" fmla="*/ 164 h 171"/>
                <a:gd name="T12" fmla="*/ 78 w 215"/>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215" h="171">
                  <a:moveTo>
                    <a:pt x="78" y="168"/>
                  </a:moveTo>
                  <a:cubicBezTo>
                    <a:pt x="34" y="171"/>
                    <a:pt x="0" y="137"/>
                    <a:pt x="3" y="92"/>
                  </a:cubicBezTo>
                  <a:cubicBezTo>
                    <a:pt x="6" y="48"/>
                    <a:pt x="45" y="9"/>
                    <a:pt x="89" y="6"/>
                  </a:cubicBezTo>
                  <a:lnTo>
                    <a:pt x="137" y="3"/>
                  </a:lnTo>
                  <a:cubicBezTo>
                    <a:pt x="182" y="0"/>
                    <a:pt x="215" y="33"/>
                    <a:pt x="212" y="78"/>
                  </a:cubicBezTo>
                  <a:cubicBezTo>
                    <a:pt x="209" y="123"/>
                    <a:pt x="171" y="161"/>
                    <a:pt x="126" y="164"/>
                  </a:cubicBezTo>
                  <a:lnTo>
                    <a:pt x="78" y="168"/>
                  </a:lnTo>
                </a:path>
              </a:pathLst>
            </a:custGeom>
            <a:solidFill>
              <a:srgbClr val="E47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95">
              <a:extLst>
                <a:ext uri="{FF2B5EF4-FFF2-40B4-BE49-F238E27FC236}">
                  <a16:creationId xmlns:a16="http://schemas.microsoft.com/office/drawing/2014/main" id="{74F1EA7C-995F-41F1-8495-3281FA9A236F}"/>
                </a:ext>
              </a:extLst>
            </p:cNvPr>
            <p:cNvSpPr>
              <a:spLocks/>
            </p:cNvSpPr>
            <p:nvPr userDrawn="1"/>
          </p:nvSpPr>
          <p:spPr bwMode="auto">
            <a:xfrm>
              <a:off x="6529388" y="2225675"/>
              <a:ext cx="173038" cy="173038"/>
            </a:xfrm>
            <a:custGeom>
              <a:avLst/>
              <a:gdLst>
                <a:gd name="T0" fmla="*/ 29 w 212"/>
                <a:gd name="T1" fmla="*/ 151 h 212"/>
                <a:gd name="T2" fmla="*/ 37 w 212"/>
                <a:gd name="T3" fmla="*/ 37 h 212"/>
                <a:gd name="T4" fmla="*/ 151 w 212"/>
                <a:gd name="T5" fmla="*/ 29 h 212"/>
                <a:gd name="T6" fmla="*/ 183 w 212"/>
                <a:gd name="T7" fmla="*/ 60 h 212"/>
                <a:gd name="T8" fmla="*/ 175 w 212"/>
                <a:gd name="T9" fmla="*/ 175 h 212"/>
                <a:gd name="T10" fmla="*/ 61 w 212"/>
                <a:gd name="T11" fmla="*/ 183 h 212"/>
                <a:gd name="T12" fmla="*/ 29 w 212"/>
                <a:gd name="T13" fmla="*/ 151 h 212"/>
              </a:gdLst>
              <a:ahLst/>
              <a:cxnLst>
                <a:cxn ang="0">
                  <a:pos x="T0" y="T1"/>
                </a:cxn>
                <a:cxn ang="0">
                  <a:pos x="T2" y="T3"/>
                </a:cxn>
                <a:cxn ang="0">
                  <a:pos x="T4" y="T5"/>
                </a:cxn>
                <a:cxn ang="0">
                  <a:pos x="T6" y="T7"/>
                </a:cxn>
                <a:cxn ang="0">
                  <a:pos x="T8" y="T9"/>
                </a:cxn>
                <a:cxn ang="0">
                  <a:pos x="T10" y="T11"/>
                </a:cxn>
                <a:cxn ang="0">
                  <a:pos x="T12" y="T13"/>
                </a:cxn>
              </a:cxnLst>
              <a:rect l="0" t="0" r="r" b="b"/>
              <a:pathLst>
                <a:path w="212" h="212">
                  <a:moveTo>
                    <a:pt x="29" y="151"/>
                  </a:moveTo>
                  <a:cubicBezTo>
                    <a:pt x="0" y="122"/>
                    <a:pt x="3" y="71"/>
                    <a:pt x="37" y="37"/>
                  </a:cubicBezTo>
                  <a:cubicBezTo>
                    <a:pt x="71" y="3"/>
                    <a:pt x="122" y="0"/>
                    <a:pt x="151" y="29"/>
                  </a:cubicBezTo>
                  <a:lnTo>
                    <a:pt x="183" y="60"/>
                  </a:lnTo>
                  <a:cubicBezTo>
                    <a:pt x="212" y="90"/>
                    <a:pt x="209" y="141"/>
                    <a:pt x="175" y="175"/>
                  </a:cubicBezTo>
                  <a:cubicBezTo>
                    <a:pt x="141" y="208"/>
                    <a:pt x="90" y="212"/>
                    <a:pt x="61" y="183"/>
                  </a:cubicBezTo>
                  <a:lnTo>
                    <a:pt x="29" y="151"/>
                  </a:lnTo>
                </a:path>
              </a:pathLst>
            </a:custGeom>
            <a:solidFill>
              <a:srgbClr val="E47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96">
              <a:extLst>
                <a:ext uri="{FF2B5EF4-FFF2-40B4-BE49-F238E27FC236}">
                  <a16:creationId xmlns:a16="http://schemas.microsoft.com/office/drawing/2014/main" id="{8A62982E-9C2C-4903-9936-6DFB1BCAFFCC}"/>
                </a:ext>
              </a:extLst>
            </p:cNvPr>
            <p:cNvSpPr>
              <a:spLocks/>
            </p:cNvSpPr>
            <p:nvPr userDrawn="1"/>
          </p:nvSpPr>
          <p:spPr bwMode="auto">
            <a:xfrm>
              <a:off x="6391275" y="2297113"/>
              <a:ext cx="141288" cy="176213"/>
            </a:xfrm>
            <a:custGeom>
              <a:avLst/>
              <a:gdLst>
                <a:gd name="T0" fmla="*/ 6 w 171"/>
                <a:gd name="T1" fmla="*/ 89 h 215"/>
                <a:gd name="T2" fmla="*/ 93 w 171"/>
                <a:gd name="T3" fmla="*/ 3 h 215"/>
                <a:gd name="T4" fmla="*/ 168 w 171"/>
                <a:gd name="T5" fmla="*/ 78 h 215"/>
                <a:gd name="T6" fmla="*/ 165 w 171"/>
                <a:gd name="T7" fmla="*/ 126 h 215"/>
                <a:gd name="T8" fmla="*/ 78 w 171"/>
                <a:gd name="T9" fmla="*/ 212 h 215"/>
                <a:gd name="T10" fmla="*/ 3 w 171"/>
                <a:gd name="T11" fmla="*/ 137 h 215"/>
                <a:gd name="T12" fmla="*/ 6 w 171"/>
                <a:gd name="T13" fmla="*/ 89 h 215"/>
              </a:gdLst>
              <a:ahLst/>
              <a:cxnLst>
                <a:cxn ang="0">
                  <a:pos x="T0" y="T1"/>
                </a:cxn>
                <a:cxn ang="0">
                  <a:pos x="T2" y="T3"/>
                </a:cxn>
                <a:cxn ang="0">
                  <a:pos x="T4" y="T5"/>
                </a:cxn>
                <a:cxn ang="0">
                  <a:pos x="T6" y="T7"/>
                </a:cxn>
                <a:cxn ang="0">
                  <a:pos x="T8" y="T9"/>
                </a:cxn>
                <a:cxn ang="0">
                  <a:pos x="T10" y="T11"/>
                </a:cxn>
                <a:cxn ang="0">
                  <a:pos x="T12" y="T13"/>
                </a:cxn>
              </a:cxnLst>
              <a:rect l="0" t="0" r="r" b="b"/>
              <a:pathLst>
                <a:path w="171" h="215">
                  <a:moveTo>
                    <a:pt x="6" y="89"/>
                  </a:moveTo>
                  <a:cubicBezTo>
                    <a:pt x="9" y="44"/>
                    <a:pt x="48" y="6"/>
                    <a:pt x="93" y="3"/>
                  </a:cubicBezTo>
                  <a:cubicBezTo>
                    <a:pt x="137" y="0"/>
                    <a:pt x="171" y="33"/>
                    <a:pt x="168" y="78"/>
                  </a:cubicBezTo>
                  <a:lnTo>
                    <a:pt x="165" y="126"/>
                  </a:lnTo>
                  <a:cubicBezTo>
                    <a:pt x="162" y="170"/>
                    <a:pt x="123" y="209"/>
                    <a:pt x="78" y="212"/>
                  </a:cubicBezTo>
                  <a:cubicBezTo>
                    <a:pt x="34" y="215"/>
                    <a:pt x="0" y="181"/>
                    <a:pt x="3" y="137"/>
                  </a:cubicBezTo>
                  <a:lnTo>
                    <a:pt x="6" y="89"/>
                  </a:lnTo>
                  <a:close/>
                </a:path>
              </a:pathLst>
            </a:custGeom>
            <a:solidFill>
              <a:srgbClr val="E47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7">
              <a:extLst>
                <a:ext uri="{FF2B5EF4-FFF2-40B4-BE49-F238E27FC236}">
                  <a16:creationId xmlns:a16="http://schemas.microsoft.com/office/drawing/2014/main" id="{9A0317B0-19B5-4FA3-A367-255646F733D7}"/>
                </a:ext>
              </a:extLst>
            </p:cNvPr>
            <p:cNvSpPr>
              <a:spLocks/>
            </p:cNvSpPr>
            <p:nvPr userDrawn="1"/>
          </p:nvSpPr>
          <p:spPr bwMode="auto">
            <a:xfrm>
              <a:off x="6227763" y="2244725"/>
              <a:ext cx="177800" cy="177800"/>
            </a:xfrm>
            <a:custGeom>
              <a:avLst/>
              <a:gdLst>
                <a:gd name="T0" fmla="*/ 73 w 217"/>
                <a:gd name="T1" fmla="*/ 37 h 217"/>
                <a:gd name="T2" fmla="*/ 188 w 217"/>
                <a:gd name="T3" fmla="*/ 29 h 217"/>
                <a:gd name="T4" fmla="*/ 180 w 217"/>
                <a:gd name="T5" fmla="*/ 143 h 217"/>
                <a:gd name="T6" fmla="*/ 144 w 217"/>
                <a:gd name="T7" fmla="*/ 179 h 217"/>
                <a:gd name="T8" fmla="*/ 29 w 217"/>
                <a:gd name="T9" fmla="*/ 187 h 217"/>
                <a:gd name="T10" fmla="*/ 37 w 217"/>
                <a:gd name="T11" fmla="*/ 73 h 217"/>
                <a:gd name="T12" fmla="*/ 73 w 217"/>
                <a:gd name="T13" fmla="*/ 37 h 217"/>
              </a:gdLst>
              <a:ahLst/>
              <a:cxnLst>
                <a:cxn ang="0">
                  <a:pos x="T0" y="T1"/>
                </a:cxn>
                <a:cxn ang="0">
                  <a:pos x="T2" y="T3"/>
                </a:cxn>
                <a:cxn ang="0">
                  <a:pos x="T4" y="T5"/>
                </a:cxn>
                <a:cxn ang="0">
                  <a:pos x="T6" y="T7"/>
                </a:cxn>
                <a:cxn ang="0">
                  <a:pos x="T8" y="T9"/>
                </a:cxn>
                <a:cxn ang="0">
                  <a:pos x="T10" y="T11"/>
                </a:cxn>
                <a:cxn ang="0">
                  <a:pos x="T12" y="T13"/>
                </a:cxn>
              </a:cxnLst>
              <a:rect l="0" t="0" r="r" b="b"/>
              <a:pathLst>
                <a:path w="217" h="217">
                  <a:moveTo>
                    <a:pt x="73" y="37"/>
                  </a:moveTo>
                  <a:cubicBezTo>
                    <a:pt x="107" y="3"/>
                    <a:pt x="158" y="0"/>
                    <a:pt x="188" y="29"/>
                  </a:cubicBezTo>
                  <a:cubicBezTo>
                    <a:pt x="217" y="58"/>
                    <a:pt x="214" y="110"/>
                    <a:pt x="180" y="143"/>
                  </a:cubicBezTo>
                  <a:lnTo>
                    <a:pt x="144" y="179"/>
                  </a:lnTo>
                  <a:cubicBezTo>
                    <a:pt x="110" y="213"/>
                    <a:pt x="59" y="217"/>
                    <a:pt x="29" y="187"/>
                  </a:cubicBezTo>
                  <a:cubicBezTo>
                    <a:pt x="0" y="158"/>
                    <a:pt x="4" y="107"/>
                    <a:pt x="37" y="73"/>
                  </a:cubicBezTo>
                  <a:lnTo>
                    <a:pt x="73" y="37"/>
                  </a:lnTo>
                </a:path>
              </a:pathLst>
            </a:custGeom>
            <a:solidFill>
              <a:srgbClr val="E47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98">
              <a:extLst>
                <a:ext uri="{FF2B5EF4-FFF2-40B4-BE49-F238E27FC236}">
                  <a16:creationId xmlns:a16="http://schemas.microsoft.com/office/drawing/2014/main" id="{AE160548-C7AC-4473-80C9-A7ADF8CB4C7B}"/>
                </a:ext>
              </a:extLst>
            </p:cNvPr>
            <p:cNvSpPr>
              <a:spLocks/>
            </p:cNvSpPr>
            <p:nvPr userDrawn="1"/>
          </p:nvSpPr>
          <p:spPr bwMode="auto">
            <a:xfrm>
              <a:off x="6176963" y="2116138"/>
              <a:ext cx="176213" cy="141288"/>
            </a:xfrm>
            <a:custGeom>
              <a:avLst/>
              <a:gdLst>
                <a:gd name="T0" fmla="*/ 137 w 215"/>
                <a:gd name="T1" fmla="*/ 3 h 171"/>
                <a:gd name="T2" fmla="*/ 212 w 215"/>
                <a:gd name="T3" fmla="*/ 78 h 171"/>
                <a:gd name="T4" fmla="*/ 126 w 215"/>
                <a:gd name="T5" fmla="*/ 164 h 171"/>
                <a:gd name="T6" fmla="*/ 78 w 215"/>
                <a:gd name="T7" fmla="*/ 168 h 171"/>
                <a:gd name="T8" fmla="*/ 3 w 215"/>
                <a:gd name="T9" fmla="*/ 92 h 171"/>
                <a:gd name="T10" fmla="*/ 89 w 215"/>
                <a:gd name="T11" fmla="*/ 6 h 171"/>
                <a:gd name="T12" fmla="*/ 137 w 215"/>
                <a:gd name="T13" fmla="*/ 3 h 171"/>
              </a:gdLst>
              <a:ahLst/>
              <a:cxnLst>
                <a:cxn ang="0">
                  <a:pos x="T0" y="T1"/>
                </a:cxn>
                <a:cxn ang="0">
                  <a:pos x="T2" y="T3"/>
                </a:cxn>
                <a:cxn ang="0">
                  <a:pos x="T4" y="T5"/>
                </a:cxn>
                <a:cxn ang="0">
                  <a:pos x="T6" y="T7"/>
                </a:cxn>
                <a:cxn ang="0">
                  <a:pos x="T8" y="T9"/>
                </a:cxn>
                <a:cxn ang="0">
                  <a:pos x="T10" y="T11"/>
                </a:cxn>
                <a:cxn ang="0">
                  <a:pos x="T12" y="T13"/>
                </a:cxn>
              </a:cxnLst>
              <a:rect l="0" t="0" r="r" b="b"/>
              <a:pathLst>
                <a:path w="215" h="171">
                  <a:moveTo>
                    <a:pt x="137" y="3"/>
                  </a:moveTo>
                  <a:cubicBezTo>
                    <a:pt x="182" y="0"/>
                    <a:pt x="215" y="33"/>
                    <a:pt x="212" y="78"/>
                  </a:cubicBezTo>
                  <a:cubicBezTo>
                    <a:pt x="209" y="123"/>
                    <a:pt x="170" y="161"/>
                    <a:pt x="126" y="164"/>
                  </a:cubicBezTo>
                  <a:lnTo>
                    <a:pt x="78" y="168"/>
                  </a:lnTo>
                  <a:cubicBezTo>
                    <a:pt x="33" y="171"/>
                    <a:pt x="0" y="137"/>
                    <a:pt x="3" y="92"/>
                  </a:cubicBezTo>
                  <a:cubicBezTo>
                    <a:pt x="6" y="48"/>
                    <a:pt x="44" y="9"/>
                    <a:pt x="89" y="6"/>
                  </a:cubicBezTo>
                  <a:lnTo>
                    <a:pt x="137" y="3"/>
                  </a:lnTo>
                </a:path>
              </a:pathLst>
            </a:custGeom>
            <a:solidFill>
              <a:srgbClr val="E47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99">
              <a:extLst>
                <a:ext uri="{FF2B5EF4-FFF2-40B4-BE49-F238E27FC236}">
                  <a16:creationId xmlns:a16="http://schemas.microsoft.com/office/drawing/2014/main" id="{1DAECA35-6D20-4522-8713-54A7DFAE85C3}"/>
                </a:ext>
              </a:extLst>
            </p:cNvPr>
            <p:cNvSpPr>
              <a:spLocks/>
            </p:cNvSpPr>
            <p:nvPr userDrawn="1"/>
          </p:nvSpPr>
          <p:spPr bwMode="auto">
            <a:xfrm>
              <a:off x="6249988" y="1944688"/>
              <a:ext cx="174625" cy="174625"/>
            </a:xfrm>
            <a:custGeom>
              <a:avLst/>
              <a:gdLst>
                <a:gd name="T0" fmla="*/ 183 w 212"/>
                <a:gd name="T1" fmla="*/ 61 h 213"/>
                <a:gd name="T2" fmla="*/ 175 w 212"/>
                <a:gd name="T3" fmla="*/ 176 h 213"/>
                <a:gd name="T4" fmla="*/ 61 w 212"/>
                <a:gd name="T5" fmla="*/ 184 h 213"/>
                <a:gd name="T6" fmla="*/ 29 w 212"/>
                <a:gd name="T7" fmla="*/ 152 h 213"/>
                <a:gd name="T8" fmla="*/ 37 w 212"/>
                <a:gd name="T9" fmla="*/ 38 h 213"/>
                <a:gd name="T10" fmla="*/ 151 w 212"/>
                <a:gd name="T11" fmla="*/ 30 h 213"/>
                <a:gd name="T12" fmla="*/ 183 w 212"/>
                <a:gd name="T13" fmla="*/ 61 h 213"/>
              </a:gdLst>
              <a:ahLst/>
              <a:cxnLst>
                <a:cxn ang="0">
                  <a:pos x="T0" y="T1"/>
                </a:cxn>
                <a:cxn ang="0">
                  <a:pos x="T2" y="T3"/>
                </a:cxn>
                <a:cxn ang="0">
                  <a:pos x="T4" y="T5"/>
                </a:cxn>
                <a:cxn ang="0">
                  <a:pos x="T6" y="T7"/>
                </a:cxn>
                <a:cxn ang="0">
                  <a:pos x="T8" y="T9"/>
                </a:cxn>
                <a:cxn ang="0">
                  <a:pos x="T10" y="T11"/>
                </a:cxn>
                <a:cxn ang="0">
                  <a:pos x="T12" y="T13"/>
                </a:cxn>
              </a:cxnLst>
              <a:rect l="0" t="0" r="r" b="b"/>
              <a:pathLst>
                <a:path w="212" h="213">
                  <a:moveTo>
                    <a:pt x="183" y="61"/>
                  </a:moveTo>
                  <a:cubicBezTo>
                    <a:pt x="212" y="91"/>
                    <a:pt x="209" y="142"/>
                    <a:pt x="175" y="176"/>
                  </a:cubicBezTo>
                  <a:cubicBezTo>
                    <a:pt x="141" y="209"/>
                    <a:pt x="90" y="213"/>
                    <a:pt x="61" y="184"/>
                  </a:cubicBezTo>
                  <a:lnTo>
                    <a:pt x="29" y="152"/>
                  </a:lnTo>
                  <a:cubicBezTo>
                    <a:pt x="0" y="123"/>
                    <a:pt x="3" y="72"/>
                    <a:pt x="37" y="38"/>
                  </a:cubicBezTo>
                  <a:cubicBezTo>
                    <a:pt x="71" y="4"/>
                    <a:pt x="122" y="0"/>
                    <a:pt x="151" y="30"/>
                  </a:cubicBezTo>
                  <a:lnTo>
                    <a:pt x="183" y="61"/>
                  </a:lnTo>
                  <a:close/>
                </a:path>
              </a:pathLst>
            </a:custGeom>
            <a:solidFill>
              <a:srgbClr val="E47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00">
              <a:extLst>
                <a:ext uri="{FF2B5EF4-FFF2-40B4-BE49-F238E27FC236}">
                  <a16:creationId xmlns:a16="http://schemas.microsoft.com/office/drawing/2014/main" id="{EEA727F6-0861-47CC-BEB2-B32C0BAB1013}"/>
                </a:ext>
              </a:extLst>
            </p:cNvPr>
            <p:cNvSpPr>
              <a:spLocks/>
            </p:cNvSpPr>
            <p:nvPr userDrawn="1"/>
          </p:nvSpPr>
          <p:spPr bwMode="auto">
            <a:xfrm>
              <a:off x="6421438" y="1870075"/>
              <a:ext cx="139700" cy="177800"/>
            </a:xfrm>
            <a:custGeom>
              <a:avLst/>
              <a:gdLst>
                <a:gd name="T0" fmla="*/ 165 w 171"/>
                <a:gd name="T1" fmla="*/ 126 h 216"/>
                <a:gd name="T2" fmla="*/ 78 w 171"/>
                <a:gd name="T3" fmla="*/ 213 h 216"/>
                <a:gd name="T4" fmla="*/ 3 w 171"/>
                <a:gd name="T5" fmla="*/ 138 h 216"/>
                <a:gd name="T6" fmla="*/ 6 w 171"/>
                <a:gd name="T7" fmla="*/ 90 h 216"/>
                <a:gd name="T8" fmla="*/ 93 w 171"/>
                <a:gd name="T9" fmla="*/ 3 h 216"/>
                <a:gd name="T10" fmla="*/ 168 w 171"/>
                <a:gd name="T11" fmla="*/ 79 h 216"/>
                <a:gd name="T12" fmla="*/ 165 w 171"/>
                <a:gd name="T13" fmla="*/ 126 h 216"/>
              </a:gdLst>
              <a:ahLst/>
              <a:cxnLst>
                <a:cxn ang="0">
                  <a:pos x="T0" y="T1"/>
                </a:cxn>
                <a:cxn ang="0">
                  <a:pos x="T2" y="T3"/>
                </a:cxn>
                <a:cxn ang="0">
                  <a:pos x="T4" y="T5"/>
                </a:cxn>
                <a:cxn ang="0">
                  <a:pos x="T6" y="T7"/>
                </a:cxn>
                <a:cxn ang="0">
                  <a:pos x="T8" y="T9"/>
                </a:cxn>
                <a:cxn ang="0">
                  <a:pos x="T10" y="T11"/>
                </a:cxn>
                <a:cxn ang="0">
                  <a:pos x="T12" y="T13"/>
                </a:cxn>
              </a:cxnLst>
              <a:rect l="0" t="0" r="r" b="b"/>
              <a:pathLst>
                <a:path w="171" h="216">
                  <a:moveTo>
                    <a:pt x="165" y="126"/>
                  </a:moveTo>
                  <a:cubicBezTo>
                    <a:pt x="162" y="171"/>
                    <a:pt x="123" y="210"/>
                    <a:pt x="78" y="213"/>
                  </a:cubicBezTo>
                  <a:cubicBezTo>
                    <a:pt x="34" y="216"/>
                    <a:pt x="0" y="182"/>
                    <a:pt x="3" y="138"/>
                  </a:cubicBezTo>
                  <a:lnTo>
                    <a:pt x="6" y="90"/>
                  </a:lnTo>
                  <a:cubicBezTo>
                    <a:pt x="9" y="45"/>
                    <a:pt x="48" y="6"/>
                    <a:pt x="93" y="3"/>
                  </a:cubicBezTo>
                  <a:cubicBezTo>
                    <a:pt x="137" y="0"/>
                    <a:pt x="171" y="34"/>
                    <a:pt x="168" y="79"/>
                  </a:cubicBezTo>
                  <a:lnTo>
                    <a:pt x="165" y="126"/>
                  </a:lnTo>
                </a:path>
              </a:pathLst>
            </a:custGeom>
            <a:solidFill>
              <a:srgbClr val="E47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01">
              <a:extLst>
                <a:ext uri="{FF2B5EF4-FFF2-40B4-BE49-F238E27FC236}">
                  <a16:creationId xmlns:a16="http://schemas.microsoft.com/office/drawing/2014/main" id="{356210E4-DBA7-4AA4-967E-B326F5AF3369}"/>
                </a:ext>
              </a:extLst>
            </p:cNvPr>
            <p:cNvSpPr>
              <a:spLocks noEditPoints="1"/>
            </p:cNvSpPr>
            <p:nvPr userDrawn="1"/>
          </p:nvSpPr>
          <p:spPr bwMode="auto">
            <a:xfrm>
              <a:off x="6261100" y="1957388"/>
              <a:ext cx="430213" cy="427038"/>
            </a:xfrm>
            <a:custGeom>
              <a:avLst/>
              <a:gdLst>
                <a:gd name="T0" fmla="*/ 321 w 525"/>
                <a:gd name="T1" fmla="*/ 321 h 522"/>
                <a:gd name="T2" fmla="*/ 233 w 525"/>
                <a:gd name="T3" fmla="*/ 349 h 522"/>
                <a:gd name="T4" fmla="*/ 251 w 525"/>
                <a:gd name="T5" fmla="*/ 235 h 522"/>
                <a:gd name="T6" fmla="*/ 339 w 525"/>
                <a:gd name="T7" fmla="*/ 206 h 522"/>
                <a:gd name="T8" fmla="*/ 321 w 525"/>
                <a:gd name="T9" fmla="*/ 321 h 522"/>
                <a:gd name="T10" fmla="*/ 521 w 525"/>
                <a:gd name="T11" fmla="*/ 204 h 522"/>
                <a:gd name="T12" fmla="*/ 519 w 525"/>
                <a:gd name="T13" fmla="*/ 185 h 522"/>
                <a:gd name="T14" fmla="*/ 514 w 525"/>
                <a:gd name="T15" fmla="*/ 164 h 522"/>
                <a:gd name="T16" fmla="*/ 514 w 525"/>
                <a:gd name="T17" fmla="*/ 163 h 522"/>
                <a:gd name="T18" fmla="*/ 502 w 525"/>
                <a:gd name="T19" fmla="*/ 129 h 522"/>
                <a:gd name="T20" fmla="*/ 459 w 525"/>
                <a:gd name="T21" fmla="*/ 66 h 522"/>
                <a:gd name="T22" fmla="*/ 448 w 525"/>
                <a:gd name="T23" fmla="*/ 57 h 522"/>
                <a:gd name="T24" fmla="*/ 444 w 525"/>
                <a:gd name="T25" fmla="*/ 53 h 522"/>
                <a:gd name="T26" fmla="*/ 408 w 525"/>
                <a:gd name="T27" fmla="*/ 29 h 522"/>
                <a:gd name="T28" fmla="*/ 396 w 525"/>
                <a:gd name="T29" fmla="*/ 23 h 522"/>
                <a:gd name="T30" fmla="*/ 360 w 525"/>
                <a:gd name="T31" fmla="*/ 10 h 522"/>
                <a:gd name="T32" fmla="*/ 249 w 525"/>
                <a:gd name="T33" fmla="*/ 7 h 522"/>
                <a:gd name="T34" fmla="*/ 199 w 525"/>
                <a:gd name="T35" fmla="*/ 22 h 522"/>
                <a:gd name="T36" fmla="*/ 169 w 525"/>
                <a:gd name="T37" fmla="*/ 35 h 522"/>
                <a:gd name="T38" fmla="*/ 162 w 525"/>
                <a:gd name="T39" fmla="*/ 39 h 522"/>
                <a:gd name="T40" fmla="*/ 92 w 525"/>
                <a:gd name="T41" fmla="*/ 92 h 522"/>
                <a:gd name="T42" fmla="*/ 48 w 525"/>
                <a:gd name="T43" fmla="*/ 147 h 522"/>
                <a:gd name="T44" fmla="*/ 40 w 525"/>
                <a:gd name="T45" fmla="*/ 161 h 522"/>
                <a:gd name="T46" fmla="*/ 22 w 525"/>
                <a:gd name="T47" fmla="*/ 199 h 522"/>
                <a:gd name="T48" fmla="*/ 10 w 525"/>
                <a:gd name="T49" fmla="*/ 237 h 522"/>
                <a:gd name="T50" fmla="*/ 11 w 525"/>
                <a:gd name="T51" fmla="*/ 360 h 522"/>
                <a:gd name="T52" fmla="*/ 22 w 525"/>
                <a:gd name="T53" fmla="*/ 394 h 522"/>
                <a:gd name="T54" fmla="*/ 23 w 525"/>
                <a:gd name="T55" fmla="*/ 395 h 522"/>
                <a:gd name="T56" fmla="*/ 53 w 525"/>
                <a:gd name="T57" fmla="*/ 443 h 522"/>
                <a:gd name="T58" fmla="*/ 67 w 525"/>
                <a:gd name="T59" fmla="*/ 458 h 522"/>
                <a:gd name="T60" fmla="*/ 123 w 525"/>
                <a:gd name="T61" fmla="*/ 499 h 522"/>
                <a:gd name="T62" fmla="*/ 129 w 525"/>
                <a:gd name="T63" fmla="*/ 502 h 522"/>
                <a:gd name="T64" fmla="*/ 165 w 525"/>
                <a:gd name="T65" fmla="*/ 514 h 522"/>
                <a:gd name="T66" fmla="*/ 189 w 525"/>
                <a:gd name="T67" fmla="*/ 519 h 522"/>
                <a:gd name="T68" fmla="*/ 214 w 525"/>
                <a:gd name="T69" fmla="*/ 522 h 522"/>
                <a:gd name="T70" fmla="*/ 251 w 525"/>
                <a:gd name="T71" fmla="*/ 521 h 522"/>
                <a:gd name="T72" fmla="*/ 326 w 525"/>
                <a:gd name="T73" fmla="*/ 503 h 522"/>
                <a:gd name="T74" fmla="*/ 363 w 525"/>
                <a:gd name="T75" fmla="*/ 485 h 522"/>
                <a:gd name="T76" fmla="*/ 366 w 525"/>
                <a:gd name="T77" fmla="*/ 484 h 522"/>
                <a:gd name="T78" fmla="*/ 384 w 525"/>
                <a:gd name="T79" fmla="*/ 473 h 522"/>
                <a:gd name="T80" fmla="*/ 433 w 525"/>
                <a:gd name="T81" fmla="*/ 433 h 522"/>
                <a:gd name="T82" fmla="*/ 483 w 525"/>
                <a:gd name="T83" fmla="*/ 368 h 522"/>
                <a:gd name="T84" fmla="*/ 486 w 525"/>
                <a:gd name="T85" fmla="*/ 363 h 522"/>
                <a:gd name="T86" fmla="*/ 494 w 525"/>
                <a:gd name="T87" fmla="*/ 347 h 522"/>
                <a:gd name="T88" fmla="*/ 503 w 525"/>
                <a:gd name="T89" fmla="*/ 326 h 522"/>
                <a:gd name="T90" fmla="*/ 521 w 525"/>
                <a:gd name="T91" fmla="*/ 204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5" h="522">
                  <a:moveTo>
                    <a:pt x="321" y="321"/>
                  </a:moveTo>
                  <a:cubicBezTo>
                    <a:pt x="296" y="346"/>
                    <a:pt x="262" y="356"/>
                    <a:pt x="233" y="349"/>
                  </a:cubicBezTo>
                  <a:cubicBezTo>
                    <a:pt x="211" y="316"/>
                    <a:pt x="217" y="268"/>
                    <a:pt x="251" y="235"/>
                  </a:cubicBezTo>
                  <a:cubicBezTo>
                    <a:pt x="276" y="210"/>
                    <a:pt x="310" y="200"/>
                    <a:pt x="339" y="206"/>
                  </a:cubicBezTo>
                  <a:cubicBezTo>
                    <a:pt x="361" y="239"/>
                    <a:pt x="354" y="288"/>
                    <a:pt x="321" y="321"/>
                  </a:cubicBezTo>
                  <a:close/>
                  <a:moveTo>
                    <a:pt x="521" y="204"/>
                  </a:moveTo>
                  <a:cubicBezTo>
                    <a:pt x="521" y="197"/>
                    <a:pt x="520" y="191"/>
                    <a:pt x="519" y="185"/>
                  </a:cubicBezTo>
                  <a:cubicBezTo>
                    <a:pt x="518" y="178"/>
                    <a:pt x="516" y="171"/>
                    <a:pt x="514" y="164"/>
                  </a:cubicBezTo>
                  <a:lnTo>
                    <a:pt x="514" y="163"/>
                  </a:lnTo>
                  <a:cubicBezTo>
                    <a:pt x="511" y="152"/>
                    <a:pt x="507" y="140"/>
                    <a:pt x="502" y="129"/>
                  </a:cubicBezTo>
                  <a:cubicBezTo>
                    <a:pt x="491" y="106"/>
                    <a:pt x="477" y="85"/>
                    <a:pt x="459" y="66"/>
                  </a:cubicBezTo>
                  <a:cubicBezTo>
                    <a:pt x="455" y="63"/>
                    <a:pt x="452" y="60"/>
                    <a:pt x="448" y="57"/>
                  </a:cubicBezTo>
                  <a:cubicBezTo>
                    <a:pt x="447" y="56"/>
                    <a:pt x="445" y="54"/>
                    <a:pt x="444" y="53"/>
                  </a:cubicBezTo>
                  <a:cubicBezTo>
                    <a:pt x="433" y="44"/>
                    <a:pt x="421" y="36"/>
                    <a:pt x="408" y="29"/>
                  </a:cubicBezTo>
                  <a:cubicBezTo>
                    <a:pt x="404" y="27"/>
                    <a:pt x="400" y="25"/>
                    <a:pt x="396" y="23"/>
                  </a:cubicBezTo>
                  <a:cubicBezTo>
                    <a:pt x="384" y="18"/>
                    <a:pt x="372" y="14"/>
                    <a:pt x="360" y="10"/>
                  </a:cubicBezTo>
                  <a:cubicBezTo>
                    <a:pt x="325" y="1"/>
                    <a:pt x="287" y="0"/>
                    <a:pt x="249" y="7"/>
                  </a:cubicBezTo>
                  <a:cubicBezTo>
                    <a:pt x="232" y="10"/>
                    <a:pt x="215" y="15"/>
                    <a:pt x="199" y="22"/>
                  </a:cubicBezTo>
                  <a:cubicBezTo>
                    <a:pt x="189" y="25"/>
                    <a:pt x="179" y="30"/>
                    <a:pt x="169" y="35"/>
                  </a:cubicBezTo>
                  <a:cubicBezTo>
                    <a:pt x="167" y="36"/>
                    <a:pt x="164" y="38"/>
                    <a:pt x="162" y="39"/>
                  </a:cubicBezTo>
                  <a:cubicBezTo>
                    <a:pt x="137" y="53"/>
                    <a:pt x="113" y="70"/>
                    <a:pt x="92" y="92"/>
                  </a:cubicBezTo>
                  <a:cubicBezTo>
                    <a:pt x="75" y="109"/>
                    <a:pt x="60" y="128"/>
                    <a:pt x="48" y="147"/>
                  </a:cubicBezTo>
                  <a:cubicBezTo>
                    <a:pt x="45" y="152"/>
                    <a:pt x="42" y="157"/>
                    <a:pt x="40" y="161"/>
                  </a:cubicBezTo>
                  <a:cubicBezTo>
                    <a:pt x="33" y="174"/>
                    <a:pt x="27" y="186"/>
                    <a:pt x="22" y="199"/>
                  </a:cubicBezTo>
                  <a:cubicBezTo>
                    <a:pt x="17" y="211"/>
                    <a:pt x="13" y="224"/>
                    <a:pt x="10" y="237"/>
                  </a:cubicBezTo>
                  <a:cubicBezTo>
                    <a:pt x="0" y="279"/>
                    <a:pt x="0" y="321"/>
                    <a:pt x="11" y="360"/>
                  </a:cubicBezTo>
                  <a:cubicBezTo>
                    <a:pt x="14" y="371"/>
                    <a:pt x="18" y="383"/>
                    <a:pt x="22" y="394"/>
                  </a:cubicBezTo>
                  <a:lnTo>
                    <a:pt x="23" y="395"/>
                  </a:lnTo>
                  <a:cubicBezTo>
                    <a:pt x="31" y="412"/>
                    <a:pt x="41" y="429"/>
                    <a:pt x="53" y="443"/>
                  </a:cubicBezTo>
                  <a:cubicBezTo>
                    <a:pt x="57" y="449"/>
                    <a:pt x="62" y="453"/>
                    <a:pt x="67" y="458"/>
                  </a:cubicBezTo>
                  <a:cubicBezTo>
                    <a:pt x="84" y="475"/>
                    <a:pt x="103" y="489"/>
                    <a:pt x="123" y="499"/>
                  </a:cubicBezTo>
                  <a:cubicBezTo>
                    <a:pt x="125" y="500"/>
                    <a:pt x="127" y="501"/>
                    <a:pt x="129" y="502"/>
                  </a:cubicBezTo>
                  <a:cubicBezTo>
                    <a:pt x="141" y="507"/>
                    <a:pt x="152" y="511"/>
                    <a:pt x="165" y="514"/>
                  </a:cubicBezTo>
                  <a:cubicBezTo>
                    <a:pt x="173" y="516"/>
                    <a:pt x="181" y="518"/>
                    <a:pt x="189" y="519"/>
                  </a:cubicBezTo>
                  <a:cubicBezTo>
                    <a:pt x="198" y="520"/>
                    <a:pt x="206" y="521"/>
                    <a:pt x="214" y="522"/>
                  </a:cubicBezTo>
                  <a:cubicBezTo>
                    <a:pt x="226" y="522"/>
                    <a:pt x="238" y="522"/>
                    <a:pt x="251" y="521"/>
                  </a:cubicBezTo>
                  <a:cubicBezTo>
                    <a:pt x="276" y="519"/>
                    <a:pt x="302" y="512"/>
                    <a:pt x="326" y="503"/>
                  </a:cubicBezTo>
                  <a:cubicBezTo>
                    <a:pt x="339" y="498"/>
                    <a:pt x="351" y="492"/>
                    <a:pt x="363" y="485"/>
                  </a:cubicBezTo>
                  <a:lnTo>
                    <a:pt x="366" y="484"/>
                  </a:lnTo>
                  <a:cubicBezTo>
                    <a:pt x="372" y="480"/>
                    <a:pt x="378" y="477"/>
                    <a:pt x="384" y="473"/>
                  </a:cubicBezTo>
                  <a:cubicBezTo>
                    <a:pt x="401" y="461"/>
                    <a:pt x="418" y="448"/>
                    <a:pt x="433" y="433"/>
                  </a:cubicBezTo>
                  <a:cubicBezTo>
                    <a:pt x="453" y="413"/>
                    <a:pt x="470" y="391"/>
                    <a:pt x="483" y="368"/>
                  </a:cubicBezTo>
                  <a:lnTo>
                    <a:pt x="486" y="363"/>
                  </a:lnTo>
                  <a:cubicBezTo>
                    <a:pt x="489" y="358"/>
                    <a:pt x="491" y="352"/>
                    <a:pt x="494" y="347"/>
                  </a:cubicBezTo>
                  <a:cubicBezTo>
                    <a:pt x="497" y="340"/>
                    <a:pt x="500" y="333"/>
                    <a:pt x="503" y="326"/>
                  </a:cubicBezTo>
                  <a:cubicBezTo>
                    <a:pt x="519" y="286"/>
                    <a:pt x="525" y="244"/>
                    <a:pt x="521" y="204"/>
                  </a:cubicBezTo>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02">
              <a:extLst>
                <a:ext uri="{FF2B5EF4-FFF2-40B4-BE49-F238E27FC236}">
                  <a16:creationId xmlns:a16="http://schemas.microsoft.com/office/drawing/2014/main" id="{054EA1DB-2906-49A7-898C-600FD466C399}"/>
                </a:ext>
              </a:extLst>
            </p:cNvPr>
            <p:cNvSpPr>
              <a:spLocks noEditPoints="1"/>
            </p:cNvSpPr>
            <p:nvPr userDrawn="1"/>
          </p:nvSpPr>
          <p:spPr bwMode="auto">
            <a:xfrm>
              <a:off x="6286500" y="1982788"/>
              <a:ext cx="379413" cy="377825"/>
            </a:xfrm>
            <a:custGeom>
              <a:avLst/>
              <a:gdLst>
                <a:gd name="T0" fmla="*/ 221 w 463"/>
                <a:gd name="T1" fmla="*/ 203 h 460"/>
                <a:gd name="T2" fmla="*/ 309 w 463"/>
                <a:gd name="T3" fmla="*/ 174 h 460"/>
                <a:gd name="T4" fmla="*/ 291 w 463"/>
                <a:gd name="T5" fmla="*/ 289 h 460"/>
                <a:gd name="T6" fmla="*/ 203 w 463"/>
                <a:gd name="T7" fmla="*/ 317 h 460"/>
                <a:gd name="T8" fmla="*/ 221 w 463"/>
                <a:gd name="T9" fmla="*/ 203 h 460"/>
                <a:gd name="T10" fmla="*/ 459 w 463"/>
                <a:gd name="T11" fmla="*/ 163 h 460"/>
                <a:gd name="T12" fmla="*/ 453 w 463"/>
                <a:gd name="T13" fmla="*/ 137 h 460"/>
                <a:gd name="T14" fmla="*/ 446 w 463"/>
                <a:gd name="T15" fmla="*/ 119 h 460"/>
                <a:gd name="T16" fmla="*/ 405 w 463"/>
                <a:gd name="T17" fmla="*/ 57 h 460"/>
                <a:gd name="T18" fmla="*/ 399 w 463"/>
                <a:gd name="T19" fmla="*/ 51 h 460"/>
                <a:gd name="T20" fmla="*/ 392 w 463"/>
                <a:gd name="T21" fmla="*/ 45 h 460"/>
                <a:gd name="T22" fmla="*/ 392 w 463"/>
                <a:gd name="T23" fmla="*/ 45 h 460"/>
                <a:gd name="T24" fmla="*/ 375 w 463"/>
                <a:gd name="T25" fmla="*/ 33 h 460"/>
                <a:gd name="T26" fmla="*/ 344 w 463"/>
                <a:gd name="T27" fmla="*/ 17 h 460"/>
                <a:gd name="T28" fmla="*/ 325 w 463"/>
                <a:gd name="T29" fmla="*/ 10 h 460"/>
                <a:gd name="T30" fmla="*/ 291 w 463"/>
                <a:gd name="T31" fmla="*/ 3 h 460"/>
                <a:gd name="T32" fmla="*/ 217 w 463"/>
                <a:gd name="T33" fmla="*/ 6 h 460"/>
                <a:gd name="T34" fmla="*/ 169 w 463"/>
                <a:gd name="T35" fmla="*/ 21 h 460"/>
                <a:gd name="T36" fmla="*/ 164 w 463"/>
                <a:gd name="T37" fmla="*/ 23 h 460"/>
                <a:gd name="T38" fmla="*/ 150 w 463"/>
                <a:gd name="T39" fmla="*/ 30 h 460"/>
                <a:gd name="T40" fmla="*/ 82 w 463"/>
                <a:gd name="T41" fmla="*/ 80 h 460"/>
                <a:gd name="T42" fmla="*/ 36 w 463"/>
                <a:gd name="T43" fmla="*/ 140 h 460"/>
                <a:gd name="T44" fmla="*/ 32 w 463"/>
                <a:gd name="T45" fmla="*/ 148 h 460"/>
                <a:gd name="T46" fmla="*/ 23 w 463"/>
                <a:gd name="T47" fmla="*/ 167 h 460"/>
                <a:gd name="T48" fmla="*/ 12 w 463"/>
                <a:gd name="T49" fmla="*/ 200 h 460"/>
                <a:gd name="T50" fmla="*/ 12 w 463"/>
                <a:gd name="T51" fmla="*/ 323 h 460"/>
                <a:gd name="T52" fmla="*/ 19 w 463"/>
                <a:gd name="T53" fmla="*/ 341 h 460"/>
                <a:gd name="T54" fmla="*/ 27 w 463"/>
                <a:gd name="T55" fmla="*/ 359 h 460"/>
                <a:gd name="T56" fmla="*/ 28 w 463"/>
                <a:gd name="T57" fmla="*/ 361 h 460"/>
                <a:gd name="T58" fmla="*/ 46 w 463"/>
                <a:gd name="T59" fmla="*/ 388 h 460"/>
                <a:gd name="T60" fmla="*/ 60 w 463"/>
                <a:gd name="T61" fmla="*/ 403 h 460"/>
                <a:gd name="T62" fmla="*/ 113 w 463"/>
                <a:gd name="T63" fmla="*/ 440 h 460"/>
                <a:gd name="T64" fmla="*/ 122 w 463"/>
                <a:gd name="T65" fmla="*/ 444 h 460"/>
                <a:gd name="T66" fmla="*/ 139 w 463"/>
                <a:gd name="T67" fmla="*/ 451 h 460"/>
                <a:gd name="T68" fmla="*/ 177 w 463"/>
                <a:gd name="T69" fmla="*/ 458 h 460"/>
                <a:gd name="T70" fmla="*/ 197 w 463"/>
                <a:gd name="T71" fmla="*/ 459 h 460"/>
                <a:gd name="T72" fmla="*/ 296 w 463"/>
                <a:gd name="T73" fmla="*/ 440 h 460"/>
                <a:gd name="T74" fmla="*/ 315 w 463"/>
                <a:gd name="T75" fmla="*/ 431 h 460"/>
                <a:gd name="T76" fmla="*/ 317 w 463"/>
                <a:gd name="T77" fmla="*/ 430 h 460"/>
                <a:gd name="T78" fmla="*/ 357 w 463"/>
                <a:gd name="T79" fmla="*/ 404 h 460"/>
                <a:gd name="T80" fmla="*/ 383 w 463"/>
                <a:gd name="T81" fmla="*/ 381 h 460"/>
                <a:gd name="T82" fmla="*/ 416 w 463"/>
                <a:gd name="T83" fmla="*/ 340 h 460"/>
                <a:gd name="T84" fmla="*/ 433 w 463"/>
                <a:gd name="T85" fmla="*/ 312 h 460"/>
                <a:gd name="T86" fmla="*/ 442 w 463"/>
                <a:gd name="T87" fmla="*/ 293 h 460"/>
                <a:gd name="T88" fmla="*/ 443 w 463"/>
                <a:gd name="T89" fmla="*/ 292 h 460"/>
                <a:gd name="T90" fmla="*/ 461 w 463"/>
                <a:gd name="T91" fmla="*/ 192 h 460"/>
                <a:gd name="T92" fmla="*/ 459 w 463"/>
                <a:gd name="T93" fmla="*/ 163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3" h="460">
                  <a:moveTo>
                    <a:pt x="221" y="203"/>
                  </a:moveTo>
                  <a:cubicBezTo>
                    <a:pt x="246" y="178"/>
                    <a:pt x="280" y="168"/>
                    <a:pt x="309" y="174"/>
                  </a:cubicBezTo>
                  <a:cubicBezTo>
                    <a:pt x="331" y="207"/>
                    <a:pt x="324" y="256"/>
                    <a:pt x="291" y="289"/>
                  </a:cubicBezTo>
                  <a:cubicBezTo>
                    <a:pt x="266" y="314"/>
                    <a:pt x="232" y="324"/>
                    <a:pt x="203" y="317"/>
                  </a:cubicBezTo>
                  <a:cubicBezTo>
                    <a:pt x="181" y="284"/>
                    <a:pt x="187" y="236"/>
                    <a:pt x="221" y="203"/>
                  </a:cubicBezTo>
                  <a:close/>
                  <a:moveTo>
                    <a:pt x="459" y="163"/>
                  </a:moveTo>
                  <a:cubicBezTo>
                    <a:pt x="457" y="155"/>
                    <a:pt x="455" y="146"/>
                    <a:pt x="453" y="137"/>
                  </a:cubicBezTo>
                  <a:cubicBezTo>
                    <a:pt x="451" y="131"/>
                    <a:pt x="449" y="125"/>
                    <a:pt x="446" y="119"/>
                  </a:cubicBezTo>
                  <a:cubicBezTo>
                    <a:pt x="437" y="97"/>
                    <a:pt x="423" y="75"/>
                    <a:pt x="405" y="57"/>
                  </a:cubicBezTo>
                  <a:cubicBezTo>
                    <a:pt x="403" y="55"/>
                    <a:pt x="401" y="53"/>
                    <a:pt x="399" y="51"/>
                  </a:cubicBezTo>
                  <a:cubicBezTo>
                    <a:pt x="397" y="49"/>
                    <a:pt x="394" y="47"/>
                    <a:pt x="392" y="45"/>
                  </a:cubicBezTo>
                  <a:lnTo>
                    <a:pt x="392" y="45"/>
                  </a:lnTo>
                  <a:cubicBezTo>
                    <a:pt x="386" y="41"/>
                    <a:pt x="381" y="36"/>
                    <a:pt x="375" y="33"/>
                  </a:cubicBezTo>
                  <a:cubicBezTo>
                    <a:pt x="365" y="26"/>
                    <a:pt x="354" y="21"/>
                    <a:pt x="344" y="17"/>
                  </a:cubicBezTo>
                  <a:cubicBezTo>
                    <a:pt x="338" y="14"/>
                    <a:pt x="332" y="12"/>
                    <a:pt x="325" y="10"/>
                  </a:cubicBezTo>
                  <a:cubicBezTo>
                    <a:pt x="314" y="7"/>
                    <a:pt x="303" y="4"/>
                    <a:pt x="291" y="3"/>
                  </a:cubicBezTo>
                  <a:cubicBezTo>
                    <a:pt x="267" y="0"/>
                    <a:pt x="242" y="1"/>
                    <a:pt x="217" y="6"/>
                  </a:cubicBezTo>
                  <a:cubicBezTo>
                    <a:pt x="201" y="9"/>
                    <a:pt x="185" y="14"/>
                    <a:pt x="169" y="21"/>
                  </a:cubicBezTo>
                  <a:cubicBezTo>
                    <a:pt x="167" y="22"/>
                    <a:pt x="165" y="22"/>
                    <a:pt x="164" y="23"/>
                  </a:cubicBezTo>
                  <a:cubicBezTo>
                    <a:pt x="159" y="25"/>
                    <a:pt x="155" y="27"/>
                    <a:pt x="150" y="30"/>
                  </a:cubicBezTo>
                  <a:cubicBezTo>
                    <a:pt x="126" y="42"/>
                    <a:pt x="103" y="59"/>
                    <a:pt x="82" y="80"/>
                  </a:cubicBezTo>
                  <a:cubicBezTo>
                    <a:pt x="64" y="98"/>
                    <a:pt x="48" y="119"/>
                    <a:pt x="36" y="140"/>
                  </a:cubicBezTo>
                  <a:cubicBezTo>
                    <a:pt x="35" y="143"/>
                    <a:pt x="33" y="145"/>
                    <a:pt x="32" y="148"/>
                  </a:cubicBezTo>
                  <a:cubicBezTo>
                    <a:pt x="29" y="154"/>
                    <a:pt x="26" y="161"/>
                    <a:pt x="23" y="167"/>
                  </a:cubicBezTo>
                  <a:cubicBezTo>
                    <a:pt x="19" y="178"/>
                    <a:pt x="15" y="189"/>
                    <a:pt x="12" y="200"/>
                  </a:cubicBezTo>
                  <a:cubicBezTo>
                    <a:pt x="0" y="241"/>
                    <a:pt x="0" y="284"/>
                    <a:pt x="12" y="323"/>
                  </a:cubicBezTo>
                  <a:cubicBezTo>
                    <a:pt x="14" y="329"/>
                    <a:pt x="16" y="335"/>
                    <a:pt x="19" y="341"/>
                  </a:cubicBezTo>
                  <a:cubicBezTo>
                    <a:pt x="21" y="347"/>
                    <a:pt x="24" y="353"/>
                    <a:pt x="27" y="359"/>
                  </a:cubicBezTo>
                  <a:lnTo>
                    <a:pt x="28" y="361"/>
                  </a:lnTo>
                  <a:cubicBezTo>
                    <a:pt x="33" y="370"/>
                    <a:pt x="39" y="379"/>
                    <a:pt x="46" y="388"/>
                  </a:cubicBezTo>
                  <a:cubicBezTo>
                    <a:pt x="50" y="393"/>
                    <a:pt x="55" y="398"/>
                    <a:pt x="60" y="403"/>
                  </a:cubicBezTo>
                  <a:cubicBezTo>
                    <a:pt x="76" y="419"/>
                    <a:pt x="93" y="431"/>
                    <a:pt x="113" y="440"/>
                  </a:cubicBezTo>
                  <a:cubicBezTo>
                    <a:pt x="116" y="442"/>
                    <a:pt x="119" y="443"/>
                    <a:pt x="122" y="444"/>
                  </a:cubicBezTo>
                  <a:cubicBezTo>
                    <a:pt x="127" y="447"/>
                    <a:pt x="133" y="449"/>
                    <a:pt x="139" y="451"/>
                  </a:cubicBezTo>
                  <a:cubicBezTo>
                    <a:pt x="152" y="454"/>
                    <a:pt x="164" y="457"/>
                    <a:pt x="177" y="458"/>
                  </a:cubicBezTo>
                  <a:cubicBezTo>
                    <a:pt x="184" y="459"/>
                    <a:pt x="190" y="459"/>
                    <a:pt x="197" y="459"/>
                  </a:cubicBezTo>
                  <a:cubicBezTo>
                    <a:pt x="230" y="460"/>
                    <a:pt x="264" y="453"/>
                    <a:pt x="296" y="440"/>
                  </a:cubicBezTo>
                  <a:cubicBezTo>
                    <a:pt x="302" y="437"/>
                    <a:pt x="309" y="434"/>
                    <a:pt x="315" y="431"/>
                  </a:cubicBezTo>
                  <a:lnTo>
                    <a:pt x="317" y="430"/>
                  </a:lnTo>
                  <a:cubicBezTo>
                    <a:pt x="331" y="422"/>
                    <a:pt x="344" y="414"/>
                    <a:pt x="357" y="404"/>
                  </a:cubicBezTo>
                  <a:cubicBezTo>
                    <a:pt x="366" y="397"/>
                    <a:pt x="375" y="389"/>
                    <a:pt x="383" y="381"/>
                  </a:cubicBezTo>
                  <a:cubicBezTo>
                    <a:pt x="396" y="368"/>
                    <a:pt x="407" y="354"/>
                    <a:pt x="416" y="340"/>
                  </a:cubicBezTo>
                  <a:cubicBezTo>
                    <a:pt x="423" y="331"/>
                    <a:pt x="428" y="322"/>
                    <a:pt x="433" y="312"/>
                  </a:cubicBezTo>
                  <a:cubicBezTo>
                    <a:pt x="436" y="306"/>
                    <a:pt x="439" y="300"/>
                    <a:pt x="442" y="293"/>
                  </a:cubicBezTo>
                  <a:lnTo>
                    <a:pt x="443" y="292"/>
                  </a:lnTo>
                  <a:cubicBezTo>
                    <a:pt x="456" y="259"/>
                    <a:pt x="463" y="225"/>
                    <a:pt x="461" y="192"/>
                  </a:cubicBezTo>
                  <a:cubicBezTo>
                    <a:pt x="461" y="182"/>
                    <a:pt x="460" y="173"/>
                    <a:pt x="459" y="163"/>
                  </a:cubicBezTo>
                </a:path>
              </a:pathLst>
            </a:custGeom>
            <a:solidFill>
              <a:srgbClr val="F9A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03">
              <a:extLst>
                <a:ext uri="{FF2B5EF4-FFF2-40B4-BE49-F238E27FC236}">
                  <a16:creationId xmlns:a16="http://schemas.microsoft.com/office/drawing/2014/main" id="{81E62190-0BCC-4734-B566-53F721449571}"/>
                </a:ext>
              </a:extLst>
            </p:cNvPr>
            <p:cNvSpPr>
              <a:spLocks noEditPoints="1"/>
            </p:cNvSpPr>
            <p:nvPr userDrawn="1"/>
          </p:nvSpPr>
          <p:spPr bwMode="auto">
            <a:xfrm>
              <a:off x="6381750" y="2071688"/>
              <a:ext cx="193675" cy="196850"/>
            </a:xfrm>
            <a:custGeom>
              <a:avLst/>
              <a:gdLst>
                <a:gd name="T0" fmla="*/ 175 w 237"/>
                <a:gd name="T1" fmla="*/ 182 h 240"/>
                <a:gd name="T2" fmla="*/ 87 w 237"/>
                <a:gd name="T3" fmla="*/ 210 h 240"/>
                <a:gd name="T4" fmla="*/ 105 w 237"/>
                <a:gd name="T5" fmla="*/ 96 h 240"/>
                <a:gd name="T6" fmla="*/ 193 w 237"/>
                <a:gd name="T7" fmla="*/ 67 h 240"/>
                <a:gd name="T8" fmla="*/ 175 w 237"/>
                <a:gd name="T9" fmla="*/ 182 h 240"/>
                <a:gd name="T10" fmla="*/ 231 w 237"/>
                <a:gd name="T11" fmla="*/ 87 h 240"/>
                <a:gd name="T12" fmla="*/ 230 w 237"/>
                <a:gd name="T13" fmla="*/ 87 h 240"/>
                <a:gd name="T14" fmla="*/ 210 w 237"/>
                <a:gd name="T15" fmla="*/ 43 h 240"/>
                <a:gd name="T16" fmla="*/ 204 w 237"/>
                <a:gd name="T17" fmla="*/ 36 h 240"/>
                <a:gd name="T18" fmla="*/ 84 w 237"/>
                <a:gd name="T19" fmla="*/ 18 h 240"/>
                <a:gd name="T20" fmla="*/ 41 w 237"/>
                <a:gd name="T21" fmla="*/ 47 h 240"/>
                <a:gd name="T22" fmla="*/ 17 w 237"/>
                <a:gd name="T23" fmla="*/ 78 h 240"/>
                <a:gd name="T24" fmla="*/ 1 w 237"/>
                <a:gd name="T25" fmla="*/ 127 h 240"/>
                <a:gd name="T26" fmla="*/ 7 w 237"/>
                <a:gd name="T27" fmla="*/ 176 h 240"/>
                <a:gd name="T28" fmla="*/ 29 w 237"/>
                <a:gd name="T29" fmla="*/ 210 h 240"/>
                <a:gd name="T30" fmla="*/ 69 w 237"/>
                <a:gd name="T31" fmla="*/ 234 h 240"/>
                <a:gd name="T32" fmla="*/ 120 w 237"/>
                <a:gd name="T33" fmla="*/ 237 h 240"/>
                <a:gd name="T34" fmla="*/ 192 w 237"/>
                <a:gd name="T35" fmla="*/ 199 h 240"/>
                <a:gd name="T36" fmla="*/ 231 w 237"/>
                <a:gd name="T37" fmla="*/ 8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0">
                  <a:moveTo>
                    <a:pt x="175" y="182"/>
                  </a:moveTo>
                  <a:cubicBezTo>
                    <a:pt x="150" y="207"/>
                    <a:pt x="116" y="217"/>
                    <a:pt x="87" y="210"/>
                  </a:cubicBezTo>
                  <a:cubicBezTo>
                    <a:pt x="65" y="177"/>
                    <a:pt x="71" y="129"/>
                    <a:pt x="105" y="96"/>
                  </a:cubicBezTo>
                  <a:cubicBezTo>
                    <a:pt x="130" y="71"/>
                    <a:pt x="164" y="61"/>
                    <a:pt x="193" y="67"/>
                  </a:cubicBezTo>
                  <a:cubicBezTo>
                    <a:pt x="215" y="100"/>
                    <a:pt x="208" y="149"/>
                    <a:pt x="175" y="182"/>
                  </a:cubicBezTo>
                  <a:close/>
                  <a:moveTo>
                    <a:pt x="231" y="87"/>
                  </a:moveTo>
                  <a:lnTo>
                    <a:pt x="230" y="87"/>
                  </a:lnTo>
                  <a:cubicBezTo>
                    <a:pt x="227" y="71"/>
                    <a:pt x="221" y="56"/>
                    <a:pt x="210" y="43"/>
                  </a:cubicBezTo>
                  <a:cubicBezTo>
                    <a:pt x="208" y="41"/>
                    <a:pt x="206" y="38"/>
                    <a:pt x="204" y="36"/>
                  </a:cubicBezTo>
                  <a:cubicBezTo>
                    <a:pt x="173" y="5"/>
                    <a:pt x="126" y="0"/>
                    <a:pt x="84" y="18"/>
                  </a:cubicBezTo>
                  <a:cubicBezTo>
                    <a:pt x="69" y="24"/>
                    <a:pt x="54" y="34"/>
                    <a:pt x="41" y="47"/>
                  </a:cubicBezTo>
                  <a:cubicBezTo>
                    <a:pt x="31" y="57"/>
                    <a:pt x="23" y="67"/>
                    <a:pt x="17" y="78"/>
                  </a:cubicBezTo>
                  <a:cubicBezTo>
                    <a:pt x="8" y="94"/>
                    <a:pt x="3" y="110"/>
                    <a:pt x="1" y="127"/>
                  </a:cubicBezTo>
                  <a:cubicBezTo>
                    <a:pt x="0" y="144"/>
                    <a:pt x="2" y="161"/>
                    <a:pt x="7" y="176"/>
                  </a:cubicBezTo>
                  <a:cubicBezTo>
                    <a:pt x="12" y="189"/>
                    <a:pt x="19" y="201"/>
                    <a:pt x="29" y="210"/>
                  </a:cubicBezTo>
                  <a:cubicBezTo>
                    <a:pt x="41" y="222"/>
                    <a:pt x="54" y="230"/>
                    <a:pt x="69" y="234"/>
                  </a:cubicBezTo>
                  <a:cubicBezTo>
                    <a:pt x="85" y="239"/>
                    <a:pt x="103" y="240"/>
                    <a:pt x="120" y="237"/>
                  </a:cubicBezTo>
                  <a:cubicBezTo>
                    <a:pt x="146" y="233"/>
                    <a:pt x="171" y="220"/>
                    <a:pt x="192" y="199"/>
                  </a:cubicBezTo>
                  <a:cubicBezTo>
                    <a:pt x="224" y="167"/>
                    <a:pt x="237" y="125"/>
                    <a:pt x="231" y="87"/>
                  </a:cubicBezTo>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04">
              <a:extLst>
                <a:ext uri="{FF2B5EF4-FFF2-40B4-BE49-F238E27FC236}">
                  <a16:creationId xmlns:a16="http://schemas.microsoft.com/office/drawing/2014/main" id="{A6279B6D-F2E2-4019-AF5B-70C2FC83FCEC}"/>
                </a:ext>
              </a:extLst>
            </p:cNvPr>
            <p:cNvSpPr>
              <a:spLocks/>
            </p:cNvSpPr>
            <p:nvPr userDrawn="1"/>
          </p:nvSpPr>
          <p:spPr bwMode="auto">
            <a:xfrm>
              <a:off x="6394450" y="2092325"/>
              <a:ext cx="144463" cy="150813"/>
            </a:xfrm>
            <a:custGeom>
              <a:avLst/>
              <a:gdLst>
                <a:gd name="T0" fmla="*/ 176 w 176"/>
                <a:gd name="T1" fmla="*/ 40 h 183"/>
                <a:gd name="T2" fmla="*/ 88 w 176"/>
                <a:gd name="T3" fmla="*/ 69 h 183"/>
                <a:gd name="T4" fmla="*/ 70 w 176"/>
                <a:gd name="T5" fmla="*/ 183 h 183"/>
                <a:gd name="T6" fmla="*/ 32 w 176"/>
                <a:gd name="T7" fmla="*/ 164 h 183"/>
                <a:gd name="T8" fmla="*/ 32 w 176"/>
                <a:gd name="T9" fmla="*/ 164 h 183"/>
                <a:gd name="T10" fmla="*/ 41 w 176"/>
                <a:gd name="T11" fmla="*/ 38 h 183"/>
                <a:gd name="T12" fmla="*/ 143 w 176"/>
                <a:gd name="T13" fmla="*/ 13 h 183"/>
                <a:gd name="T14" fmla="*/ 167 w 176"/>
                <a:gd name="T15" fmla="*/ 29 h 183"/>
                <a:gd name="T16" fmla="*/ 176 w 176"/>
                <a:gd name="T17" fmla="*/ 4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83">
                  <a:moveTo>
                    <a:pt x="176" y="40"/>
                  </a:moveTo>
                  <a:cubicBezTo>
                    <a:pt x="147" y="34"/>
                    <a:pt x="113" y="44"/>
                    <a:pt x="88" y="69"/>
                  </a:cubicBezTo>
                  <a:cubicBezTo>
                    <a:pt x="54" y="102"/>
                    <a:pt x="48" y="150"/>
                    <a:pt x="70" y="183"/>
                  </a:cubicBezTo>
                  <a:cubicBezTo>
                    <a:pt x="56" y="181"/>
                    <a:pt x="43" y="174"/>
                    <a:pt x="32" y="164"/>
                  </a:cubicBezTo>
                  <a:lnTo>
                    <a:pt x="32" y="164"/>
                  </a:lnTo>
                  <a:cubicBezTo>
                    <a:pt x="0" y="131"/>
                    <a:pt x="4" y="75"/>
                    <a:pt x="41" y="38"/>
                  </a:cubicBezTo>
                  <a:cubicBezTo>
                    <a:pt x="70" y="9"/>
                    <a:pt x="111" y="0"/>
                    <a:pt x="143" y="13"/>
                  </a:cubicBezTo>
                  <a:cubicBezTo>
                    <a:pt x="152" y="17"/>
                    <a:pt x="160" y="22"/>
                    <a:pt x="167" y="29"/>
                  </a:cubicBezTo>
                  <a:cubicBezTo>
                    <a:pt x="170" y="32"/>
                    <a:pt x="173" y="36"/>
                    <a:pt x="176" y="40"/>
                  </a:cubicBezTo>
                </a:path>
              </a:pathLst>
            </a:custGeom>
            <a:solidFill>
              <a:srgbClr val="C66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105">
              <a:extLst>
                <a:ext uri="{FF2B5EF4-FFF2-40B4-BE49-F238E27FC236}">
                  <a16:creationId xmlns:a16="http://schemas.microsoft.com/office/drawing/2014/main" id="{0D4EBC5F-78E6-4050-8A62-26894D0F171E}"/>
                </a:ext>
              </a:extLst>
            </p:cNvPr>
            <p:cNvSpPr>
              <a:spLocks/>
            </p:cNvSpPr>
            <p:nvPr userDrawn="1"/>
          </p:nvSpPr>
          <p:spPr bwMode="auto">
            <a:xfrm>
              <a:off x="8948738" y="1981200"/>
              <a:ext cx="504825" cy="268288"/>
            </a:xfrm>
            <a:custGeom>
              <a:avLst/>
              <a:gdLst>
                <a:gd name="T0" fmla="*/ 318 w 318"/>
                <a:gd name="T1" fmla="*/ 0 h 169"/>
                <a:gd name="T2" fmla="*/ 250 w 318"/>
                <a:gd name="T3" fmla="*/ 169 h 169"/>
                <a:gd name="T4" fmla="*/ 0 w 318"/>
                <a:gd name="T5" fmla="*/ 169 h 169"/>
                <a:gd name="T6" fmla="*/ 68 w 318"/>
                <a:gd name="T7" fmla="*/ 0 h 169"/>
                <a:gd name="T8" fmla="*/ 318 w 318"/>
                <a:gd name="T9" fmla="*/ 0 h 169"/>
              </a:gdLst>
              <a:ahLst/>
              <a:cxnLst>
                <a:cxn ang="0">
                  <a:pos x="T0" y="T1"/>
                </a:cxn>
                <a:cxn ang="0">
                  <a:pos x="T2" y="T3"/>
                </a:cxn>
                <a:cxn ang="0">
                  <a:pos x="T4" y="T5"/>
                </a:cxn>
                <a:cxn ang="0">
                  <a:pos x="T6" y="T7"/>
                </a:cxn>
                <a:cxn ang="0">
                  <a:pos x="T8" y="T9"/>
                </a:cxn>
              </a:cxnLst>
              <a:rect l="0" t="0" r="r" b="b"/>
              <a:pathLst>
                <a:path w="318" h="169">
                  <a:moveTo>
                    <a:pt x="318" y="0"/>
                  </a:moveTo>
                  <a:lnTo>
                    <a:pt x="250" y="169"/>
                  </a:lnTo>
                  <a:lnTo>
                    <a:pt x="0" y="169"/>
                  </a:lnTo>
                  <a:lnTo>
                    <a:pt x="68" y="0"/>
                  </a:lnTo>
                  <a:lnTo>
                    <a:pt x="318" y="0"/>
                  </a:lnTo>
                  <a:close/>
                </a:path>
              </a:pathLst>
            </a:custGeom>
            <a:solidFill>
              <a:srgbClr val="F251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106">
              <a:extLst>
                <a:ext uri="{FF2B5EF4-FFF2-40B4-BE49-F238E27FC236}">
                  <a16:creationId xmlns:a16="http://schemas.microsoft.com/office/drawing/2014/main" id="{9EFA3452-944E-4E3B-8226-D5C340D26AA7}"/>
                </a:ext>
              </a:extLst>
            </p:cNvPr>
            <p:cNvSpPr>
              <a:spLocks/>
            </p:cNvSpPr>
            <p:nvPr userDrawn="1"/>
          </p:nvSpPr>
          <p:spPr bwMode="auto">
            <a:xfrm>
              <a:off x="9056688" y="1981200"/>
              <a:ext cx="396875" cy="133350"/>
            </a:xfrm>
            <a:custGeom>
              <a:avLst/>
              <a:gdLst>
                <a:gd name="T0" fmla="*/ 484 w 484"/>
                <a:gd name="T1" fmla="*/ 0 h 163"/>
                <a:gd name="T2" fmla="*/ 176 w 484"/>
                <a:gd name="T3" fmla="*/ 163 h 163"/>
                <a:gd name="T4" fmla="*/ 0 w 484"/>
                <a:gd name="T5" fmla="*/ 0 h 163"/>
                <a:gd name="T6" fmla="*/ 484 w 484"/>
                <a:gd name="T7" fmla="*/ 0 h 163"/>
              </a:gdLst>
              <a:ahLst/>
              <a:cxnLst>
                <a:cxn ang="0">
                  <a:pos x="T0" y="T1"/>
                </a:cxn>
                <a:cxn ang="0">
                  <a:pos x="T2" y="T3"/>
                </a:cxn>
                <a:cxn ang="0">
                  <a:pos x="T4" y="T5"/>
                </a:cxn>
                <a:cxn ang="0">
                  <a:pos x="T6" y="T7"/>
                </a:cxn>
              </a:cxnLst>
              <a:rect l="0" t="0" r="r" b="b"/>
              <a:pathLst>
                <a:path w="484" h="163">
                  <a:moveTo>
                    <a:pt x="484" y="0"/>
                  </a:moveTo>
                  <a:lnTo>
                    <a:pt x="176" y="163"/>
                  </a:lnTo>
                  <a:lnTo>
                    <a:pt x="0" y="0"/>
                  </a:lnTo>
                  <a:lnTo>
                    <a:pt x="484" y="0"/>
                  </a:lnTo>
                  <a:close/>
                </a:path>
              </a:pathLst>
            </a:custGeom>
            <a:solidFill>
              <a:srgbClr val="F57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07">
              <a:extLst>
                <a:ext uri="{FF2B5EF4-FFF2-40B4-BE49-F238E27FC236}">
                  <a16:creationId xmlns:a16="http://schemas.microsoft.com/office/drawing/2014/main" id="{2CBCB692-5B08-463B-BBE4-C16BCB418F9E}"/>
                </a:ext>
              </a:extLst>
            </p:cNvPr>
            <p:cNvSpPr>
              <a:spLocks/>
            </p:cNvSpPr>
            <p:nvPr userDrawn="1"/>
          </p:nvSpPr>
          <p:spPr bwMode="auto">
            <a:xfrm>
              <a:off x="9464675" y="1981200"/>
              <a:ext cx="204788" cy="23813"/>
            </a:xfrm>
            <a:custGeom>
              <a:avLst/>
              <a:gdLst>
                <a:gd name="T0" fmla="*/ 250 w 250"/>
                <a:gd name="T1" fmla="*/ 14 h 28"/>
                <a:gd name="T2" fmla="*/ 236 w 250"/>
                <a:gd name="T3" fmla="*/ 28 h 28"/>
                <a:gd name="T4" fmla="*/ 14 w 250"/>
                <a:gd name="T5" fmla="*/ 28 h 28"/>
                <a:gd name="T6" fmla="*/ 0 w 250"/>
                <a:gd name="T7" fmla="*/ 14 h 28"/>
                <a:gd name="T8" fmla="*/ 14 w 250"/>
                <a:gd name="T9" fmla="*/ 0 h 28"/>
                <a:gd name="T10" fmla="*/ 236 w 250"/>
                <a:gd name="T11" fmla="*/ 0 h 28"/>
                <a:gd name="T12" fmla="*/ 250 w 2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250" h="28">
                  <a:moveTo>
                    <a:pt x="250" y="14"/>
                  </a:moveTo>
                  <a:cubicBezTo>
                    <a:pt x="250" y="21"/>
                    <a:pt x="244" y="28"/>
                    <a:pt x="236" y="28"/>
                  </a:cubicBezTo>
                  <a:lnTo>
                    <a:pt x="14" y="28"/>
                  </a:lnTo>
                  <a:cubicBezTo>
                    <a:pt x="6" y="28"/>
                    <a:pt x="0" y="21"/>
                    <a:pt x="0" y="14"/>
                  </a:cubicBezTo>
                  <a:cubicBezTo>
                    <a:pt x="0" y="6"/>
                    <a:pt x="6" y="0"/>
                    <a:pt x="14" y="0"/>
                  </a:cubicBezTo>
                  <a:lnTo>
                    <a:pt x="236" y="0"/>
                  </a:lnTo>
                  <a:cubicBezTo>
                    <a:pt x="244" y="0"/>
                    <a:pt x="250" y="6"/>
                    <a:pt x="250" y="14"/>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108">
              <a:extLst>
                <a:ext uri="{FF2B5EF4-FFF2-40B4-BE49-F238E27FC236}">
                  <a16:creationId xmlns:a16="http://schemas.microsoft.com/office/drawing/2014/main" id="{6D9CBEC0-BF8E-44FB-883D-FA2D8F383149}"/>
                </a:ext>
              </a:extLst>
            </p:cNvPr>
            <p:cNvSpPr>
              <a:spLocks/>
            </p:cNvSpPr>
            <p:nvPr userDrawn="1"/>
          </p:nvSpPr>
          <p:spPr bwMode="auto">
            <a:xfrm>
              <a:off x="9502775" y="2066925"/>
              <a:ext cx="204788" cy="22225"/>
            </a:xfrm>
            <a:custGeom>
              <a:avLst/>
              <a:gdLst>
                <a:gd name="T0" fmla="*/ 250 w 250"/>
                <a:gd name="T1" fmla="*/ 14 h 28"/>
                <a:gd name="T2" fmla="*/ 236 w 250"/>
                <a:gd name="T3" fmla="*/ 28 h 28"/>
                <a:gd name="T4" fmla="*/ 14 w 250"/>
                <a:gd name="T5" fmla="*/ 28 h 28"/>
                <a:gd name="T6" fmla="*/ 0 w 250"/>
                <a:gd name="T7" fmla="*/ 14 h 28"/>
                <a:gd name="T8" fmla="*/ 14 w 250"/>
                <a:gd name="T9" fmla="*/ 0 h 28"/>
                <a:gd name="T10" fmla="*/ 236 w 250"/>
                <a:gd name="T11" fmla="*/ 0 h 28"/>
                <a:gd name="T12" fmla="*/ 250 w 2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250" h="28">
                  <a:moveTo>
                    <a:pt x="250" y="14"/>
                  </a:moveTo>
                  <a:cubicBezTo>
                    <a:pt x="250" y="21"/>
                    <a:pt x="244" y="28"/>
                    <a:pt x="236" y="28"/>
                  </a:cubicBezTo>
                  <a:lnTo>
                    <a:pt x="14" y="28"/>
                  </a:lnTo>
                  <a:cubicBezTo>
                    <a:pt x="6" y="28"/>
                    <a:pt x="0" y="21"/>
                    <a:pt x="0" y="14"/>
                  </a:cubicBezTo>
                  <a:cubicBezTo>
                    <a:pt x="0" y="6"/>
                    <a:pt x="6" y="0"/>
                    <a:pt x="14" y="0"/>
                  </a:cubicBezTo>
                  <a:lnTo>
                    <a:pt x="236" y="0"/>
                  </a:lnTo>
                  <a:cubicBezTo>
                    <a:pt x="244" y="0"/>
                    <a:pt x="250" y="6"/>
                    <a:pt x="250" y="14"/>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09">
              <a:extLst>
                <a:ext uri="{FF2B5EF4-FFF2-40B4-BE49-F238E27FC236}">
                  <a16:creationId xmlns:a16="http://schemas.microsoft.com/office/drawing/2014/main" id="{95223D20-1630-4D58-A5A5-EA47D813716F}"/>
                </a:ext>
              </a:extLst>
            </p:cNvPr>
            <p:cNvSpPr>
              <a:spLocks/>
            </p:cNvSpPr>
            <p:nvPr userDrawn="1"/>
          </p:nvSpPr>
          <p:spPr bwMode="auto">
            <a:xfrm>
              <a:off x="9764713" y="2066925"/>
              <a:ext cx="204788" cy="22225"/>
            </a:xfrm>
            <a:custGeom>
              <a:avLst/>
              <a:gdLst>
                <a:gd name="T0" fmla="*/ 250 w 250"/>
                <a:gd name="T1" fmla="*/ 14 h 28"/>
                <a:gd name="T2" fmla="*/ 236 w 250"/>
                <a:gd name="T3" fmla="*/ 28 h 28"/>
                <a:gd name="T4" fmla="*/ 14 w 250"/>
                <a:gd name="T5" fmla="*/ 28 h 28"/>
                <a:gd name="T6" fmla="*/ 0 w 250"/>
                <a:gd name="T7" fmla="*/ 14 h 28"/>
                <a:gd name="T8" fmla="*/ 14 w 250"/>
                <a:gd name="T9" fmla="*/ 0 h 28"/>
                <a:gd name="T10" fmla="*/ 236 w 250"/>
                <a:gd name="T11" fmla="*/ 0 h 28"/>
                <a:gd name="T12" fmla="*/ 250 w 2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250" h="28">
                  <a:moveTo>
                    <a:pt x="250" y="14"/>
                  </a:moveTo>
                  <a:cubicBezTo>
                    <a:pt x="250" y="21"/>
                    <a:pt x="244" y="28"/>
                    <a:pt x="236" y="28"/>
                  </a:cubicBezTo>
                  <a:lnTo>
                    <a:pt x="14" y="28"/>
                  </a:lnTo>
                  <a:cubicBezTo>
                    <a:pt x="6" y="28"/>
                    <a:pt x="0" y="21"/>
                    <a:pt x="0" y="14"/>
                  </a:cubicBezTo>
                  <a:cubicBezTo>
                    <a:pt x="0" y="6"/>
                    <a:pt x="6" y="0"/>
                    <a:pt x="14" y="0"/>
                  </a:cubicBezTo>
                  <a:lnTo>
                    <a:pt x="236" y="0"/>
                  </a:lnTo>
                  <a:cubicBezTo>
                    <a:pt x="244" y="0"/>
                    <a:pt x="250" y="6"/>
                    <a:pt x="250" y="14"/>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10">
              <a:extLst>
                <a:ext uri="{FF2B5EF4-FFF2-40B4-BE49-F238E27FC236}">
                  <a16:creationId xmlns:a16="http://schemas.microsoft.com/office/drawing/2014/main" id="{5DD9B43A-3E62-45A4-9A6E-695FE2BF4957}"/>
                </a:ext>
              </a:extLst>
            </p:cNvPr>
            <p:cNvSpPr>
              <a:spLocks/>
            </p:cNvSpPr>
            <p:nvPr userDrawn="1"/>
          </p:nvSpPr>
          <p:spPr bwMode="auto">
            <a:xfrm>
              <a:off x="9401175" y="2149475"/>
              <a:ext cx="204788" cy="23813"/>
            </a:xfrm>
            <a:custGeom>
              <a:avLst/>
              <a:gdLst>
                <a:gd name="T0" fmla="*/ 250 w 250"/>
                <a:gd name="T1" fmla="*/ 14 h 28"/>
                <a:gd name="T2" fmla="*/ 236 w 250"/>
                <a:gd name="T3" fmla="*/ 28 h 28"/>
                <a:gd name="T4" fmla="*/ 14 w 250"/>
                <a:gd name="T5" fmla="*/ 28 h 28"/>
                <a:gd name="T6" fmla="*/ 0 w 250"/>
                <a:gd name="T7" fmla="*/ 14 h 28"/>
                <a:gd name="T8" fmla="*/ 14 w 250"/>
                <a:gd name="T9" fmla="*/ 0 h 28"/>
                <a:gd name="T10" fmla="*/ 236 w 250"/>
                <a:gd name="T11" fmla="*/ 0 h 28"/>
                <a:gd name="T12" fmla="*/ 250 w 2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250" h="28">
                  <a:moveTo>
                    <a:pt x="250" y="14"/>
                  </a:moveTo>
                  <a:cubicBezTo>
                    <a:pt x="250" y="22"/>
                    <a:pt x="244" y="28"/>
                    <a:pt x="236" y="28"/>
                  </a:cubicBezTo>
                  <a:lnTo>
                    <a:pt x="14" y="28"/>
                  </a:lnTo>
                  <a:cubicBezTo>
                    <a:pt x="6" y="28"/>
                    <a:pt x="0" y="22"/>
                    <a:pt x="0" y="14"/>
                  </a:cubicBezTo>
                  <a:cubicBezTo>
                    <a:pt x="0" y="6"/>
                    <a:pt x="6" y="0"/>
                    <a:pt x="14" y="0"/>
                  </a:cubicBezTo>
                  <a:lnTo>
                    <a:pt x="236" y="0"/>
                  </a:lnTo>
                  <a:cubicBezTo>
                    <a:pt x="244" y="0"/>
                    <a:pt x="250" y="6"/>
                    <a:pt x="250" y="14"/>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11">
              <a:extLst>
                <a:ext uri="{FF2B5EF4-FFF2-40B4-BE49-F238E27FC236}">
                  <a16:creationId xmlns:a16="http://schemas.microsoft.com/office/drawing/2014/main" id="{BA953C1A-1792-4616-9A9A-DD1F21C1EA0A}"/>
                </a:ext>
              </a:extLst>
            </p:cNvPr>
            <p:cNvSpPr>
              <a:spLocks/>
            </p:cNvSpPr>
            <p:nvPr userDrawn="1"/>
          </p:nvSpPr>
          <p:spPr bwMode="auto">
            <a:xfrm>
              <a:off x="9645650" y="2225675"/>
              <a:ext cx="204788" cy="23813"/>
            </a:xfrm>
            <a:custGeom>
              <a:avLst/>
              <a:gdLst>
                <a:gd name="T0" fmla="*/ 250 w 250"/>
                <a:gd name="T1" fmla="*/ 14 h 28"/>
                <a:gd name="T2" fmla="*/ 236 w 250"/>
                <a:gd name="T3" fmla="*/ 28 h 28"/>
                <a:gd name="T4" fmla="*/ 14 w 250"/>
                <a:gd name="T5" fmla="*/ 28 h 28"/>
                <a:gd name="T6" fmla="*/ 0 w 250"/>
                <a:gd name="T7" fmla="*/ 14 h 28"/>
                <a:gd name="T8" fmla="*/ 14 w 250"/>
                <a:gd name="T9" fmla="*/ 0 h 28"/>
                <a:gd name="T10" fmla="*/ 236 w 250"/>
                <a:gd name="T11" fmla="*/ 0 h 28"/>
                <a:gd name="T12" fmla="*/ 250 w 2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250" h="28">
                  <a:moveTo>
                    <a:pt x="250" y="14"/>
                  </a:moveTo>
                  <a:cubicBezTo>
                    <a:pt x="250" y="21"/>
                    <a:pt x="244" y="28"/>
                    <a:pt x="236" y="28"/>
                  </a:cubicBezTo>
                  <a:lnTo>
                    <a:pt x="14" y="28"/>
                  </a:lnTo>
                  <a:cubicBezTo>
                    <a:pt x="6" y="28"/>
                    <a:pt x="0" y="21"/>
                    <a:pt x="0" y="14"/>
                  </a:cubicBezTo>
                  <a:cubicBezTo>
                    <a:pt x="0" y="6"/>
                    <a:pt x="6" y="0"/>
                    <a:pt x="14" y="0"/>
                  </a:cubicBezTo>
                  <a:lnTo>
                    <a:pt x="236" y="0"/>
                  </a:lnTo>
                  <a:cubicBezTo>
                    <a:pt x="244" y="0"/>
                    <a:pt x="250" y="6"/>
                    <a:pt x="250" y="14"/>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Oval 112">
              <a:extLst>
                <a:ext uri="{FF2B5EF4-FFF2-40B4-BE49-F238E27FC236}">
                  <a16:creationId xmlns:a16="http://schemas.microsoft.com/office/drawing/2014/main" id="{4371A40F-720A-4D82-9A4F-8A48205BF16E}"/>
                </a:ext>
              </a:extLst>
            </p:cNvPr>
            <p:cNvSpPr>
              <a:spLocks noChangeArrowheads="1"/>
            </p:cNvSpPr>
            <p:nvPr userDrawn="1"/>
          </p:nvSpPr>
          <p:spPr bwMode="auto">
            <a:xfrm>
              <a:off x="5707063" y="5483225"/>
              <a:ext cx="4602163" cy="342900"/>
            </a:xfrm>
            <a:prstGeom prst="ellipse">
              <a:avLst/>
            </a:pr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13">
              <a:extLst>
                <a:ext uri="{FF2B5EF4-FFF2-40B4-BE49-F238E27FC236}">
                  <a16:creationId xmlns:a16="http://schemas.microsoft.com/office/drawing/2014/main" id="{AC6508FD-2CC9-4891-91E6-07E19C21441B}"/>
                </a:ext>
              </a:extLst>
            </p:cNvPr>
            <p:cNvSpPr>
              <a:spLocks/>
            </p:cNvSpPr>
            <p:nvPr userDrawn="1"/>
          </p:nvSpPr>
          <p:spPr bwMode="auto">
            <a:xfrm>
              <a:off x="6557963" y="4994275"/>
              <a:ext cx="265113" cy="265113"/>
            </a:xfrm>
            <a:custGeom>
              <a:avLst/>
              <a:gdLst>
                <a:gd name="T0" fmla="*/ 30 w 324"/>
                <a:gd name="T1" fmla="*/ 0 h 323"/>
                <a:gd name="T2" fmla="*/ 76 w 324"/>
                <a:gd name="T3" fmla="*/ 225 h 323"/>
                <a:gd name="T4" fmla="*/ 303 w 324"/>
                <a:gd name="T5" fmla="*/ 314 h 323"/>
                <a:gd name="T6" fmla="*/ 315 w 324"/>
                <a:gd name="T7" fmla="*/ 257 h 323"/>
                <a:gd name="T8" fmla="*/ 233 w 324"/>
                <a:gd name="T9" fmla="*/ 83 h 323"/>
                <a:gd name="T10" fmla="*/ 30 w 324"/>
                <a:gd name="T11" fmla="*/ 0 h 323"/>
              </a:gdLst>
              <a:ahLst/>
              <a:cxnLst>
                <a:cxn ang="0">
                  <a:pos x="T0" y="T1"/>
                </a:cxn>
                <a:cxn ang="0">
                  <a:pos x="T2" y="T3"/>
                </a:cxn>
                <a:cxn ang="0">
                  <a:pos x="T4" y="T5"/>
                </a:cxn>
                <a:cxn ang="0">
                  <a:pos x="T6" y="T7"/>
                </a:cxn>
                <a:cxn ang="0">
                  <a:pos x="T8" y="T9"/>
                </a:cxn>
                <a:cxn ang="0">
                  <a:pos x="T10" y="T11"/>
                </a:cxn>
              </a:cxnLst>
              <a:rect l="0" t="0" r="r" b="b"/>
              <a:pathLst>
                <a:path w="324" h="323">
                  <a:moveTo>
                    <a:pt x="30" y="0"/>
                  </a:moveTo>
                  <a:cubicBezTo>
                    <a:pt x="30" y="0"/>
                    <a:pt x="0" y="127"/>
                    <a:pt x="76" y="225"/>
                  </a:cubicBezTo>
                  <a:cubicBezTo>
                    <a:pt x="152" y="323"/>
                    <a:pt x="303" y="314"/>
                    <a:pt x="303" y="314"/>
                  </a:cubicBezTo>
                  <a:cubicBezTo>
                    <a:pt x="303" y="314"/>
                    <a:pt x="324" y="305"/>
                    <a:pt x="315" y="257"/>
                  </a:cubicBezTo>
                  <a:cubicBezTo>
                    <a:pt x="306" y="209"/>
                    <a:pt x="272" y="125"/>
                    <a:pt x="233" y="83"/>
                  </a:cubicBezTo>
                  <a:cubicBezTo>
                    <a:pt x="194" y="42"/>
                    <a:pt x="30" y="0"/>
                    <a:pt x="30" y="0"/>
                  </a:cubicBezTo>
                </a:path>
              </a:pathLst>
            </a:custGeom>
            <a:solidFill>
              <a:srgbClr val="879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14">
              <a:extLst>
                <a:ext uri="{FF2B5EF4-FFF2-40B4-BE49-F238E27FC236}">
                  <a16:creationId xmlns:a16="http://schemas.microsoft.com/office/drawing/2014/main" id="{3306F8A1-50CF-4EB7-BA34-778F5092D5F7}"/>
                </a:ext>
              </a:extLst>
            </p:cNvPr>
            <p:cNvSpPr>
              <a:spLocks/>
            </p:cNvSpPr>
            <p:nvPr userDrawn="1"/>
          </p:nvSpPr>
          <p:spPr bwMode="auto">
            <a:xfrm>
              <a:off x="9418638" y="3117850"/>
              <a:ext cx="236538" cy="301625"/>
            </a:xfrm>
            <a:custGeom>
              <a:avLst/>
              <a:gdLst>
                <a:gd name="T0" fmla="*/ 30 w 287"/>
                <a:gd name="T1" fmla="*/ 7 h 369"/>
                <a:gd name="T2" fmla="*/ 207 w 287"/>
                <a:gd name="T3" fmla="*/ 110 h 369"/>
                <a:gd name="T4" fmla="*/ 258 w 287"/>
                <a:gd name="T5" fmla="*/ 313 h 369"/>
                <a:gd name="T6" fmla="*/ 101 w 287"/>
                <a:gd name="T7" fmla="*/ 285 h 369"/>
                <a:gd name="T8" fmla="*/ 30 w 287"/>
                <a:gd name="T9" fmla="*/ 7 h 369"/>
              </a:gdLst>
              <a:ahLst/>
              <a:cxnLst>
                <a:cxn ang="0">
                  <a:pos x="T0" y="T1"/>
                </a:cxn>
                <a:cxn ang="0">
                  <a:pos x="T2" y="T3"/>
                </a:cxn>
                <a:cxn ang="0">
                  <a:pos x="T4" y="T5"/>
                </a:cxn>
                <a:cxn ang="0">
                  <a:pos x="T6" y="T7"/>
                </a:cxn>
                <a:cxn ang="0">
                  <a:pos x="T8" y="T9"/>
                </a:cxn>
              </a:cxnLst>
              <a:rect l="0" t="0" r="r" b="b"/>
              <a:pathLst>
                <a:path w="287" h="369">
                  <a:moveTo>
                    <a:pt x="30" y="7"/>
                  </a:moveTo>
                  <a:cubicBezTo>
                    <a:pt x="30" y="7"/>
                    <a:pt x="126" y="0"/>
                    <a:pt x="207" y="110"/>
                  </a:cubicBezTo>
                  <a:cubicBezTo>
                    <a:pt x="287" y="219"/>
                    <a:pt x="258" y="313"/>
                    <a:pt x="258" y="313"/>
                  </a:cubicBezTo>
                  <a:cubicBezTo>
                    <a:pt x="258" y="313"/>
                    <a:pt x="202" y="369"/>
                    <a:pt x="101" y="285"/>
                  </a:cubicBezTo>
                  <a:cubicBezTo>
                    <a:pt x="0" y="200"/>
                    <a:pt x="30" y="7"/>
                    <a:pt x="30"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15">
              <a:extLst>
                <a:ext uri="{FF2B5EF4-FFF2-40B4-BE49-F238E27FC236}">
                  <a16:creationId xmlns:a16="http://schemas.microsoft.com/office/drawing/2014/main" id="{F6D4DE0B-E300-4A02-986D-D69054F31CD8}"/>
                </a:ext>
              </a:extLst>
            </p:cNvPr>
            <p:cNvSpPr>
              <a:spLocks/>
            </p:cNvSpPr>
            <p:nvPr userDrawn="1"/>
          </p:nvSpPr>
          <p:spPr bwMode="auto">
            <a:xfrm>
              <a:off x="9434513" y="3116263"/>
              <a:ext cx="206375" cy="279400"/>
            </a:xfrm>
            <a:custGeom>
              <a:avLst/>
              <a:gdLst>
                <a:gd name="T0" fmla="*/ 12 w 253"/>
                <a:gd name="T1" fmla="*/ 9 h 342"/>
                <a:gd name="T2" fmla="*/ 13 w 253"/>
                <a:gd name="T3" fmla="*/ 17 h 342"/>
                <a:gd name="T4" fmla="*/ 13 w 253"/>
                <a:gd name="T5" fmla="*/ 17 h 342"/>
                <a:gd name="T6" fmla="*/ 15 w 253"/>
                <a:gd name="T7" fmla="*/ 17 h 342"/>
                <a:gd name="T8" fmla="*/ 78 w 253"/>
                <a:gd name="T9" fmla="*/ 31 h 342"/>
                <a:gd name="T10" fmla="*/ 182 w 253"/>
                <a:gd name="T11" fmla="*/ 117 h 342"/>
                <a:gd name="T12" fmla="*/ 237 w 253"/>
                <a:gd name="T13" fmla="*/ 271 h 342"/>
                <a:gd name="T14" fmla="*/ 234 w 253"/>
                <a:gd name="T15" fmla="*/ 302 h 342"/>
                <a:gd name="T16" fmla="*/ 233 w 253"/>
                <a:gd name="T17" fmla="*/ 310 h 342"/>
                <a:gd name="T18" fmla="*/ 232 w 253"/>
                <a:gd name="T19" fmla="*/ 312 h 342"/>
                <a:gd name="T20" fmla="*/ 232 w 253"/>
                <a:gd name="T21" fmla="*/ 313 h 342"/>
                <a:gd name="T22" fmla="*/ 240 w 253"/>
                <a:gd name="T23" fmla="*/ 315 h 342"/>
                <a:gd name="T24" fmla="*/ 234 w 253"/>
                <a:gd name="T25" fmla="*/ 309 h 342"/>
                <a:gd name="T26" fmla="*/ 236 w 253"/>
                <a:gd name="T27" fmla="*/ 312 h 342"/>
                <a:gd name="T28" fmla="*/ 234 w 253"/>
                <a:gd name="T29" fmla="*/ 309 h 342"/>
                <a:gd name="T30" fmla="*/ 234 w 253"/>
                <a:gd name="T31" fmla="*/ 309 h 342"/>
                <a:gd name="T32" fmla="*/ 236 w 253"/>
                <a:gd name="T33" fmla="*/ 312 h 342"/>
                <a:gd name="T34" fmla="*/ 234 w 253"/>
                <a:gd name="T35" fmla="*/ 309 h 342"/>
                <a:gd name="T36" fmla="*/ 188 w 253"/>
                <a:gd name="T37" fmla="*/ 325 h 342"/>
                <a:gd name="T38" fmla="*/ 88 w 253"/>
                <a:gd name="T39" fmla="*/ 280 h 342"/>
                <a:gd name="T40" fmla="*/ 30 w 253"/>
                <a:gd name="T41" fmla="*/ 183 h 342"/>
                <a:gd name="T42" fmla="*/ 16 w 253"/>
                <a:gd name="T43" fmla="*/ 75 h 342"/>
                <a:gd name="T44" fmla="*/ 18 w 253"/>
                <a:gd name="T45" fmla="*/ 28 h 342"/>
                <a:gd name="T46" fmla="*/ 20 w 253"/>
                <a:gd name="T47" fmla="*/ 15 h 342"/>
                <a:gd name="T48" fmla="*/ 21 w 253"/>
                <a:gd name="T49" fmla="*/ 10 h 342"/>
                <a:gd name="T50" fmla="*/ 12 w 253"/>
                <a:gd name="T51" fmla="*/ 9 h 342"/>
                <a:gd name="T52" fmla="*/ 13 w 253"/>
                <a:gd name="T53" fmla="*/ 17 h 342"/>
                <a:gd name="T54" fmla="*/ 12 w 253"/>
                <a:gd name="T55" fmla="*/ 9 h 342"/>
                <a:gd name="T56" fmla="*/ 4 w 253"/>
                <a:gd name="T57" fmla="*/ 7 h 342"/>
                <a:gd name="T58" fmla="*/ 0 w 253"/>
                <a:gd name="T59" fmla="*/ 75 h 342"/>
                <a:gd name="T60" fmla="*/ 14 w 253"/>
                <a:gd name="T61" fmla="*/ 187 h 342"/>
                <a:gd name="T62" fmla="*/ 77 w 253"/>
                <a:gd name="T63" fmla="*/ 293 h 342"/>
                <a:gd name="T64" fmla="*/ 188 w 253"/>
                <a:gd name="T65" fmla="*/ 342 h 342"/>
                <a:gd name="T66" fmla="*/ 246 w 253"/>
                <a:gd name="T67" fmla="*/ 321 h 342"/>
                <a:gd name="T68" fmla="*/ 247 w 253"/>
                <a:gd name="T69" fmla="*/ 320 h 342"/>
                <a:gd name="T70" fmla="*/ 248 w 253"/>
                <a:gd name="T71" fmla="*/ 318 h 342"/>
                <a:gd name="T72" fmla="*/ 253 w 253"/>
                <a:gd name="T73" fmla="*/ 271 h 342"/>
                <a:gd name="T74" fmla="*/ 196 w 253"/>
                <a:gd name="T75" fmla="*/ 107 h 342"/>
                <a:gd name="T76" fmla="*/ 84 w 253"/>
                <a:gd name="T77" fmla="*/ 16 h 342"/>
                <a:gd name="T78" fmla="*/ 15 w 253"/>
                <a:gd name="T79" fmla="*/ 0 h 342"/>
                <a:gd name="T80" fmla="*/ 12 w 253"/>
                <a:gd name="T81" fmla="*/ 0 h 342"/>
                <a:gd name="T82" fmla="*/ 5 w 253"/>
                <a:gd name="T83" fmla="*/ 1 h 342"/>
                <a:gd name="T84" fmla="*/ 4 w 253"/>
                <a:gd name="T85" fmla="*/ 7 h 342"/>
                <a:gd name="T86" fmla="*/ 12 w 253"/>
                <a:gd name="T87" fmla="*/ 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342">
                  <a:moveTo>
                    <a:pt x="12" y="9"/>
                  </a:moveTo>
                  <a:lnTo>
                    <a:pt x="13" y="17"/>
                  </a:lnTo>
                  <a:lnTo>
                    <a:pt x="13" y="17"/>
                  </a:lnTo>
                  <a:lnTo>
                    <a:pt x="15" y="17"/>
                  </a:lnTo>
                  <a:cubicBezTo>
                    <a:pt x="23" y="17"/>
                    <a:pt x="47" y="18"/>
                    <a:pt x="78" y="31"/>
                  </a:cubicBezTo>
                  <a:cubicBezTo>
                    <a:pt x="109" y="44"/>
                    <a:pt x="147" y="69"/>
                    <a:pt x="182" y="117"/>
                  </a:cubicBezTo>
                  <a:cubicBezTo>
                    <a:pt x="227" y="178"/>
                    <a:pt x="237" y="235"/>
                    <a:pt x="237" y="271"/>
                  </a:cubicBezTo>
                  <a:cubicBezTo>
                    <a:pt x="237" y="284"/>
                    <a:pt x="236" y="295"/>
                    <a:pt x="234" y="302"/>
                  </a:cubicBezTo>
                  <a:cubicBezTo>
                    <a:pt x="234" y="306"/>
                    <a:pt x="233" y="308"/>
                    <a:pt x="233" y="310"/>
                  </a:cubicBezTo>
                  <a:lnTo>
                    <a:pt x="232" y="312"/>
                  </a:lnTo>
                  <a:lnTo>
                    <a:pt x="232" y="313"/>
                  </a:lnTo>
                  <a:lnTo>
                    <a:pt x="240" y="315"/>
                  </a:lnTo>
                  <a:lnTo>
                    <a:pt x="234" y="309"/>
                  </a:lnTo>
                  <a:lnTo>
                    <a:pt x="236" y="312"/>
                  </a:lnTo>
                  <a:lnTo>
                    <a:pt x="234" y="309"/>
                  </a:lnTo>
                  <a:lnTo>
                    <a:pt x="234" y="309"/>
                  </a:lnTo>
                  <a:lnTo>
                    <a:pt x="236" y="312"/>
                  </a:lnTo>
                  <a:lnTo>
                    <a:pt x="234" y="309"/>
                  </a:lnTo>
                  <a:cubicBezTo>
                    <a:pt x="234" y="310"/>
                    <a:pt x="218" y="325"/>
                    <a:pt x="188" y="325"/>
                  </a:cubicBezTo>
                  <a:cubicBezTo>
                    <a:pt x="164" y="325"/>
                    <a:pt x="131" y="316"/>
                    <a:pt x="88" y="280"/>
                  </a:cubicBezTo>
                  <a:cubicBezTo>
                    <a:pt x="58" y="255"/>
                    <a:pt x="40" y="220"/>
                    <a:pt x="30" y="183"/>
                  </a:cubicBezTo>
                  <a:cubicBezTo>
                    <a:pt x="19" y="146"/>
                    <a:pt x="16" y="106"/>
                    <a:pt x="16" y="75"/>
                  </a:cubicBezTo>
                  <a:cubicBezTo>
                    <a:pt x="16" y="56"/>
                    <a:pt x="17" y="40"/>
                    <a:pt x="18" y="28"/>
                  </a:cubicBezTo>
                  <a:cubicBezTo>
                    <a:pt x="19" y="22"/>
                    <a:pt x="20" y="18"/>
                    <a:pt x="20" y="15"/>
                  </a:cubicBezTo>
                  <a:cubicBezTo>
                    <a:pt x="20" y="11"/>
                    <a:pt x="21" y="10"/>
                    <a:pt x="21" y="10"/>
                  </a:cubicBezTo>
                  <a:lnTo>
                    <a:pt x="12" y="9"/>
                  </a:lnTo>
                  <a:lnTo>
                    <a:pt x="13" y="17"/>
                  </a:lnTo>
                  <a:lnTo>
                    <a:pt x="12" y="9"/>
                  </a:lnTo>
                  <a:lnTo>
                    <a:pt x="4" y="7"/>
                  </a:lnTo>
                  <a:cubicBezTo>
                    <a:pt x="4" y="8"/>
                    <a:pt x="0" y="36"/>
                    <a:pt x="0" y="75"/>
                  </a:cubicBezTo>
                  <a:cubicBezTo>
                    <a:pt x="0" y="107"/>
                    <a:pt x="3" y="148"/>
                    <a:pt x="14" y="187"/>
                  </a:cubicBezTo>
                  <a:cubicBezTo>
                    <a:pt x="25" y="227"/>
                    <a:pt x="44" y="265"/>
                    <a:pt x="77" y="293"/>
                  </a:cubicBezTo>
                  <a:cubicBezTo>
                    <a:pt x="122" y="330"/>
                    <a:pt x="159" y="342"/>
                    <a:pt x="188" y="342"/>
                  </a:cubicBezTo>
                  <a:cubicBezTo>
                    <a:pt x="225" y="342"/>
                    <a:pt x="245" y="322"/>
                    <a:pt x="246" y="321"/>
                  </a:cubicBezTo>
                  <a:lnTo>
                    <a:pt x="247" y="320"/>
                  </a:lnTo>
                  <a:lnTo>
                    <a:pt x="248" y="318"/>
                  </a:lnTo>
                  <a:cubicBezTo>
                    <a:pt x="248" y="317"/>
                    <a:pt x="253" y="300"/>
                    <a:pt x="253" y="271"/>
                  </a:cubicBezTo>
                  <a:cubicBezTo>
                    <a:pt x="253" y="232"/>
                    <a:pt x="243" y="172"/>
                    <a:pt x="196" y="107"/>
                  </a:cubicBezTo>
                  <a:cubicBezTo>
                    <a:pt x="159" y="57"/>
                    <a:pt x="118" y="30"/>
                    <a:pt x="84" y="16"/>
                  </a:cubicBezTo>
                  <a:cubicBezTo>
                    <a:pt x="51" y="2"/>
                    <a:pt x="24" y="0"/>
                    <a:pt x="15" y="0"/>
                  </a:cubicBezTo>
                  <a:cubicBezTo>
                    <a:pt x="13" y="0"/>
                    <a:pt x="12" y="0"/>
                    <a:pt x="12" y="0"/>
                  </a:cubicBezTo>
                  <a:lnTo>
                    <a:pt x="5" y="1"/>
                  </a:lnTo>
                  <a:lnTo>
                    <a:pt x="4" y="7"/>
                  </a:lnTo>
                  <a:lnTo>
                    <a:pt x="12" y="9"/>
                  </a:lnTo>
                </a:path>
              </a:pathLst>
            </a:custGeom>
            <a:solidFill>
              <a:srgbClr val="0406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16">
              <a:extLst>
                <a:ext uri="{FF2B5EF4-FFF2-40B4-BE49-F238E27FC236}">
                  <a16:creationId xmlns:a16="http://schemas.microsoft.com/office/drawing/2014/main" id="{261ABFF6-CFE7-48D2-94DC-B1E1FD75489E}"/>
                </a:ext>
              </a:extLst>
            </p:cNvPr>
            <p:cNvSpPr>
              <a:spLocks/>
            </p:cNvSpPr>
            <p:nvPr userDrawn="1"/>
          </p:nvSpPr>
          <p:spPr bwMode="auto">
            <a:xfrm>
              <a:off x="7710488" y="5207000"/>
              <a:ext cx="593725" cy="388938"/>
            </a:xfrm>
            <a:custGeom>
              <a:avLst/>
              <a:gdLst>
                <a:gd name="T0" fmla="*/ 0 w 374"/>
                <a:gd name="T1" fmla="*/ 0 h 245"/>
                <a:gd name="T2" fmla="*/ 252 w 374"/>
                <a:gd name="T3" fmla="*/ 0 h 245"/>
                <a:gd name="T4" fmla="*/ 374 w 374"/>
                <a:gd name="T5" fmla="*/ 245 h 245"/>
                <a:gd name="T6" fmla="*/ 133 w 374"/>
                <a:gd name="T7" fmla="*/ 237 h 245"/>
                <a:gd name="T8" fmla="*/ 0 w 374"/>
                <a:gd name="T9" fmla="*/ 0 h 245"/>
              </a:gdLst>
              <a:ahLst/>
              <a:cxnLst>
                <a:cxn ang="0">
                  <a:pos x="T0" y="T1"/>
                </a:cxn>
                <a:cxn ang="0">
                  <a:pos x="T2" y="T3"/>
                </a:cxn>
                <a:cxn ang="0">
                  <a:pos x="T4" y="T5"/>
                </a:cxn>
                <a:cxn ang="0">
                  <a:pos x="T6" y="T7"/>
                </a:cxn>
                <a:cxn ang="0">
                  <a:pos x="T8" y="T9"/>
                </a:cxn>
              </a:cxnLst>
              <a:rect l="0" t="0" r="r" b="b"/>
              <a:pathLst>
                <a:path w="374" h="245">
                  <a:moveTo>
                    <a:pt x="0" y="0"/>
                  </a:moveTo>
                  <a:lnTo>
                    <a:pt x="252" y="0"/>
                  </a:lnTo>
                  <a:lnTo>
                    <a:pt x="374" y="245"/>
                  </a:lnTo>
                  <a:lnTo>
                    <a:pt x="133" y="237"/>
                  </a:lnTo>
                  <a:lnTo>
                    <a:pt x="0" y="0"/>
                  </a:lnTo>
                  <a:close/>
                </a:path>
              </a:pathLst>
            </a:custGeom>
            <a:solidFill>
              <a:srgbClr val="627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17">
              <a:extLst>
                <a:ext uri="{FF2B5EF4-FFF2-40B4-BE49-F238E27FC236}">
                  <a16:creationId xmlns:a16="http://schemas.microsoft.com/office/drawing/2014/main" id="{3AF122DA-4CF6-49EC-944A-6418F75301F8}"/>
                </a:ext>
              </a:extLst>
            </p:cNvPr>
            <p:cNvSpPr>
              <a:spLocks/>
            </p:cNvSpPr>
            <p:nvPr userDrawn="1"/>
          </p:nvSpPr>
          <p:spPr bwMode="auto">
            <a:xfrm>
              <a:off x="7575550" y="4997450"/>
              <a:ext cx="438150" cy="661988"/>
            </a:xfrm>
            <a:custGeom>
              <a:avLst/>
              <a:gdLst>
                <a:gd name="T0" fmla="*/ 488 w 535"/>
                <a:gd name="T1" fmla="*/ 788 h 808"/>
                <a:gd name="T2" fmla="*/ 389 w 535"/>
                <a:gd name="T3" fmla="*/ 761 h 808"/>
                <a:gd name="T4" fmla="*/ 20 w 535"/>
                <a:gd name="T5" fmla="*/ 120 h 808"/>
                <a:gd name="T6" fmla="*/ 47 w 535"/>
                <a:gd name="T7" fmla="*/ 20 h 808"/>
                <a:gd name="T8" fmla="*/ 146 w 535"/>
                <a:gd name="T9" fmla="*/ 47 h 808"/>
                <a:gd name="T10" fmla="*/ 515 w 535"/>
                <a:gd name="T11" fmla="*/ 689 h 808"/>
                <a:gd name="T12" fmla="*/ 488 w 535"/>
                <a:gd name="T13" fmla="*/ 788 h 808"/>
              </a:gdLst>
              <a:ahLst/>
              <a:cxnLst>
                <a:cxn ang="0">
                  <a:pos x="T0" y="T1"/>
                </a:cxn>
                <a:cxn ang="0">
                  <a:pos x="T2" y="T3"/>
                </a:cxn>
                <a:cxn ang="0">
                  <a:pos x="T4" y="T5"/>
                </a:cxn>
                <a:cxn ang="0">
                  <a:pos x="T6" y="T7"/>
                </a:cxn>
                <a:cxn ang="0">
                  <a:pos x="T8" y="T9"/>
                </a:cxn>
                <a:cxn ang="0">
                  <a:pos x="T10" y="T11"/>
                </a:cxn>
                <a:cxn ang="0">
                  <a:pos x="T12" y="T13"/>
                </a:cxn>
              </a:cxnLst>
              <a:rect l="0" t="0" r="r" b="b"/>
              <a:pathLst>
                <a:path w="535" h="808">
                  <a:moveTo>
                    <a:pt x="488" y="788"/>
                  </a:moveTo>
                  <a:cubicBezTo>
                    <a:pt x="453" y="808"/>
                    <a:pt x="409" y="796"/>
                    <a:pt x="389" y="761"/>
                  </a:cubicBezTo>
                  <a:lnTo>
                    <a:pt x="20" y="120"/>
                  </a:lnTo>
                  <a:cubicBezTo>
                    <a:pt x="0" y="85"/>
                    <a:pt x="12" y="40"/>
                    <a:pt x="47" y="20"/>
                  </a:cubicBezTo>
                  <a:cubicBezTo>
                    <a:pt x="81" y="0"/>
                    <a:pt x="126" y="12"/>
                    <a:pt x="146" y="47"/>
                  </a:cubicBezTo>
                  <a:lnTo>
                    <a:pt x="515" y="689"/>
                  </a:lnTo>
                  <a:cubicBezTo>
                    <a:pt x="535" y="724"/>
                    <a:pt x="523" y="768"/>
                    <a:pt x="488" y="788"/>
                  </a:cubicBezTo>
                </a:path>
              </a:pathLst>
            </a:custGeom>
            <a:solidFill>
              <a:srgbClr val="627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18">
              <a:extLst>
                <a:ext uri="{FF2B5EF4-FFF2-40B4-BE49-F238E27FC236}">
                  <a16:creationId xmlns:a16="http://schemas.microsoft.com/office/drawing/2014/main" id="{F893E9DA-5C63-4DB5-A7FE-6166FE848F85}"/>
                </a:ext>
              </a:extLst>
            </p:cNvPr>
            <p:cNvSpPr>
              <a:spLocks/>
            </p:cNvSpPr>
            <p:nvPr userDrawn="1"/>
          </p:nvSpPr>
          <p:spPr bwMode="auto">
            <a:xfrm>
              <a:off x="7970838" y="4997450"/>
              <a:ext cx="438150" cy="661988"/>
            </a:xfrm>
            <a:custGeom>
              <a:avLst/>
              <a:gdLst>
                <a:gd name="T0" fmla="*/ 489 w 536"/>
                <a:gd name="T1" fmla="*/ 788 h 808"/>
                <a:gd name="T2" fmla="*/ 389 w 536"/>
                <a:gd name="T3" fmla="*/ 761 h 808"/>
                <a:gd name="T4" fmla="*/ 20 w 536"/>
                <a:gd name="T5" fmla="*/ 120 h 808"/>
                <a:gd name="T6" fmla="*/ 47 w 536"/>
                <a:gd name="T7" fmla="*/ 20 h 808"/>
                <a:gd name="T8" fmla="*/ 147 w 536"/>
                <a:gd name="T9" fmla="*/ 47 h 808"/>
                <a:gd name="T10" fmla="*/ 516 w 536"/>
                <a:gd name="T11" fmla="*/ 689 h 808"/>
                <a:gd name="T12" fmla="*/ 489 w 536"/>
                <a:gd name="T13" fmla="*/ 788 h 808"/>
              </a:gdLst>
              <a:ahLst/>
              <a:cxnLst>
                <a:cxn ang="0">
                  <a:pos x="T0" y="T1"/>
                </a:cxn>
                <a:cxn ang="0">
                  <a:pos x="T2" y="T3"/>
                </a:cxn>
                <a:cxn ang="0">
                  <a:pos x="T4" y="T5"/>
                </a:cxn>
                <a:cxn ang="0">
                  <a:pos x="T6" y="T7"/>
                </a:cxn>
                <a:cxn ang="0">
                  <a:pos x="T8" y="T9"/>
                </a:cxn>
                <a:cxn ang="0">
                  <a:pos x="T10" y="T11"/>
                </a:cxn>
                <a:cxn ang="0">
                  <a:pos x="T12" y="T13"/>
                </a:cxn>
              </a:cxnLst>
              <a:rect l="0" t="0" r="r" b="b"/>
              <a:pathLst>
                <a:path w="536" h="808">
                  <a:moveTo>
                    <a:pt x="489" y="788"/>
                  </a:moveTo>
                  <a:cubicBezTo>
                    <a:pt x="454" y="808"/>
                    <a:pt x="409" y="796"/>
                    <a:pt x="389" y="761"/>
                  </a:cubicBezTo>
                  <a:lnTo>
                    <a:pt x="20" y="120"/>
                  </a:lnTo>
                  <a:cubicBezTo>
                    <a:pt x="0" y="85"/>
                    <a:pt x="12" y="40"/>
                    <a:pt x="47" y="20"/>
                  </a:cubicBezTo>
                  <a:cubicBezTo>
                    <a:pt x="82" y="0"/>
                    <a:pt x="127" y="12"/>
                    <a:pt x="147" y="47"/>
                  </a:cubicBezTo>
                  <a:lnTo>
                    <a:pt x="516" y="689"/>
                  </a:lnTo>
                  <a:cubicBezTo>
                    <a:pt x="536" y="724"/>
                    <a:pt x="524" y="768"/>
                    <a:pt x="489" y="788"/>
                  </a:cubicBezTo>
                </a:path>
              </a:pathLst>
            </a:custGeom>
            <a:solidFill>
              <a:srgbClr val="627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19">
              <a:extLst>
                <a:ext uri="{FF2B5EF4-FFF2-40B4-BE49-F238E27FC236}">
                  <a16:creationId xmlns:a16="http://schemas.microsoft.com/office/drawing/2014/main" id="{13E8814C-1F29-4728-B17D-0DE02D086627}"/>
                </a:ext>
              </a:extLst>
            </p:cNvPr>
            <p:cNvSpPr>
              <a:spLocks/>
            </p:cNvSpPr>
            <p:nvPr userDrawn="1"/>
          </p:nvSpPr>
          <p:spPr bwMode="auto">
            <a:xfrm>
              <a:off x="7321550" y="5535613"/>
              <a:ext cx="725488" cy="119063"/>
            </a:xfrm>
            <a:custGeom>
              <a:avLst/>
              <a:gdLst>
                <a:gd name="T0" fmla="*/ 886 w 886"/>
                <a:gd name="T1" fmla="*/ 73 h 145"/>
                <a:gd name="T2" fmla="*/ 813 w 886"/>
                <a:gd name="T3" fmla="*/ 145 h 145"/>
                <a:gd name="T4" fmla="*/ 73 w 886"/>
                <a:gd name="T5" fmla="*/ 145 h 145"/>
                <a:gd name="T6" fmla="*/ 0 w 886"/>
                <a:gd name="T7" fmla="*/ 73 h 145"/>
                <a:gd name="T8" fmla="*/ 73 w 886"/>
                <a:gd name="T9" fmla="*/ 0 h 145"/>
                <a:gd name="T10" fmla="*/ 813 w 886"/>
                <a:gd name="T11" fmla="*/ 0 h 145"/>
                <a:gd name="T12" fmla="*/ 886 w 886"/>
                <a:gd name="T13" fmla="*/ 73 h 145"/>
              </a:gdLst>
              <a:ahLst/>
              <a:cxnLst>
                <a:cxn ang="0">
                  <a:pos x="T0" y="T1"/>
                </a:cxn>
                <a:cxn ang="0">
                  <a:pos x="T2" y="T3"/>
                </a:cxn>
                <a:cxn ang="0">
                  <a:pos x="T4" y="T5"/>
                </a:cxn>
                <a:cxn ang="0">
                  <a:pos x="T6" y="T7"/>
                </a:cxn>
                <a:cxn ang="0">
                  <a:pos x="T8" y="T9"/>
                </a:cxn>
                <a:cxn ang="0">
                  <a:pos x="T10" y="T11"/>
                </a:cxn>
                <a:cxn ang="0">
                  <a:pos x="T12" y="T13"/>
                </a:cxn>
              </a:cxnLst>
              <a:rect l="0" t="0" r="r" b="b"/>
              <a:pathLst>
                <a:path w="886" h="145">
                  <a:moveTo>
                    <a:pt x="886" y="73"/>
                  </a:moveTo>
                  <a:cubicBezTo>
                    <a:pt x="886" y="113"/>
                    <a:pt x="853" y="145"/>
                    <a:pt x="813" y="145"/>
                  </a:cubicBezTo>
                  <a:lnTo>
                    <a:pt x="73" y="145"/>
                  </a:lnTo>
                  <a:cubicBezTo>
                    <a:pt x="33" y="145"/>
                    <a:pt x="0" y="113"/>
                    <a:pt x="0" y="73"/>
                  </a:cubicBezTo>
                  <a:cubicBezTo>
                    <a:pt x="0" y="32"/>
                    <a:pt x="33" y="0"/>
                    <a:pt x="73" y="0"/>
                  </a:cubicBezTo>
                  <a:lnTo>
                    <a:pt x="813" y="0"/>
                  </a:lnTo>
                  <a:cubicBezTo>
                    <a:pt x="853" y="0"/>
                    <a:pt x="886" y="32"/>
                    <a:pt x="886" y="73"/>
                  </a:cubicBezTo>
                  <a:close/>
                </a:path>
              </a:pathLst>
            </a:cu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20">
              <a:extLst>
                <a:ext uri="{FF2B5EF4-FFF2-40B4-BE49-F238E27FC236}">
                  <a16:creationId xmlns:a16="http://schemas.microsoft.com/office/drawing/2014/main" id="{86C7129D-700D-4B87-887D-92380CC3B1F0}"/>
                </a:ext>
              </a:extLst>
            </p:cNvPr>
            <p:cNvSpPr>
              <a:spLocks/>
            </p:cNvSpPr>
            <p:nvPr userDrawn="1"/>
          </p:nvSpPr>
          <p:spPr bwMode="auto">
            <a:xfrm>
              <a:off x="7693025" y="5535613"/>
              <a:ext cx="725488" cy="119063"/>
            </a:xfrm>
            <a:custGeom>
              <a:avLst/>
              <a:gdLst>
                <a:gd name="T0" fmla="*/ 886 w 886"/>
                <a:gd name="T1" fmla="*/ 73 h 145"/>
                <a:gd name="T2" fmla="*/ 813 w 886"/>
                <a:gd name="T3" fmla="*/ 145 h 145"/>
                <a:gd name="T4" fmla="*/ 73 w 886"/>
                <a:gd name="T5" fmla="*/ 145 h 145"/>
                <a:gd name="T6" fmla="*/ 0 w 886"/>
                <a:gd name="T7" fmla="*/ 73 h 145"/>
                <a:gd name="T8" fmla="*/ 73 w 886"/>
                <a:gd name="T9" fmla="*/ 0 h 145"/>
                <a:gd name="T10" fmla="*/ 813 w 886"/>
                <a:gd name="T11" fmla="*/ 0 h 145"/>
                <a:gd name="T12" fmla="*/ 886 w 886"/>
                <a:gd name="T13" fmla="*/ 73 h 145"/>
              </a:gdLst>
              <a:ahLst/>
              <a:cxnLst>
                <a:cxn ang="0">
                  <a:pos x="T0" y="T1"/>
                </a:cxn>
                <a:cxn ang="0">
                  <a:pos x="T2" y="T3"/>
                </a:cxn>
                <a:cxn ang="0">
                  <a:pos x="T4" y="T5"/>
                </a:cxn>
                <a:cxn ang="0">
                  <a:pos x="T6" y="T7"/>
                </a:cxn>
                <a:cxn ang="0">
                  <a:pos x="T8" y="T9"/>
                </a:cxn>
                <a:cxn ang="0">
                  <a:pos x="T10" y="T11"/>
                </a:cxn>
                <a:cxn ang="0">
                  <a:pos x="T12" y="T13"/>
                </a:cxn>
              </a:cxnLst>
              <a:rect l="0" t="0" r="r" b="b"/>
              <a:pathLst>
                <a:path w="886" h="145">
                  <a:moveTo>
                    <a:pt x="886" y="73"/>
                  </a:moveTo>
                  <a:cubicBezTo>
                    <a:pt x="886" y="113"/>
                    <a:pt x="853" y="145"/>
                    <a:pt x="813" y="145"/>
                  </a:cubicBezTo>
                  <a:lnTo>
                    <a:pt x="73" y="145"/>
                  </a:lnTo>
                  <a:cubicBezTo>
                    <a:pt x="32" y="145"/>
                    <a:pt x="0" y="113"/>
                    <a:pt x="0" y="73"/>
                  </a:cubicBezTo>
                  <a:cubicBezTo>
                    <a:pt x="0" y="32"/>
                    <a:pt x="32" y="0"/>
                    <a:pt x="73" y="0"/>
                  </a:cubicBezTo>
                  <a:lnTo>
                    <a:pt x="813" y="0"/>
                  </a:lnTo>
                  <a:cubicBezTo>
                    <a:pt x="853" y="0"/>
                    <a:pt x="886" y="32"/>
                    <a:pt x="886" y="73"/>
                  </a:cubicBezTo>
                  <a:close/>
                </a:path>
              </a:pathLst>
            </a:cu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21">
              <a:extLst>
                <a:ext uri="{FF2B5EF4-FFF2-40B4-BE49-F238E27FC236}">
                  <a16:creationId xmlns:a16="http://schemas.microsoft.com/office/drawing/2014/main" id="{2A7EF895-7711-4F8D-A4EB-6C9FED54958E}"/>
                </a:ext>
              </a:extLst>
            </p:cNvPr>
            <p:cNvSpPr>
              <a:spLocks/>
            </p:cNvSpPr>
            <p:nvPr userDrawn="1"/>
          </p:nvSpPr>
          <p:spPr bwMode="auto">
            <a:xfrm>
              <a:off x="6669088" y="3233738"/>
              <a:ext cx="2986088" cy="2019300"/>
            </a:xfrm>
            <a:custGeom>
              <a:avLst/>
              <a:gdLst>
                <a:gd name="T0" fmla="*/ 2907 w 3646"/>
                <a:gd name="T1" fmla="*/ 2280 h 2461"/>
                <a:gd name="T2" fmla="*/ 2715 w 3646"/>
                <a:gd name="T3" fmla="*/ 2461 h 2461"/>
                <a:gd name="T4" fmla="*/ 175 w 3646"/>
                <a:gd name="T5" fmla="*/ 2461 h 2461"/>
                <a:gd name="T6" fmla="*/ 0 w 3646"/>
                <a:gd name="T7" fmla="*/ 2286 h 2461"/>
                <a:gd name="T8" fmla="*/ 725 w 3646"/>
                <a:gd name="T9" fmla="*/ 175 h 2461"/>
                <a:gd name="T10" fmla="*/ 932 w 3646"/>
                <a:gd name="T11" fmla="*/ 0 h 2461"/>
                <a:gd name="T12" fmla="*/ 3440 w 3646"/>
                <a:gd name="T13" fmla="*/ 0 h 2461"/>
                <a:gd name="T14" fmla="*/ 3615 w 3646"/>
                <a:gd name="T15" fmla="*/ 175 h 2461"/>
                <a:gd name="T16" fmla="*/ 2907 w 3646"/>
                <a:gd name="T17" fmla="*/ 2280 h 2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6" h="2461">
                  <a:moveTo>
                    <a:pt x="2907" y="2280"/>
                  </a:moveTo>
                  <a:cubicBezTo>
                    <a:pt x="2885" y="2367"/>
                    <a:pt x="2812" y="2461"/>
                    <a:pt x="2715" y="2461"/>
                  </a:cubicBezTo>
                  <a:lnTo>
                    <a:pt x="175" y="2461"/>
                  </a:lnTo>
                  <a:cubicBezTo>
                    <a:pt x="78" y="2461"/>
                    <a:pt x="0" y="2383"/>
                    <a:pt x="0" y="2286"/>
                  </a:cubicBezTo>
                  <a:lnTo>
                    <a:pt x="725" y="175"/>
                  </a:lnTo>
                  <a:cubicBezTo>
                    <a:pt x="759" y="66"/>
                    <a:pt x="835" y="0"/>
                    <a:pt x="932" y="0"/>
                  </a:cubicBezTo>
                  <a:lnTo>
                    <a:pt x="3440" y="0"/>
                  </a:lnTo>
                  <a:cubicBezTo>
                    <a:pt x="3571" y="0"/>
                    <a:pt x="3646" y="66"/>
                    <a:pt x="3615" y="175"/>
                  </a:cubicBezTo>
                  <a:lnTo>
                    <a:pt x="2907" y="2280"/>
                  </a:lnTo>
                  <a:close/>
                </a:path>
              </a:pathLst>
            </a:custGeom>
            <a:solidFill>
              <a:srgbClr val="6E8C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22">
              <a:extLst>
                <a:ext uri="{FF2B5EF4-FFF2-40B4-BE49-F238E27FC236}">
                  <a16:creationId xmlns:a16="http://schemas.microsoft.com/office/drawing/2014/main" id="{ED8CB8E5-9AD7-4A5E-A0CE-156D25A483D3}"/>
                </a:ext>
              </a:extLst>
            </p:cNvPr>
            <p:cNvSpPr>
              <a:spLocks/>
            </p:cNvSpPr>
            <p:nvPr userDrawn="1"/>
          </p:nvSpPr>
          <p:spPr bwMode="auto">
            <a:xfrm>
              <a:off x="6583363" y="3119438"/>
              <a:ext cx="2986088" cy="2017713"/>
            </a:xfrm>
            <a:custGeom>
              <a:avLst/>
              <a:gdLst>
                <a:gd name="T0" fmla="*/ 2907 w 3646"/>
                <a:gd name="T1" fmla="*/ 2279 h 2460"/>
                <a:gd name="T2" fmla="*/ 2715 w 3646"/>
                <a:gd name="T3" fmla="*/ 2460 h 2460"/>
                <a:gd name="T4" fmla="*/ 175 w 3646"/>
                <a:gd name="T5" fmla="*/ 2460 h 2460"/>
                <a:gd name="T6" fmla="*/ 0 w 3646"/>
                <a:gd name="T7" fmla="*/ 2286 h 2460"/>
                <a:gd name="T8" fmla="*/ 725 w 3646"/>
                <a:gd name="T9" fmla="*/ 174 h 2460"/>
                <a:gd name="T10" fmla="*/ 932 w 3646"/>
                <a:gd name="T11" fmla="*/ 0 h 2460"/>
                <a:gd name="T12" fmla="*/ 3440 w 3646"/>
                <a:gd name="T13" fmla="*/ 0 h 2460"/>
                <a:gd name="T14" fmla="*/ 3615 w 3646"/>
                <a:gd name="T15" fmla="*/ 174 h 2460"/>
                <a:gd name="T16" fmla="*/ 2907 w 3646"/>
                <a:gd name="T17" fmla="*/ 2279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6" h="2460">
                  <a:moveTo>
                    <a:pt x="2907" y="2279"/>
                  </a:moveTo>
                  <a:cubicBezTo>
                    <a:pt x="2886" y="2367"/>
                    <a:pt x="2812" y="2460"/>
                    <a:pt x="2715" y="2460"/>
                  </a:cubicBezTo>
                  <a:lnTo>
                    <a:pt x="175" y="2460"/>
                  </a:lnTo>
                  <a:cubicBezTo>
                    <a:pt x="78" y="2460"/>
                    <a:pt x="0" y="2382"/>
                    <a:pt x="0" y="2286"/>
                  </a:cubicBezTo>
                  <a:lnTo>
                    <a:pt x="725" y="174"/>
                  </a:lnTo>
                  <a:cubicBezTo>
                    <a:pt x="759" y="65"/>
                    <a:pt x="835" y="0"/>
                    <a:pt x="932" y="0"/>
                  </a:cubicBezTo>
                  <a:lnTo>
                    <a:pt x="3440" y="0"/>
                  </a:lnTo>
                  <a:cubicBezTo>
                    <a:pt x="3571" y="0"/>
                    <a:pt x="3646" y="65"/>
                    <a:pt x="3615" y="174"/>
                  </a:cubicBezTo>
                  <a:lnTo>
                    <a:pt x="2907" y="2279"/>
                  </a:lnTo>
                  <a:close/>
                </a:path>
              </a:pathLst>
            </a:custGeom>
            <a:solidFill>
              <a:srgbClr val="9CB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23">
              <a:extLst>
                <a:ext uri="{FF2B5EF4-FFF2-40B4-BE49-F238E27FC236}">
                  <a16:creationId xmlns:a16="http://schemas.microsoft.com/office/drawing/2014/main" id="{D171A049-E8CE-464B-B2AF-56B2C8800318}"/>
                </a:ext>
              </a:extLst>
            </p:cNvPr>
            <p:cNvSpPr>
              <a:spLocks/>
            </p:cNvSpPr>
            <p:nvPr userDrawn="1"/>
          </p:nvSpPr>
          <p:spPr bwMode="auto">
            <a:xfrm>
              <a:off x="6651625" y="3167063"/>
              <a:ext cx="2847975" cy="1924050"/>
            </a:xfrm>
            <a:custGeom>
              <a:avLst/>
              <a:gdLst>
                <a:gd name="T0" fmla="*/ 2770 w 3475"/>
                <a:gd name="T1" fmla="*/ 2173 h 2346"/>
                <a:gd name="T2" fmla="*/ 2588 w 3475"/>
                <a:gd name="T3" fmla="*/ 2346 h 2346"/>
                <a:gd name="T4" fmla="*/ 166 w 3475"/>
                <a:gd name="T5" fmla="*/ 2346 h 2346"/>
                <a:gd name="T6" fmla="*/ 0 w 3475"/>
                <a:gd name="T7" fmla="*/ 2179 h 2346"/>
                <a:gd name="T8" fmla="*/ 691 w 3475"/>
                <a:gd name="T9" fmla="*/ 167 h 2346"/>
                <a:gd name="T10" fmla="*/ 888 w 3475"/>
                <a:gd name="T11" fmla="*/ 0 h 2346"/>
                <a:gd name="T12" fmla="*/ 3279 w 3475"/>
                <a:gd name="T13" fmla="*/ 0 h 2346"/>
                <a:gd name="T14" fmla="*/ 3446 w 3475"/>
                <a:gd name="T15" fmla="*/ 167 h 2346"/>
                <a:gd name="T16" fmla="*/ 2770 w 3475"/>
                <a:gd name="T17" fmla="*/ 2173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75" h="2346">
                  <a:moveTo>
                    <a:pt x="2770" y="2173"/>
                  </a:moveTo>
                  <a:cubicBezTo>
                    <a:pt x="2750" y="2256"/>
                    <a:pt x="2680" y="2346"/>
                    <a:pt x="2588" y="2346"/>
                  </a:cubicBezTo>
                  <a:lnTo>
                    <a:pt x="166" y="2346"/>
                  </a:lnTo>
                  <a:cubicBezTo>
                    <a:pt x="74" y="2346"/>
                    <a:pt x="0" y="2271"/>
                    <a:pt x="0" y="2179"/>
                  </a:cubicBezTo>
                  <a:lnTo>
                    <a:pt x="691" y="167"/>
                  </a:lnTo>
                  <a:cubicBezTo>
                    <a:pt x="723" y="63"/>
                    <a:pt x="796" y="0"/>
                    <a:pt x="888" y="0"/>
                  </a:cubicBezTo>
                  <a:lnTo>
                    <a:pt x="3279" y="0"/>
                  </a:lnTo>
                  <a:cubicBezTo>
                    <a:pt x="3403" y="0"/>
                    <a:pt x="3475" y="63"/>
                    <a:pt x="3446" y="167"/>
                  </a:cubicBezTo>
                  <a:lnTo>
                    <a:pt x="2770" y="2173"/>
                  </a:lnTo>
                  <a:close/>
                </a:path>
              </a:pathLst>
            </a:custGeom>
            <a:solidFill>
              <a:srgbClr val="A7DA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24">
              <a:extLst>
                <a:ext uri="{FF2B5EF4-FFF2-40B4-BE49-F238E27FC236}">
                  <a16:creationId xmlns:a16="http://schemas.microsoft.com/office/drawing/2014/main" id="{CA48E64E-81F1-4556-9DA2-64266C163352}"/>
                </a:ext>
              </a:extLst>
            </p:cNvPr>
            <p:cNvSpPr>
              <a:spLocks/>
            </p:cNvSpPr>
            <p:nvPr userDrawn="1"/>
          </p:nvSpPr>
          <p:spPr bwMode="auto">
            <a:xfrm>
              <a:off x="7839075" y="1878013"/>
              <a:ext cx="833438" cy="938213"/>
            </a:xfrm>
            <a:custGeom>
              <a:avLst/>
              <a:gdLst>
                <a:gd name="T0" fmla="*/ 866 w 1018"/>
                <a:gd name="T1" fmla="*/ 790 h 1144"/>
                <a:gd name="T2" fmla="*/ 259 w 1018"/>
                <a:gd name="T3" fmla="*/ 1031 h 1144"/>
                <a:gd name="T4" fmla="*/ 208 w 1018"/>
                <a:gd name="T5" fmla="*/ 1000 h 1144"/>
                <a:gd name="T6" fmla="*/ 132 w 1018"/>
                <a:gd name="T7" fmla="*/ 379 h 1144"/>
                <a:gd name="T8" fmla="*/ 149 w 1018"/>
                <a:gd name="T9" fmla="*/ 349 h 1144"/>
                <a:gd name="T10" fmla="*/ 167 w 1018"/>
                <a:gd name="T11" fmla="*/ 321 h 1144"/>
                <a:gd name="T12" fmla="*/ 756 w 1018"/>
                <a:gd name="T13" fmla="*/ 109 h 1144"/>
                <a:gd name="T14" fmla="*/ 806 w 1018"/>
                <a:gd name="T15" fmla="*/ 140 h 1144"/>
                <a:gd name="T16" fmla="*/ 866 w 1018"/>
                <a:gd name="T17" fmla="*/ 79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8" h="1144">
                  <a:moveTo>
                    <a:pt x="866" y="790"/>
                  </a:moveTo>
                  <a:cubicBezTo>
                    <a:pt x="715" y="1036"/>
                    <a:pt x="443" y="1144"/>
                    <a:pt x="259" y="1031"/>
                  </a:cubicBezTo>
                  <a:lnTo>
                    <a:pt x="208" y="1000"/>
                  </a:lnTo>
                  <a:cubicBezTo>
                    <a:pt x="31" y="891"/>
                    <a:pt x="0" y="618"/>
                    <a:pt x="132" y="379"/>
                  </a:cubicBezTo>
                  <a:cubicBezTo>
                    <a:pt x="137" y="369"/>
                    <a:pt x="143" y="359"/>
                    <a:pt x="149" y="349"/>
                  </a:cubicBezTo>
                  <a:cubicBezTo>
                    <a:pt x="154" y="340"/>
                    <a:pt x="161" y="330"/>
                    <a:pt x="167" y="321"/>
                  </a:cubicBezTo>
                  <a:cubicBezTo>
                    <a:pt x="321" y="95"/>
                    <a:pt x="579" y="0"/>
                    <a:pt x="756" y="109"/>
                  </a:cubicBezTo>
                  <a:lnTo>
                    <a:pt x="806" y="140"/>
                  </a:lnTo>
                  <a:cubicBezTo>
                    <a:pt x="991" y="253"/>
                    <a:pt x="1018" y="544"/>
                    <a:pt x="866" y="790"/>
                  </a:cubicBezTo>
                  <a:close/>
                </a:path>
              </a:pathLst>
            </a:custGeom>
            <a:solidFill>
              <a:srgbClr val="D04B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25">
              <a:extLst>
                <a:ext uri="{FF2B5EF4-FFF2-40B4-BE49-F238E27FC236}">
                  <a16:creationId xmlns:a16="http://schemas.microsoft.com/office/drawing/2014/main" id="{67B55700-FEAE-452A-8B9C-61B0A0AF53E7}"/>
                </a:ext>
              </a:extLst>
            </p:cNvPr>
            <p:cNvSpPr>
              <a:spLocks/>
            </p:cNvSpPr>
            <p:nvPr userDrawn="1"/>
          </p:nvSpPr>
          <p:spPr bwMode="auto">
            <a:xfrm>
              <a:off x="7839075" y="1878013"/>
              <a:ext cx="785813" cy="904875"/>
            </a:xfrm>
            <a:custGeom>
              <a:avLst/>
              <a:gdLst>
                <a:gd name="T0" fmla="*/ 816 w 960"/>
                <a:gd name="T1" fmla="*/ 759 h 1103"/>
                <a:gd name="T2" fmla="*/ 234 w 960"/>
                <a:gd name="T3" fmla="*/ 1014 h 1103"/>
                <a:gd name="T4" fmla="*/ 208 w 960"/>
                <a:gd name="T5" fmla="*/ 1000 h 1103"/>
                <a:gd name="T6" fmla="*/ 132 w 960"/>
                <a:gd name="T7" fmla="*/ 379 h 1103"/>
                <a:gd name="T8" fmla="*/ 149 w 960"/>
                <a:gd name="T9" fmla="*/ 349 h 1103"/>
                <a:gd name="T10" fmla="*/ 167 w 960"/>
                <a:gd name="T11" fmla="*/ 321 h 1103"/>
                <a:gd name="T12" fmla="*/ 756 w 960"/>
                <a:gd name="T13" fmla="*/ 109 h 1103"/>
                <a:gd name="T14" fmla="*/ 780 w 960"/>
                <a:gd name="T15" fmla="*/ 126 h 1103"/>
                <a:gd name="T16" fmla="*/ 816 w 960"/>
                <a:gd name="T17" fmla="*/ 759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0" h="1103">
                  <a:moveTo>
                    <a:pt x="816" y="759"/>
                  </a:moveTo>
                  <a:cubicBezTo>
                    <a:pt x="672" y="994"/>
                    <a:pt x="417" y="1103"/>
                    <a:pt x="234" y="1014"/>
                  </a:cubicBezTo>
                  <a:cubicBezTo>
                    <a:pt x="226" y="1010"/>
                    <a:pt x="217" y="1005"/>
                    <a:pt x="208" y="1000"/>
                  </a:cubicBezTo>
                  <a:cubicBezTo>
                    <a:pt x="31" y="891"/>
                    <a:pt x="0" y="618"/>
                    <a:pt x="132" y="379"/>
                  </a:cubicBezTo>
                  <a:cubicBezTo>
                    <a:pt x="137" y="369"/>
                    <a:pt x="143" y="359"/>
                    <a:pt x="149" y="349"/>
                  </a:cubicBezTo>
                  <a:cubicBezTo>
                    <a:pt x="154" y="340"/>
                    <a:pt x="161" y="330"/>
                    <a:pt x="167" y="321"/>
                  </a:cubicBezTo>
                  <a:cubicBezTo>
                    <a:pt x="321" y="95"/>
                    <a:pt x="579" y="0"/>
                    <a:pt x="756" y="109"/>
                  </a:cubicBezTo>
                  <a:cubicBezTo>
                    <a:pt x="764" y="114"/>
                    <a:pt x="773" y="120"/>
                    <a:pt x="780" y="126"/>
                  </a:cubicBezTo>
                  <a:cubicBezTo>
                    <a:pt x="942" y="249"/>
                    <a:pt x="960" y="525"/>
                    <a:pt x="816" y="759"/>
                  </a:cubicBezTo>
                  <a:close/>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26">
              <a:extLst>
                <a:ext uri="{FF2B5EF4-FFF2-40B4-BE49-F238E27FC236}">
                  <a16:creationId xmlns:a16="http://schemas.microsoft.com/office/drawing/2014/main" id="{6F888B6A-BB46-401E-B652-2A0D6C60A7EC}"/>
                </a:ext>
              </a:extLst>
            </p:cNvPr>
            <p:cNvSpPr>
              <a:spLocks/>
            </p:cNvSpPr>
            <p:nvPr userDrawn="1"/>
          </p:nvSpPr>
          <p:spPr bwMode="auto">
            <a:xfrm>
              <a:off x="7940675" y="1995488"/>
              <a:ext cx="585788" cy="674688"/>
            </a:xfrm>
            <a:custGeom>
              <a:avLst/>
              <a:gdLst>
                <a:gd name="T0" fmla="*/ 603 w 714"/>
                <a:gd name="T1" fmla="*/ 562 h 823"/>
                <a:gd name="T2" fmla="*/ 156 w 714"/>
                <a:gd name="T3" fmla="*/ 739 h 823"/>
                <a:gd name="T4" fmla="*/ 112 w 714"/>
                <a:gd name="T5" fmla="*/ 260 h 823"/>
                <a:gd name="T6" fmla="*/ 559 w 714"/>
                <a:gd name="T7" fmla="*/ 83 h 823"/>
                <a:gd name="T8" fmla="*/ 603 w 714"/>
                <a:gd name="T9" fmla="*/ 562 h 823"/>
              </a:gdLst>
              <a:ahLst/>
              <a:cxnLst>
                <a:cxn ang="0">
                  <a:pos x="T0" y="T1"/>
                </a:cxn>
                <a:cxn ang="0">
                  <a:pos x="T2" y="T3"/>
                </a:cxn>
                <a:cxn ang="0">
                  <a:pos x="T4" y="T5"/>
                </a:cxn>
                <a:cxn ang="0">
                  <a:pos x="T6" y="T7"/>
                </a:cxn>
                <a:cxn ang="0">
                  <a:pos x="T8" y="T9"/>
                </a:cxn>
              </a:cxnLst>
              <a:rect l="0" t="0" r="r" b="b"/>
              <a:pathLst>
                <a:path w="714" h="823">
                  <a:moveTo>
                    <a:pt x="603" y="562"/>
                  </a:moveTo>
                  <a:cubicBezTo>
                    <a:pt x="492" y="743"/>
                    <a:pt x="291" y="823"/>
                    <a:pt x="156" y="739"/>
                  </a:cubicBezTo>
                  <a:cubicBezTo>
                    <a:pt x="20" y="656"/>
                    <a:pt x="0" y="442"/>
                    <a:pt x="112" y="260"/>
                  </a:cubicBezTo>
                  <a:cubicBezTo>
                    <a:pt x="223" y="79"/>
                    <a:pt x="423" y="0"/>
                    <a:pt x="559" y="83"/>
                  </a:cubicBezTo>
                  <a:cubicBezTo>
                    <a:pt x="694" y="167"/>
                    <a:pt x="714" y="381"/>
                    <a:pt x="603" y="562"/>
                  </a:cubicBezTo>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27">
              <a:extLst>
                <a:ext uri="{FF2B5EF4-FFF2-40B4-BE49-F238E27FC236}">
                  <a16:creationId xmlns:a16="http://schemas.microsoft.com/office/drawing/2014/main" id="{E1A99DF2-FC22-482B-94BE-DDBE8778579B}"/>
                </a:ext>
              </a:extLst>
            </p:cNvPr>
            <p:cNvSpPr>
              <a:spLocks/>
            </p:cNvSpPr>
            <p:nvPr userDrawn="1"/>
          </p:nvSpPr>
          <p:spPr bwMode="auto">
            <a:xfrm>
              <a:off x="8056563" y="2128838"/>
              <a:ext cx="352425" cy="406400"/>
            </a:xfrm>
            <a:custGeom>
              <a:avLst/>
              <a:gdLst>
                <a:gd name="T0" fmla="*/ 363 w 430"/>
                <a:gd name="T1" fmla="*/ 339 h 496"/>
                <a:gd name="T2" fmla="*/ 94 w 430"/>
                <a:gd name="T3" fmla="*/ 446 h 496"/>
                <a:gd name="T4" fmla="*/ 67 w 430"/>
                <a:gd name="T5" fmla="*/ 157 h 496"/>
                <a:gd name="T6" fmla="*/ 337 w 430"/>
                <a:gd name="T7" fmla="*/ 51 h 496"/>
                <a:gd name="T8" fmla="*/ 363 w 430"/>
                <a:gd name="T9" fmla="*/ 339 h 496"/>
              </a:gdLst>
              <a:ahLst/>
              <a:cxnLst>
                <a:cxn ang="0">
                  <a:pos x="T0" y="T1"/>
                </a:cxn>
                <a:cxn ang="0">
                  <a:pos x="T2" y="T3"/>
                </a:cxn>
                <a:cxn ang="0">
                  <a:pos x="T4" y="T5"/>
                </a:cxn>
                <a:cxn ang="0">
                  <a:pos x="T6" y="T7"/>
                </a:cxn>
                <a:cxn ang="0">
                  <a:pos x="T8" y="T9"/>
                </a:cxn>
              </a:cxnLst>
              <a:rect l="0" t="0" r="r" b="b"/>
              <a:pathLst>
                <a:path w="430" h="496">
                  <a:moveTo>
                    <a:pt x="363" y="339"/>
                  </a:moveTo>
                  <a:cubicBezTo>
                    <a:pt x="296" y="449"/>
                    <a:pt x="175" y="496"/>
                    <a:pt x="94" y="446"/>
                  </a:cubicBezTo>
                  <a:cubicBezTo>
                    <a:pt x="12" y="396"/>
                    <a:pt x="0" y="267"/>
                    <a:pt x="67" y="157"/>
                  </a:cubicBezTo>
                  <a:cubicBezTo>
                    <a:pt x="134" y="48"/>
                    <a:pt x="255" y="0"/>
                    <a:pt x="337" y="51"/>
                  </a:cubicBezTo>
                  <a:cubicBezTo>
                    <a:pt x="418" y="101"/>
                    <a:pt x="430" y="230"/>
                    <a:pt x="363" y="339"/>
                  </a:cubicBezTo>
                </a:path>
              </a:pathLst>
            </a:cu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28">
              <a:extLst>
                <a:ext uri="{FF2B5EF4-FFF2-40B4-BE49-F238E27FC236}">
                  <a16:creationId xmlns:a16="http://schemas.microsoft.com/office/drawing/2014/main" id="{89A244C6-E7DE-4897-8186-DF6EB00F151D}"/>
                </a:ext>
              </a:extLst>
            </p:cNvPr>
            <p:cNvSpPr>
              <a:spLocks/>
            </p:cNvSpPr>
            <p:nvPr userDrawn="1"/>
          </p:nvSpPr>
          <p:spPr bwMode="auto">
            <a:xfrm>
              <a:off x="7947025" y="2141538"/>
              <a:ext cx="100013" cy="92075"/>
            </a:xfrm>
            <a:custGeom>
              <a:avLst/>
              <a:gdLst>
                <a:gd name="T0" fmla="*/ 88 w 123"/>
                <a:gd name="T1" fmla="*/ 112 h 112"/>
                <a:gd name="T2" fmla="*/ 0 w 123"/>
                <a:gd name="T3" fmla="*/ 58 h 112"/>
                <a:gd name="T4" fmla="*/ 17 w 123"/>
                <a:gd name="T5" fmla="*/ 28 h 112"/>
                <a:gd name="T6" fmla="*/ 35 w 123"/>
                <a:gd name="T7" fmla="*/ 0 h 112"/>
                <a:gd name="T8" fmla="*/ 123 w 123"/>
                <a:gd name="T9" fmla="*/ 54 h 112"/>
                <a:gd name="T10" fmla="*/ 105 w 123"/>
                <a:gd name="T11" fmla="*/ 82 h 112"/>
                <a:gd name="T12" fmla="*/ 88 w 123"/>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3" h="112">
                  <a:moveTo>
                    <a:pt x="88" y="112"/>
                  </a:moveTo>
                  <a:lnTo>
                    <a:pt x="0" y="58"/>
                  </a:lnTo>
                  <a:cubicBezTo>
                    <a:pt x="5" y="48"/>
                    <a:pt x="11" y="38"/>
                    <a:pt x="17" y="28"/>
                  </a:cubicBezTo>
                  <a:cubicBezTo>
                    <a:pt x="22" y="19"/>
                    <a:pt x="29" y="9"/>
                    <a:pt x="35" y="0"/>
                  </a:cubicBezTo>
                  <a:lnTo>
                    <a:pt x="123" y="54"/>
                  </a:lnTo>
                  <a:cubicBezTo>
                    <a:pt x="117" y="63"/>
                    <a:pt x="111" y="73"/>
                    <a:pt x="105" y="82"/>
                  </a:cubicBezTo>
                  <a:cubicBezTo>
                    <a:pt x="99" y="92"/>
                    <a:pt x="93" y="102"/>
                    <a:pt x="88" y="112"/>
                  </a:cubicBezTo>
                </a:path>
              </a:pathLst>
            </a:custGeom>
            <a:solidFill>
              <a:srgbClr val="ED7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129">
              <a:extLst>
                <a:ext uri="{FF2B5EF4-FFF2-40B4-BE49-F238E27FC236}">
                  <a16:creationId xmlns:a16="http://schemas.microsoft.com/office/drawing/2014/main" id="{87264995-81A7-45A3-B6A5-7A0DFFF08E91}"/>
                </a:ext>
              </a:extLst>
            </p:cNvPr>
            <p:cNvSpPr>
              <a:spLocks/>
            </p:cNvSpPr>
            <p:nvPr userDrawn="1"/>
          </p:nvSpPr>
          <p:spPr bwMode="auto">
            <a:xfrm>
              <a:off x="8018463" y="2185988"/>
              <a:ext cx="109538" cy="96838"/>
            </a:xfrm>
            <a:custGeom>
              <a:avLst/>
              <a:gdLst>
                <a:gd name="T0" fmla="*/ 98 w 133"/>
                <a:gd name="T1" fmla="*/ 118 h 118"/>
                <a:gd name="T2" fmla="*/ 0 w 133"/>
                <a:gd name="T3" fmla="*/ 58 h 118"/>
                <a:gd name="T4" fmla="*/ 17 w 133"/>
                <a:gd name="T5" fmla="*/ 28 h 118"/>
                <a:gd name="T6" fmla="*/ 35 w 133"/>
                <a:gd name="T7" fmla="*/ 0 h 118"/>
                <a:gd name="T8" fmla="*/ 133 w 133"/>
                <a:gd name="T9" fmla="*/ 60 h 118"/>
                <a:gd name="T10" fmla="*/ 114 w 133"/>
                <a:gd name="T11" fmla="*/ 88 h 118"/>
                <a:gd name="T12" fmla="*/ 98 w 133"/>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33" h="118">
                  <a:moveTo>
                    <a:pt x="98" y="118"/>
                  </a:moveTo>
                  <a:lnTo>
                    <a:pt x="0" y="58"/>
                  </a:lnTo>
                  <a:cubicBezTo>
                    <a:pt x="5" y="48"/>
                    <a:pt x="11" y="38"/>
                    <a:pt x="17" y="28"/>
                  </a:cubicBezTo>
                  <a:cubicBezTo>
                    <a:pt x="23" y="19"/>
                    <a:pt x="29" y="9"/>
                    <a:pt x="35" y="0"/>
                  </a:cubicBezTo>
                  <a:lnTo>
                    <a:pt x="133" y="60"/>
                  </a:lnTo>
                  <a:cubicBezTo>
                    <a:pt x="127" y="69"/>
                    <a:pt x="120" y="79"/>
                    <a:pt x="114" y="88"/>
                  </a:cubicBezTo>
                  <a:cubicBezTo>
                    <a:pt x="108" y="98"/>
                    <a:pt x="103" y="108"/>
                    <a:pt x="98" y="118"/>
                  </a:cubicBezTo>
                </a:path>
              </a:pathLst>
            </a:custGeom>
            <a:solidFill>
              <a:srgbClr val="8CD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30">
              <a:extLst>
                <a:ext uri="{FF2B5EF4-FFF2-40B4-BE49-F238E27FC236}">
                  <a16:creationId xmlns:a16="http://schemas.microsoft.com/office/drawing/2014/main" id="{08537138-3B96-4CDE-8E95-1CAFB1E77206}"/>
                </a:ext>
              </a:extLst>
            </p:cNvPr>
            <p:cNvSpPr>
              <a:spLocks/>
            </p:cNvSpPr>
            <p:nvPr userDrawn="1"/>
          </p:nvSpPr>
          <p:spPr bwMode="auto">
            <a:xfrm>
              <a:off x="8099425" y="2235200"/>
              <a:ext cx="165100" cy="125413"/>
            </a:xfrm>
            <a:custGeom>
              <a:avLst/>
              <a:gdLst>
                <a:gd name="T0" fmla="*/ 164 w 203"/>
                <a:gd name="T1" fmla="*/ 153 h 153"/>
                <a:gd name="T2" fmla="*/ 146 w 203"/>
                <a:gd name="T3" fmla="*/ 148 h 153"/>
                <a:gd name="T4" fmla="*/ 0 w 203"/>
                <a:gd name="T5" fmla="*/ 58 h 153"/>
                <a:gd name="T6" fmla="*/ 16 w 203"/>
                <a:gd name="T7" fmla="*/ 28 h 153"/>
                <a:gd name="T8" fmla="*/ 35 w 203"/>
                <a:gd name="T9" fmla="*/ 0 h 153"/>
                <a:gd name="T10" fmla="*/ 182 w 203"/>
                <a:gd name="T11" fmla="*/ 90 h 153"/>
                <a:gd name="T12" fmla="*/ 193 w 203"/>
                <a:gd name="T13" fmla="*/ 137 h 153"/>
                <a:gd name="T14" fmla="*/ 164 w 203"/>
                <a:gd name="T15" fmla="*/ 153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3" h="153">
                  <a:moveTo>
                    <a:pt x="164" y="153"/>
                  </a:moveTo>
                  <a:cubicBezTo>
                    <a:pt x="158" y="153"/>
                    <a:pt x="152" y="152"/>
                    <a:pt x="146" y="148"/>
                  </a:cubicBezTo>
                  <a:lnTo>
                    <a:pt x="0" y="58"/>
                  </a:lnTo>
                  <a:cubicBezTo>
                    <a:pt x="5" y="48"/>
                    <a:pt x="10" y="38"/>
                    <a:pt x="16" y="28"/>
                  </a:cubicBezTo>
                  <a:cubicBezTo>
                    <a:pt x="22" y="19"/>
                    <a:pt x="29" y="9"/>
                    <a:pt x="35" y="0"/>
                  </a:cubicBezTo>
                  <a:lnTo>
                    <a:pt x="182" y="90"/>
                  </a:lnTo>
                  <a:cubicBezTo>
                    <a:pt x="198" y="100"/>
                    <a:pt x="203" y="121"/>
                    <a:pt x="193" y="137"/>
                  </a:cubicBezTo>
                  <a:cubicBezTo>
                    <a:pt x="187" y="147"/>
                    <a:pt x="176" y="153"/>
                    <a:pt x="164" y="153"/>
                  </a:cubicBezTo>
                </a:path>
              </a:pathLst>
            </a:custGeom>
            <a:solidFill>
              <a:srgbClr val="D134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31">
              <a:extLst>
                <a:ext uri="{FF2B5EF4-FFF2-40B4-BE49-F238E27FC236}">
                  <a16:creationId xmlns:a16="http://schemas.microsoft.com/office/drawing/2014/main" id="{744D76D8-155D-49F7-9BBD-A941AF754619}"/>
                </a:ext>
              </a:extLst>
            </p:cNvPr>
            <p:cNvSpPr>
              <a:spLocks/>
            </p:cNvSpPr>
            <p:nvPr userDrawn="1"/>
          </p:nvSpPr>
          <p:spPr bwMode="auto">
            <a:xfrm>
              <a:off x="8024813" y="1843088"/>
              <a:ext cx="239713" cy="520700"/>
            </a:xfrm>
            <a:custGeom>
              <a:avLst/>
              <a:gdLst>
                <a:gd name="T0" fmla="*/ 267 w 294"/>
                <a:gd name="T1" fmla="*/ 629 h 636"/>
                <a:gd name="T2" fmla="*/ 224 w 294"/>
                <a:gd name="T3" fmla="*/ 610 h 636"/>
                <a:gd name="T4" fmla="*/ 7 w 294"/>
                <a:gd name="T5" fmla="*/ 51 h 636"/>
                <a:gd name="T6" fmla="*/ 26 w 294"/>
                <a:gd name="T7" fmla="*/ 7 h 636"/>
                <a:gd name="T8" fmla="*/ 70 w 294"/>
                <a:gd name="T9" fmla="*/ 26 h 636"/>
                <a:gd name="T10" fmla="*/ 287 w 294"/>
                <a:gd name="T11" fmla="*/ 585 h 636"/>
                <a:gd name="T12" fmla="*/ 267 w 294"/>
                <a:gd name="T13" fmla="*/ 629 h 636"/>
              </a:gdLst>
              <a:ahLst/>
              <a:cxnLst>
                <a:cxn ang="0">
                  <a:pos x="T0" y="T1"/>
                </a:cxn>
                <a:cxn ang="0">
                  <a:pos x="T2" y="T3"/>
                </a:cxn>
                <a:cxn ang="0">
                  <a:pos x="T4" y="T5"/>
                </a:cxn>
                <a:cxn ang="0">
                  <a:pos x="T6" y="T7"/>
                </a:cxn>
                <a:cxn ang="0">
                  <a:pos x="T8" y="T9"/>
                </a:cxn>
                <a:cxn ang="0">
                  <a:pos x="T10" y="T11"/>
                </a:cxn>
                <a:cxn ang="0">
                  <a:pos x="T12" y="T13"/>
                </a:cxn>
              </a:cxnLst>
              <a:rect l="0" t="0" r="r" b="b"/>
              <a:pathLst>
                <a:path w="294" h="636">
                  <a:moveTo>
                    <a:pt x="267" y="629"/>
                  </a:moveTo>
                  <a:cubicBezTo>
                    <a:pt x="250" y="636"/>
                    <a:pt x="231" y="627"/>
                    <a:pt x="224" y="610"/>
                  </a:cubicBezTo>
                  <a:lnTo>
                    <a:pt x="7" y="51"/>
                  </a:lnTo>
                  <a:cubicBezTo>
                    <a:pt x="0" y="33"/>
                    <a:pt x="9" y="14"/>
                    <a:pt x="26" y="7"/>
                  </a:cubicBezTo>
                  <a:cubicBezTo>
                    <a:pt x="43" y="0"/>
                    <a:pt x="63" y="9"/>
                    <a:pt x="70" y="26"/>
                  </a:cubicBezTo>
                  <a:lnTo>
                    <a:pt x="287" y="585"/>
                  </a:lnTo>
                  <a:cubicBezTo>
                    <a:pt x="294" y="603"/>
                    <a:pt x="285" y="622"/>
                    <a:pt x="267" y="629"/>
                  </a:cubicBezTo>
                </a:path>
              </a:pathLst>
            </a:custGeom>
            <a:solidFill>
              <a:srgbClr val="3B2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32">
              <a:extLst>
                <a:ext uri="{FF2B5EF4-FFF2-40B4-BE49-F238E27FC236}">
                  <a16:creationId xmlns:a16="http://schemas.microsoft.com/office/drawing/2014/main" id="{786AED66-AAD4-4A18-9E9C-EF9C93F44B90}"/>
                </a:ext>
              </a:extLst>
            </p:cNvPr>
            <p:cNvSpPr>
              <a:spLocks/>
            </p:cNvSpPr>
            <p:nvPr userDrawn="1"/>
          </p:nvSpPr>
          <p:spPr bwMode="auto">
            <a:xfrm>
              <a:off x="8021638" y="1736725"/>
              <a:ext cx="92075" cy="198438"/>
            </a:xfrm>
            <a:custGeom>
              <a:avLst/>
              <a:gdLst>
                <a:gd name="T0" fmla="*/ 39 w 58"/>
                <a:gd name="T1" fmla="*/ 125 h 125"/>
                <a:gd name="T2" fmla="*/ 0 w 58"/>
                <a:gd name="T3" fmla="*/ 32 h 125"/>
                <a:gd name="T4" fmla="*/ 21 w 58"/>
                <a:gd name="T5" fmla="*/ 0 h 125"/>
                <a:gd name="T6" fmla="*/ 58 w 58"/>
                <a:gd name="T7" fmla="*/ 89 h 125"/>
                <a:gd name="T8" fmla="*/ 39 w 58"/>
                <a:gd name="T9" fmla="*/ 125 h 125"/>
              </a:gdLst>
              <a:ahLst/>
              <a:cxnLst>
                <a:cxn ang="0">
                  <a:pos x="T0" y="T1"/>
                </a:cxn>
                <a:cxn ang="0">
                  <a:pos x="T2" y="T3"/>
                </a:cxn>
                <a:cxn ang="0">
                  <a:pos x="T4" y="T5"/>
                </a:cxn>
                <a:cxn ang="0">
                  <a:pos x="T6" y="T7"/>
                </a:cxn>
                <a:cxn ang="0">
                  <a:pos x="T8" y="T9"/>
                </a:cxn>
              </a:cxnLst>
              <a:rect l="0" t="0" r="r" b="b"/>
              <a:pathLst>
                <a:path w="58" h="125">
                  <a:moveTo>
                    <a:pt x="39" y="125"/>
                  </a:moveTo>
                  <a:lnTo>
                    <a:pt x="0" y="32"/>
                  </a:lnTo>
                  <a:lnTo>
                    <a:pt x="21" y="0"/>
                  </a:lnTo>
                  <a:lnTo>
                    <a:pt x="58" y="89"/>
                  </a:lnTo>
                  <a:lnTo>
                    <a:pt x="39" y="125"/>
                  </a:lnTo>
                  <a:close/>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33">
              <a:extLst>
                <a:ext uri="{FF2B5EF4-FFF2-40B4-BE49-F238E27FC236}">
                  <a16:creationId xmlns:a16="http://schemas.microsoft.com/office/drawing/2014/main" id="{D58D4192-469B-422E-B209-21C35D5C5063}"/>
                </a:ext>
              </a:extLst>
            </p:cNvPr>
            <p:cNvSpPr>
              <a:spLocks/>
            </p:cNvSpPr>
            <p:nvPr userDrawn="1"/>
          </p:nvSpPr>
          <p:spPr bwMode="auto">
            <a:xfrm>
              <a:off x="7958138" y="1765300"/>
              <a:ext cx="125413" cy="169863"/>
            </a:xfrm>
            <a:custGeom>
              <a:avLst/>
              <a:gdLst>
                <a:gd name="T0" fmla="*/ 0 w 79"/>
                <a:gd name="T1" fmla="*/ 0 h 107"/>
                <a:gd name="T2" fmla="*/ 41 w 79"/>
                <a:gd name="T3" fmla="*/ 98 h 107"/>
                <a:gd name="T4" fmla="*/ 79 w 79"/>
                <a:gd name="T5" fmla="*/ 107 h 107"/>
                <a:gd name="T6" fmla="*/ 40 w 79"/>
                <a:gd name="T7" fmla="*/ 13 h 107"/>
                <a:gd name="T8" fmla="*/ 0 w 79"/>
                <a:gd name="T9" fmla="*/ 0 h 107"/>
              </a:gdLst>
              <a:ahLst/>
              <a:cxnLst>
                <a:cxn ang="0">
                  <a:pos x="T0" y="T1"/>
                </a:cxn>
                <a:cxn ang="0">
                  <a:pos x="T2" y="T3"/>
                </a:cxn>
                <a:cxn ang="0">
                  <a:pos x="T4" y="T5"/>
                </a:cxn>
                <a:cxn ang="0">
                  <a:pos x="T6" y="T7"/>
                </a:cxn>
                <a:cxn ang="0">
                  <a:pos x="T8" y="T9"/>
                </a:cxn>
              </a:cxnLst>
              <a:rect l="0" t="0" r="r" b="b"/>
              <a:pathLst>
                <a:path w="79" h="107">
                  <a:moveTo>
                    <a:pt x="0" y="0"/>
                  </a:moveTo>
                  <a:lnTo>
                    <a:pt x="41" y="98"/>
                  </a:lnTo>
                  <a:lnTo>
                    <a:pt x="79" y="107"/>
                  </a:lnTo>
                  <a:lnTo>
                    <a:pt x="40" y="13"/>
                  </a:lnTo>
                  <a:lnTo>
                    <a:pt x="0" y="0"/>
                  </a:lnTo>
                  <a:close/>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34">
              <a:extLst>
                <a:ext uri="{FF2B5EF4-FFF2-40B4-BE49-F238E27FC236}">
                  <a16:creationId xmlns:a16="http://schemas.microsoft.com/office/drawing/2014/main" id="{EF28032C-EFE2-47D1-8E79-3F7886FA7C0E}"/>
                </a:ext>
              </a:extLst>
            </p:cNvPr>
            <p:cNvSpPr>
              <a:spLocks/>
            </p:cNvSpPr>
            <p:nvPr userDrawn="1"/>
          </p:nvSpPr>
          <p:spPr bwMode="auto">
            <a:xfrm>
              <a:off x="5611813" y="2830513"/>
              <a:ext cx="420688" cy="496888"/>
            </a:xfrm>
            <a:custGeom>
              <a:avLst/>
              <a:gdLst>
                <a:gd name="T0" fmla="*/ 265 w 265"/>
                <a:gd name="T1" fmla="*/ 0 h 313"/>
                <a:gd name="T2" fmla="*/ 94 w 265"/>
                <a:gd name="T3" fmla="*/ 213 h 313"/>
                <a:gd name="T4" fmla="*/ 13 w 265"/>
                <a:gd name="T5" fmla="*/ 313 h 313"/>
                <a:gd name="T6" fmla="*/ 4 w 265"/>
                <a:gd name="T7" fmla="*/ 213 h 313"/>
                <a:gd name="T8" fmla="*/ 3 w 265"/>
                <a:gd name="T9" fmla="*/ 192 h 313"/>
                <a:gd name="T10" fmla="*/ 0 w 265"/>
                <a:gd name="T11" fmla="*/ 156 h 313"/>
                <a:gd name="T12" fmla="*/ 42 w 265"/>
                <a:gd name="T13" fmla="*/ 108 h 313"/>
                <a:gd name="T14" fmla="*/ 265 w 265"/>
                <a:gd name="T15" fmla="*/ 0 h 3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5" h="313">
                  <a:moveTo>
                    <a:pt x="265" y="0"/>
                  </a:moveTo>
                  <a:lnTo>
                    <a:pt x="94" y="213"/>
                  </a:lnTo>
                  <a:lnTo>
                    <a:pt x="13" y="313"/>
                  </a:lnTo>
                  <a:lnTo>
                    <a:pt x="4" y="213"/>
                  </a:lnTo>
                  <a:lnTo>
                    <a:pt x="3" y="192"/>
                  </a:lnTo>
                  <a:lnTo>
                    <a:pt x="0" y="156"/>
                  </a:lnTo>
                  <a:lnTo>
                    <a:pt x="42" y="108"/>
                  </a:lnTo>
                  <a:lnTo>
                    <a:pt x="265" y="0"/>
                  </a:lnTo>
                  <a:close/>
                </a:path>
              </a:pathLst>
            </a:custGeom>
            <a:solidFill>
              <a:srgbClr val="8CC3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35">
              <a:extLst>
                <a:ext uri="{FF2B5EF4-FFF2-40B4-BE49-F238E27FC236}">
                  <a16:creationId xmlns:a16="http://schemas.microsoft.com/office/drawing/2014/main" id="{04AAB46C-B7A7-4F3D-9E11-6BD1A9EE1861}"/>
                </a:ext>
              </a:extLst>
            </p:cNvPr>
            <p:cNvSpPr>
              <a:spLocks/>
            </p:cNvSpPr>
            <p:nvPr userDrawn="1"/>
          </p:nvSpPr>
          <p:spPr bwMode="auto">
            <a:xfrm>
              <a:off x="5338763" y="2830513"/>
              <a:ext cx="693738" cy="338138"/>
            </a:xfrm>
            <a:custGeom>
              <a:avLst/>
              <a:gdLst>
                <a:gd name="T0" fmla="*/ 437 w 437"/>
                <a:gd name="T1" fmla="*/ 0 h 213"/>
                <a:gd name="T2" fmla="*/ 388 w 437"/>
                <a:gd name="T3" fmla="*/ 213 h 213"/>
                <a:gd name="T4" fmla="*/ 0 w 437"/>
                <a:gd name="T5" fmla="*/ 213 h 213"/>
                <a:gd name="T6" fmla="*/ 214 w 437"/>
                <a:gd name="T7" fmla="*/ 108 h 213"/>
                <a:gd name="T8" fmla="*/ 437 w 437"/>
                <a:gd name="T9" fmla="*/ 0 h 213"/>
              </a:gdLst>
              <a:ahLst/>
              <a:cxnLst>
                <a:cxn ang="0">
                  <a:pos x="T0" y="T1"/>
                </a:cxn>
                <a:cxn ang="0">
                  <a:pos x="T2" y="T3"/>
                </a:cxn>
                <a:cxn ang="0">
                  <a:pos x="T4" y="T5"/>
                </a:cxn>
                <a:cxn ang="0">
                  <a:pos x="T6" y="T7"/>
                </a:cxn>
                <a:cxn ang="0">
                  <a:pos x="T8" y="T9"/>
                </a:cxn>
              </a:cxnLst>
              <a:rect l="0" t="0" r="r" b="b"/>
              <a:pathLst>
                <a:path w="437" h="213">
                  <a:moveTo>
                    <a:pt x="437" y="0"/>
                  </a:moveTo>
                  <a:lnTo>
                    <a:pt x="388" y="213"/>
                  </a:lnTo>
                  <a:lnTo>
                    <a:pt x="0" y="213"/>
                  </a:lnTo>
                  <a:lnTo>
                    <a:pt x="214" y="108"/>
                  </a:lnTo>
                  <a:lnTo>
                    <a:pt x="437" y="0"/>
                  </a:lnTo>
                  <a:close/>
                </a:path>
              </a:pathLst>
            </a:custGeom>
            <a:solidFill>
              <a:srgbClr val="DEF1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36">
              <a:extLst>
                <a:ext uri="{FF2B5EF4-FFF2-40B4-BE49-F238E27FC236}">
                  <a16:creationId xmlns:a16="http://schemas.microsoft.com/office/drawing/2014/main" id="{993C4D24-8A42-4D92-A77C-993B592F3F93}"/>
                </a:ext>
              </a:extLst>
            </p:cNvPr>
            <p:cNvSpPr>
              <a:spLocks/>
            </p:cNvSpPr>
            <p:nvPr userDrawn="1"/>
          </p:nvSpPr>
          <p:spPr bwMode="auto">
            <a:xfrm>
              <a:off x="5570538" y="2830513"/>
              <a:ext cx="461963" cy="496888"/>
            </a:xfrm>
            <a:custGeom>
              <a:avLst/>
              <a:gdLst>
                <a:gd name="T0" fmla="*/ 39 w 291"/>
                <a:gd name="T1" fmla="*/ 313 h 313"/>
                <a:gd name="T2" fmla="*/ 0 w 291"/>
                <a:gd name="T3" fmla="*/ 213 h 313"/>
                <a:gd name="T4" fmla="*/ 291 w 291"/>
                <a:gd name="T5" fmla="*/ 0 h 313"/>
                <a:gd name="T6" fmla="*/ 59 w 291"/>
                <a:gd name="T7" fmla="*/ 213 h 313"/>
                <a:gd name="T8" fmla="*/ 39 w 291"/>
                <a:gd name="T9" fmla="*/ 313 h 313"/>
              </a:gdLst>
              <a:ahLst/>
              <a:cxnLst>
                <a:cxn ang="0">
                  <a:pos x="T0" y="T1"/>
                </a:cxn>
                <a:cxn ang="0">
                  <a:pos x="T2" y="T3"/>
                </a:cxn>
                <a:cxn ang="0">
                  <a:pos x="T4" y="T5"/>
                </a:cxn>
                <a:cxn ang="0">
                  <a:pos x="T6" y="T7"/>
                </a:cxn>
                <a:cxn ang="0">
                  <a:pos x="T8" y="T9"/>
                </a:cxn>
              </a:cxnLst>
              <a:rect l="0" t="0" r="r" b="b"/>
              <a:pathLst>
                <a:path w="291" h="313">
                  <a:moveTo>
                    <a:pt x="39" y="313"/>
                  </a:moveTo>
                  <a:lnTo>
                    <a:pt x="0" y="213"/>
                  </a:lnTo>
                  <a:lnTo>
                    <a:pt x="291" y="0"/>
                  </a:lnTo>
                  <a:lnTo>
                    <a:pt x="59" y="213"/>
                  </a:lnTo>
                  <a:lnTo>
                    <a:pt x="39" y="313"/>
                  </a:lnTo>
                  <a:close/>
                </a:path>
              </a:pathLst>
            </a:custGeom>
            <a:solidFill>
              <a:srgbClr val="5B84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37">
              <a:extLst>
                <a:ext uri="{FF2B5EF4-FFF2-40B4-BE49-F238E27FC236}">
                  <a16:creationId xmlns:a16="http://schemas.microsoft.com/office/drawing/2014/main" id="{33307BB9-169B-4CC3-9F2A-A030883A9693}"/>
                </a:ext>
              </a:extLst>
            </p:cNvPr>
            <p:cNvSpPr>
              <a:spLocks/>
            </p:cNvSpPr>
            <p:nvPr userDrawn="1"/>
          </p:nvSpPr>
          <p:spPr bwMode="auto">
            <a:xfrm>
              <a:off x="5507038" y="3379788"/>
              <a:ext cx="69850" cy="74613"/>
            </a:xfrm>
            <a:custGeom>
              <a:avLst/>
              <a:gdLst>
                <a:gd name="T0" fmla="*/ 73 w 87"/>
                <a:gd name="T1" fmla="*/ 3 h 91"/>
                <a:gd name="T2" fmla="*/ 3 w 87"/>
                <a:gd name="T3" fmla="*/ 76 h 91"/>
                <a:gd name="T4" fmla="*/ 4 w 87"/>
                <a:gd name="T5" fmla="*/ 88 h 91"/>
                <a:gd name="T6" fmla="*/ 16 w 87"/>
                <a:gd name="T7" fmla="*/ 87 h 91"/>
                <a:gd name="T8" fmla="*/ 65 w 87"/>
                <a:gd name="T9" fmla="*/ 33 h 91"/>
                <a:gd name="T10" fmla="*/ 79 w 87"/>
                <a:gd name="T11" fmla="*/ 20 h 91"/>
                <a:gd name="T12" fmla="*/ 84 w 87"/>
                <a:gd name="T13" fmla="*/ 15 h 91"/>
                <a:gd name="T14" fmla="*/ 84 w 87"/>
                <a:gd name="T15" fmla="*/ 3 h 91"/>
                <a:gd name="T16" fmla="*/ 73 w 87"/>
                <a:gd name="T17"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1">
                  <a:moveTo>
                    <a:pt x="73" y="3"/>
                  </a:moveTo>
                  <a:cubicBezTo>
                    <a:pt x="72" y="3"/>
                    <a:pt x="44" y="28"/>
                    <a:pt x="3" y="76"/>
                  </a:cubicBezTo>
                  <a:cubicBezTo>
                    <a:pt x="0" y="79"/>
                    <a:pt x="0" y="85"/>
                    <a:pt x="4" y="88"/>
                  </a:cubicBezTo>
                  <a:cubicBezTo>
                    <a:pt x="7" y="91"/>
                    <a:pt x="13" y="90"/>
                    <a:pt x="16" y="87"/>
                  </a:cubicBezTo>
                  <a:cubicBezTo>
                    <a:pt x="36" y="63"/>
                    <a:pt x="53" y="45"/>
                    <a:pt x="65" y="33"/>
                  </a:cubicBezTo>
                  <a:cubicBezTo>
                    <a:pt x="71" y="27"/>
                    <a:pt x="76" y="23"/>
                    <a:pt x="79" y="20"/>
                  </a:cubicBezTo>
                  <a:cubicBezTo>
                    <a:pt x="82" y="17"/>
                    <a:pt x="84" y="15"/>
                    <a:pt x="84" y="15"/>
                  </a:cubicBezTo>
                  <a:cubicBezTo>
                    <a:pt x="87" y="12"/>
                    <a:pt x="87" y="7"/>
                    <a:pt x="84" y="3"/>
                  </a:cubicBezTo>
                  <a:cubicBezTo>
                    <a:pt x="81" y="0"/>
                    <a:pt x="76" y="0"/>
                    <a:pt x="73" y="3"/>
                  </a:cubicBezTo>
                </a:path>
              </a:pathLst>
            </a:custGeom>
            <a:solidFill>
              <a:srgbClr val="D083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38">
              <a:extLst>
                <a:ext uri="{FF2B5EF4-FFF2-40B4-BE49-F238E27FC236}">
                  <a16:creationId xmlns:a16="http://schemas.microsoft.com/office/drawing/2014/main" id="{1AF9B7F8-572C-4796-8551-CB0E8D5FECDF}"/>
                </a:ext>
              </a:extLst>
            </p:cNvPr>
            <p:cNvSpPr>
              <a:spLocks noEditPoints="1"/>
            </p:cNvSpPr>
            <p:nvPr userDrawn="1"/>
          </p:nvSpPr>
          <p:spPr bwMode="auto">
            <a:xfrm>
              <a:off x="5238750" y="3571875"/>
              <a:ext cx="1965325" cy="1562100"/>
            </a:xfrm>
            <a:custGeom>
              <a:avLst/>
              <a:gdLst>
                <a:gd name="T0" fmla="*/ 112 w 2399"/>
                <a:gd name="T1" fmla="*/ 196 h 1904"/>
                <a:gd name="T2" fmla="*/ 218 w 2399"/>
                <a:gd name="T3" fmla="*/ 2 h 1904"/>
                <a:gd name="T4" fmla="*/ 1 w 2399"/>
                <a:gd name="T5" fmla="*/ 579 h 1904"/>
                <a:gd name="T6" fmla="*/ 54 w 2399"/>
                <a:gd name="T7" fmla="*/ 382 h 1904"/>
                <a:gd name="T8" fmla="*/ 1 w 2399"/>
                <a:gd name="T9" fmla="*/ 784 h 1904"/>
                <a:gd name="T10" fmla="*/ 47 w 2399"/>
                <a:gd name="T11" fmla="*/ 992 h 1904"/>
                <a:gd name="T12" fmla="*/ 17 w 2399"/>
                <a:gd name="T13" fmla="*/ 783 h 1904"/>
                <a:gd name="T14" fmla="*/ 125 w 2399"/>
                <a:gd name="T15" fmla="*/ 1172 h 1904"/>
                <a:gd name="T16" fmla="*/ 282 w 2399"/>
                <a:gd name="T17" fmla="*/ 1301 h 1904"/>
                <a:gd name="T18" fmla="*/ 125 w 2399"/>
                <a:gd name="T19" fmla="*/ 1172 h 1904"/>
                <a:gd name="T20" fmla="*/ 665 w 2399"/>
                <a:gd name="T21" fmla="*/ 1425 h 1904"/>
                <a:gd name="T22" fmla="*/ 664 w 2399"/>
                <a:gd name="T23" fmla="*/ 1408 h 1904"/>
                <a:gd name="T24" fmla="*/ 461 w 2399"/>
                <a:gd name="T25" fmla="*/ 1399 h 1904"/>
                <a:gd name="T26" fmla="*/ 1065 w 2399"/>
                <a:gd name="T27" fmla="*/ 1317 h 1904"/>
                <a:gd name="T28" fmla="*/ 859 w 2399"/>
                <a:gd name="T29" fmla="*/ 1394 h 1904"/>
                <a:gd name="T30" fmla="*/ 1353 w 2399"/>
                <a:gd name="T31" fmla="*/ 1046 h 1904"/>
                <a:gd name="T32" fmla="*/ 1218 w 2399"/>
                <a:gd name="T33" fmla="*/ 1198 h 1904"/>
                <a:gd name="T34" fmla="*/ 1413 w 2399"/>
                <a:gd name="T35" fmla="*/ 849 h 1904"/>
                <a:gd name="T36" fmla="*/ 1409 w 2399"/>
                <a:gd name="T37" fmla="*/ 643 h 1904"/>
                <a:gd name="T38" fmla="*/ 1401 w 2399"/>
                <a:gd name="T39" fmla="*/ 755 h 1904"/>
                <a:gd name="T40" fmla="*/ 1403 w 2399"/>
                <a:gd name="T41" fmla="*/ 856 h 1904"/>
                <a:gd name="T42" fmla="*/ 1169 w 2399"/>
                <a:gd name="T43" fmla="*/ 326 h 1904"/>
                <a:gd name="T44" fmla="*/ 1318 w 2399"/>
                <a:gd name="T45" fmla="*/ 463 h 1904"/>
                <a:gd name="T46" fmla="*/ 966 w 2399"/>
                <a:gd name="T47" fmla="*/ 291 h 1904"/>
                <a:gd name="T48" fmla="*/ 773 w 2399"/>
                <a:gd name="T49" fmla="*/ 354 h 1904"/>
                <a:gd name="T50" fmla="*/ 966 w 2399"/>
                <a:gd name="T51" fmla="*/ 291 h 1904"/>
                <a:gd name="T52" fmla="*/ 485 w 2399"/>
                <a:gd name="T53" fmla="*/ 630 h 1904"/>
                <a:gd name="T54" fmla="*/ 552 w 2399"/>
                <a:gd name="T55" fmla="*/ 542 h 1904"/>
                <a:gd name="T56" fmla="*/ 598 w 2399"/>
                <a:gd name="T57" fmla="*/ 457 h 1904"/>
                <a:gd name="T58" fmla="*/ 410 w 2399"/>
                <a:gd name="T59" fmla="*/ 1030 h 1904"/>
                <a:gd name="T60" fmla="*/ 425 w 2399"/>
                <a:gd name="T61" fmla="*/ 978 h 1904"/>
                <a:gd name="T62" fmla="*/ 423 w 2399"/>
                <a:gd name="T63" fmla="*/ 825 h 1904"/>
                <a:gd name="T64" fmla="*/ 550 w 2399"/>
                <a:gd name="T65" fmla="*/ 1420 h 1904"/>
                <a:gd name="T66" fmla="*/ 455 w 2399"/>
                <a:gd name="T67" fmla="*/ 1222 h 1904"/>
                <a:gd name="T68" fmla="*/ 825 w 2399"/>
                <a:gd name="T69" fmla="*/ 1707 h 1904"/>
                <a:gd name="T70" fmla="*/ 679 w 2399"/>
                <a:gd name="T71" fmla="*/ 1565 h 1904"/>
                <a:gd name="T72" fmla="*/ 1003 w 2399"/>
                <a:gd name="T73" fmla="*/ 1810 h 1904"/>
                <a:gd name="T74" fmla="*/ 1201 w 2399"/>
                <a:gd name="T75" fmla="*/ 1861 h 1904"/>
                <a:gd name="T76" fmla="*/ 1003 w 2399"/>
                <a:gd name="T77" fmla="*/ 1810 h 1904"/>
                <a:gd name="T78" fmla="*/ 1605 w 2399"/>
                <a:gd name="T79" fmla="*/ 1897 h 1904"/>
                <a:gd name="T80" fmla="*/ 1459 w 2399"/>
                <a:gd name="T81" fmla="*/ 1887 h 1904"/>
                <a:gd name="T82" fmla="*/ 1400 w 2399"/>
                <a:gd name="T83" fmla="*/ 1903 h 1904"/>
                <a:gd name="T84" fmla="*/ 2013 w 2399"/>
                <a:gd name="T85" fmla="*/ 1810 h 1904"/>
                <a:gd name="T86" fmla="*/ 1798 w 2399"/>
                <a:gd name="T87" fmla="*/ 1861 h 1904"/>
                <a:gd name="T88" fmla="*/ 2393 w 2399"/>
                <a:gd name="T89" fmla="*/ 1685 h 1904"/>
                <a:gd name="T90" fmla="*/ 2196 w 2399"/>
                <a:gd name="T91" fmla="*/ 1743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9" h="1904">
                  <a:moveTo>
                    <a:pt x="206" y="5"/>
                  </a:moveTo>
                  <a:cubicBezTo>
                    <a:pt x="173" y="57"/>
                    <a:pt x="139" y="117"/>
                    <a:pt x="108" y="185"/>
                  </a:cubicBezTo>
                  <a:cubicBezTo>
                    <a:pt x="106" y="189"/>
                    <a:pt x="108" y="194"/>
                    <a:pt x="112" y="196"/>
                  </a:cubicBezTo>
                  <a:cubicBezTo>
                    <a:pt x="116" y="198"/>
                    <a:pt x="121" y="196"/>
                    <a:pt x="123" y="192"/>
                  </a:cubicBezTo>
                  <a:cubicBezTo>
                    <a:pt x="153" y="125"/>
                    <a:pt x="187" y="66"/>
                    <a:pt x="220" y="14"/>
                  </a:cubicBezTo>
                  <a:cubicBezTo>
                    <a:pt x="223" y="10"/>
                    <a:pt x="222" y="5"/>
                    <a:pt x="218" y="2"/>
                  </a:cubicBezTo>
                  <a:cubicBezTo>
                    <a:pt x="214" y="0"/>
                    <a:pt x="209" y="1"/>
                    <a:pt x="206" y="5"/>
                  </a:cubicBezTo>
                  <a:close/>
                  <a:moveTo>
                    <a:pt x="38" y="377"/>
                  </a:moveTo>
                  <a:cubicBezTo>
                    <a:pt x="21" y="441"/>
                    <a:pt x="8" y="508"/>
                    <a:pt x="1" y="579"/>
                  </a:cubicBezTo>
                  <a:cubicBezTo>
                    <a:pt x="1" y="584"/>
                    <a:pt x="4" y="588"/>
                    <a:pt x="9" y="588"/>
                  </a:cubicBezTo>
                  <a:cubicBezTo>
                    <a:pt x="13" y="589"/>
                    <a:pt x="17" y="585"/>
                    <a:pt x="18" y="581"/>
                  </a:cubicBezTo>
                  <a:cubicBezTo>
                    <a:pt x="24" y="511"/>
                    <a:pt x="37" y="444"/>
                    <a:pt x="54" y="382"/>
                  </a:cubicBezTo>
                  <a:cubicBezTo>
                    <a:pt x="55" y="377"/>
                    <a:pt x="53" y="373"/>
                    <a:pt x="48" y="372"/>
                  </a:cubicBezTo>
                  <a:cubicBezTo>
                    <a:pt x="44" y="370"/>
                    <a:pt x="39" y="373"/>
                    <a:pt x="38" y="377"/>
                  </a:cubicBezTo>
                  <a:close/>
                  <a:moveTo>
                    <a:pt x="1" y="784"/>
                  </a:moveTo>
                  <a:cubicBezTo>
                    <a:pt x="6" y="843"/>
                    <a:pt x="16" y="903"/>
                    <a:pt x="31" y="965"/>
                  </a:cubicBezTo>
                  <a:cubicBezTo>
                    <a:pt x="33" y="972"/>
                    <a:pt x="35" y="979"/>
                    <a:pt x="37" y="986"/>
                  </a:cubicBezTo>
                  <a:cubicBezTo>
                    <a:pt x="38" y="991"/>
                    <a:pt x="43" y="993"/>
                    <a:pt x="47" y="992"/>
                  </a:cubicBezTo>
                  <a:cubicBezTo>
                    <a:pt x="52" y="991"/>
                    <a:pt x="54" y="986"/>
                    <a:pt x="53" y="982"/>
                  </a:cubicBezTo>
                  <a:cubicBezTo>
                    <a:pt x="51" y="975"/>
                    <a:pt x="49" y="968"/>
                    <a:pt x="48" y="961"/>
                  </a:cubicBezTo>
                  <a:cubicBezTo>
                    <a:pt x="32" y="900"/>
                    <a:pt x="23" y="840"/>
                    <a:pt x="17" y="783"/>
                  </a:cubicBezTo>
                  <a:cubicBezTo>
                    <a:pt x="17" y="778"/>
                    <a:pt x="13" y="775"/>
                    <a:pt x="8" y="775"/>
                  </a:cubicBezTo>
                  <a:cubicBezTo>
                    <a:pt x="4" y="776"/>
                    <a:pt x="0" y="780"/>
                    <a:pt x="1" y="784"/>
                  </a:cubicBezTo>
                  <a:close/>
                  <a:moveTo>
                    <a:pt x="125" y="1172"/>
                  </a:moveTo>
                  <a:cubicBezTo>
                    <a:pt x="166" y="1230"/>
                    <a:pt x="216" y="1278"/>
                    <a:pt x="273" y="1315"/>
                  </a:cubicBezTo>
                  <a:cubicBezTo>
                    <a:pt x="277" y="1318"/>
                    <a:pt x="282" y="1317"/>
                    <a:pt x="284" y="1313"/>
                  </a:cubicBezTo>
                  <a:cubicBezTo>
                    <a:pt x="287" y="1309"/>
                    <a:pt x="286" y="1304"/>
                    <a:pt x="282" y="1301"/>
                  </a:cubicBezTo>
                  <a:cubicBezTo>
                    <a:pt x="227" y="1265"/>
                    <a:pt x="178" y="1219"/>
                    <a:pt x="138" y="1163"/>
                  </a:cubicBezTo>
                  <a:cubicBezTo>
                    <a:pt x="136" y="1159"/>
                    <a:pt x="131" y="1158"/>
                    <a:pt x="127" y="1161"/>
                  </a:cubicBezTo>
                  <a:cubicBezTo>
                    <a:pt x="123" y="1163"/>
                    <a:pt x="122" y="1168"/>
                    <a:pt x="125" y="1172"/>
                  </a:cubicBezTo>
                  <a:close/>
                  <a:moveTo>
                    <a:pt x="461" y="1399"/>
                  </a:moveTo>
                  <a:cubicBezTo>
                    <a:pt x="526" y="1416"/>
                    <a:pt x="595" y="1425"/>
                    <a:pt x="664" y="1425"/>
                  </a:cubicBezTo>
                  <a:lnTo>
                    <a:pt x="665" y="1425"/>
                  </a:lnTo>
                  <a:cubicBezTo>
                    <a:pt x="669" y="1425"/>
                    <a:pt x="673" y="1421"/>
                    <a:pt x="673" y="1416"/>
                  </a:cubicBezTo>
                  <a:cubicBezTo>
                    <a:pt x="673" y="1412"/>
                    <a:pt x="669" y="1408"/>
                    <a:pt x="665" y="1408"/>
                  </a:cubicBezTo>
                  <a:lnTo>
                    <a:pt x="664" y="1408"/>
                  </a:lnTo>
                  <a:cubicBezTo>
                    <a:pt x="596" y="1408"/>
                    <a:pt x="529" y="1400"/>
                    <a:pt x="465" y="1383"/>
                  </a:cubicBezTo>
                  <a:cubicBezTo>
                    <a:pt x="461" y="1381"/>
                    <a:pt x="456" y="1384"/>
                    <a:pt x="455" y="1388"/>
                  </a:cubicBezTo>
                  <a:cubicBezTo>
                    <a:pt x="454" y="1393"/>
                    <a:pt x="456" y="1397"/>
                    <a:pt x="461" y="1399"/>
                  </a:cubicBezTo>
                  <a:close/>
                  <a:moveTo>
                    <a:pt x="869" y="1400"/>
                  </a:moveTo>
                  <a:cubicBezTo>
                    <a:pt x="936" y="1384"/>
                    <a:pt x="1001" y="1360"/>
                    <a:pt x="1061" y="1328"/>
                  </a:cubicBezTo>
                  <a:cubicBezTo>
                    <a:pt x="1065" y="1326"/>
                    <a:pt x="1067" y="1321"/>
                    <a:pt x="1065" y="1317"/>
                  </a:cubicBezTo>
                  <a:cubicBezTo>
                    <a:pt x="1063" y="1313"/>
                    <a:pt x="1058" y="1311"/>
                    <a:pt x="1053" y="1314"/>
                  </a:cubicBezTo>
                  <a:cubicBezTo>
                    <a:pt x="994" y="1344"/>
                    <a:pt x="930" y="1368"/>
                    <a:pt x="865" y="1384"/>
                  </a:cubicBezTo>
                  <a:cubicBezTo>
                    <a:pt x="860" y="1385"/>
                    <a:pt x="857" y="1390"/>
                    <a:pt x="859" y="1394"/>
                  </a:cubicBezTo>
                  <a:cubicBezTo>
                    <a:pt x="860" y="1399"/>
                    <a:pt x="864" y="1401"/>
                    <a:pt x="869" y="1400"/>
                  </a:cubicBezTo>
                  <a:close/>
                  <a:moveTo>
                    <a:pt x="1229" y="1210"/>
                  </a:moveTo>
                  <a:cubicBezTo>
                    <a:pt x="1279" y="1162"/>
                    <a:pt x="1321" y="1107"/>
                    <a:pt x="1353" y="1046"/>
                  </a:cubicBezTo>
                  <a:cubicBezTo>
                    <a:pt x="1355" y="1042"/>
                    <a:pt x="1354" y="1037"/>
                    <a:pt x="1350" y="1035"/>
                  </a:cubicBezTo>
                  <a:cubicBezTo>
                    <a:pt x="1345" y="1032"/>
                    <a:pt x="1340" y="1034"/>
                    <a:pt x="1338" y="1038"/>
                  </a:cubicBezTo>
                  <a:cubicBezTo>
                    <a:pt x="1307" y="1098"/>
                    <a:pt x="1266" y="1151"/>
                    <a:pt x="1218" y="1198"/>
                  </a:cubicBezTo>
                  <a:cubicBezTo>
                    <a:pt x="1214" y="1201"/>
                    <a:pt x="1214" y="1206"/>
                    <a:pt x="1217" y="1209"/>
                  </a:cubicBezTo>
                  <a:cubicBezTo>
                    <a:pt x="1220" y="1213"/>
                    <a:pt x="1226" y="1213"/>
                    <a:pt x="1229" y="1210"/>
                  </a:cubicBezTo>
                  <a:close/>
                  <a:moveTo>
                    <a:pt x="1413" y="849"/>
                  </a:moveTo>
                  <a:lnTo>
                    <a:pt x="1413" y="846"/>
                  </a:lnTo>
                  <a:cubicBezTo>
                    <a:pt x="1416" y="814"/>
                    <a:pt x="1418" y="784"/>
                    <a:pt x="1418" y="755"/>
                  </a:cubicBezTo>
                  <a:cubicBezTo>
                    <a:pt x="1418" y="715"/>
                    <a:pt x="1415" y="678"/>
                    <a:pt x="1409" y="643"/>
                  </a:cubicBezTo>
                  <a:cubicBezTo>
                    <a:pt x="1408" y="639"/>
                    <a:pt x="1404" y="636"/>
                    <a:pt x="1399" y="637"/>
                  </a:cubicBezTo>
                  <a:cubicBezTo>
                    <a:pt x="1395" y="637"/>
                    <a:pt x="1392" y="642"/>
                    <a:pt x="1392" y="646"/>
                  </a:cubicBezTo>
                  <a:cubicBezTo>
                    <a:pt x="1398" y="680"/>
                    <a:pt x="1401" y="716"/>
                    <a:pt x="1401" y="755"/>
                  </a:cubicBezTo>
                  <a:cubicBezTo>
                    <a:pt x="1401" y="783"/>
                    <a:pt x="1400" y="813"/>
                    <a:pt x="1396" y="844"/>
                  </a:cubicBezTo>
                  <a:lnTo>
                    <a:pt x="1396" y="847"/>
                  </a:lnTo>
                  <a:cubicBezTo>
                    <a:pt x="1396" y="852"/>
                    <a:pt x="1399" y="856"/>
                    <a:pt x="1403" y="856"/>
                  </a:cubicBezTo>
                  <a:cubicBezTo>
                    <a:pt x="1408" y="857"/>
                    <a:pt x="1412" y="853"/>
                    <a:pt x="1413" y="849"/>
                  </a:cubicBezTo>
                  <a:close/>
                  <a:moveTo>
                    <a:pt x="1331" y="453"/>
                  </a:moveTo>
                  <a:cubicBezTo>
                    <a:pt x="1288" y="394"/>
                    <a:pt x="1232" y="352"/>
                    <a:pt x="1169" y="326"/>
                  </a:cubicBezTo>
                  <a:cubicBezTo>
                    <a:pt x="1165" y="324"/>
                    <a:pt x="1160" y="326"/>
                    <a:pt x="1158" y="330"/>
                  </a:cubicBezTo>
                  <a:cubicBezTo>
                    <a:pt x="1157" y="334"/>
                    <a:pt x="1159" y="339"/>
                    <a:pt x="1163" y="341"/>
                  </a:cubicBezTo>
                  <a:cubicBezTo>
                    <a:pt x="1223" y="367"/>
                    <a:pt x="1277" y="407"/>
                    <a:pt x="1318" y="463"/>
                  </a:cubicBezTo>
                  <a:cubicBezTo>
                    <a:pt x="1320" y="466"/>
                    <a:pt x="1326" y="467"/>
                    <a:pt x="1329" y="465"/>
                  </a:cubicBezTo>
                  <a:cubicBezTo>
                    <a:pt x="1333" y="462"/>
                    <a:pt x="1334" y="457"/>
                    <a:pt x="1331" y="453"/>
                  </a:cubicBezTo>
                  <a:close/>
                  <a:moveTo>
                    <a:pt x="966" y="291"/>
                  </a:moveTo>
                  <a:cubicBezTo>
                    <a:pt x="898" y="294"/>
                    <a:pt x="830" y="311"/>
                    <a:pt x="766" y="339"/>
                  </a:cubicBezTo>
                  <a:cubicBezTo>
                    <a:pt x="762" y="341"/>
                    <a:pt x="760" y="346"/>
                    <a:pt x="762" y="350"/>
                  </a:cubicBezTo>
                  <a:cubicBezTo>
                    <a:pt x="764" y="354"/>
                    <a:pt x="769" y="356"/>
                    <a:pt x="773" y="354"/>
                  </a:cubicBezTo>
                  <a:cubicBezTo>
                    <a:pt x="835" y="327"/>
                    <a:pt x="901" y="311"/>
                    <a:pt x="967" y="308"/>
                  </a:cubicBezTo>
                  <a:cubicBezTo>
                    <a:pt x="972" y="308"/>
                    <a:pt x="975" y="304"/>
                    <a:pt x="975" y="299"/>
                  </a:cubicBezTo>
                  <a:cubicBezTo>
                    <a:pt x="975" y="295"/>
                    <a:pt x="971" y="291"/>
                    <a:pt x="966" y="291"/>
                  </a:cubicBezTo>
                  <a:close/>
                  <a:moveTo>
                    <a:pt x="598" y="457"/>
                  </a:moveTo>
                  <a:cubicBezTo>
                    <a:pt x="576" y="480"/>
                    <a:pt x="556" y="505"/>
                    <a:pt x="538" y="533"/>
                  </a:cubicBezTo>
                  <a:cubicBezTo>
                    <a:pt x="519" y="564"/>
                    <a:pt x="501" y="596"/>
                    <a:pt x="485" y="630"/>
                  </a:cubicBezTo>
                  <a:cubicBezTo>
                    <a:pt x="484" y="634"/>
                    <a:pt x="485" y="639"/>
                    <a:pt x="490" y="641"/>
                  </a:cubicBezTo>
                  <a:cubicBezTo>
                    <a:pt x="494" y="643"/>
                    <a:pt x="499" y="641"/>
                    <a:pt x="501" y="637"/>
                  </a:cubicBezTo>
                  <a:cubicBezTo>
                    <a:pt x="516" y="604"/>
                    <a:pt x="533" y="572"/>
                    <a:pt x="552" y="542"/>
                  </a:cubicBezTo>
                  <a:cubicBezTo>
                    <a:pt x="569" y="515"/>
                    <a:pt x="588" y="491"/>
                    <a:pt x="610" y="469"/>
                  </a:cubicBezTo>
                  <a:cubicBezTo>
                    <a:pt x="613" y="465"/>
                    <a:pt x="613" y="460"/>
                    <a:pt x="609" y="457"/>
                  </a:cubicBezTo>
                  <a:cubicBezTo>
                    <a:pt x="606" y="454"/>
                    <a:pt x="601" y="454"/>
                    <a:pt x="598" y="457"/>
                  </a:cubicBezTo>
                  <a:close/>
                  <a:moveTo>
                    <a:pt x="423" y="825"/>
                  </a:moveTo>
                  <a:cubicBezTo>
                    <a:pt x="413" y="875"/>
                    <a:pt x="409" y="926"/>
                    <a:pt x="409" y="978"/>
                  </a:cubicBezTo>
                  <a:cubicBezTo>
                    <a:pt x="409" y="995"/>
                    <a:pt x="409" y="1013"/>
                    <a:pt x="410" y="1030"/>
                  </a:cubicBezTo>
                  <a:cubicBezTo>
                    <a:pt x="411" y="1035"/>
                    <a:pt x="415" y="1039"/>
                    <a:pt x="419" y="1038"/>
                  </a:cubicBezTo>
                  <a:cubicBezTo>
                    <a:pt x="424" y="1038"/>
                    <a:pt x="427" y="1034"/>
                    <a:pt x="427" y="1029"/>
                  </a:cubicBezTo>
                  <a:cubicBezTo>
                    <a:pt x="426" y="1012"/>
                    <a:pt x="425" y="995"/>
                    <a:pt x="425" y="978"/>
                  </a:cubicBezTo>
                  <a:cubicBezTo>
                    <a:pt x="425" y="927"/>
                    <a:pt x="430" y="877"/>
                    <a:pt x="439" y="828"/>
                  </a:cubicBezTo>
                  <a:cubicBezTo>
                    <a:pt x="440" y="824"/>
                    <a:pt x="437" y="820"/>
                    <a:pt x="433" y="819"/>
                  </a:cubicBezTo>
                  <a:cubicBezTo>
                    <a:pt x="428" y="818"/>
                    <a:pt x="424" y="821"/>
                    <a:pt x="423" y="825"/>
                  </a:cubicBezTo>
                  <a:close/>
                  <a:moveTo>
                    <a:pt x="450" y="1232"/>
                  </a:moveTo>
                  <a:cubicBezTo>
                    <a:pt x="471" y="1295"/>
                    <a:pt x="500" y="1357"/>
                    <a:pt x="538" y="1417"/>
                  </a:cubicBezTo>
                  <a:cubicBezTo>
                    <a:pt x="541" y="1421"/>
                    <a:pt x="546" y="1422"/>
                    <a:pt x="550" y="1420"/>
                  </a:cubicBezTo>
                  <a:cubicBezTo>
                    <a:pt x="554" y="1417"/>
                    <a:pt x="555" y="1412"/>
                    <a:pt x="552" y="1408"/>
                  </a:cubicBezTo>
                  <a:cubicBezTo>
                    <a:pt x="515" y="1349"/>
                    <a:pt x="486" y="1288"/>
                    <a:pt x="466" y="1227"/>
                  </a:cubicBezTo>
                  <a:cubicBezTo>
                    <a:pt x="464" y="1222"/>
                    <a:pt x="459" y="1220"/>
                    <a:pt x="455" y="1222"/>
                  </a:cubicBezTo>
                  <a:cubicBezTo>
                    <a:pt x="451" y="1223"/>
                    <a:pt x="448" y="1228"/>
                    <a:pt x="450" y="1232"/>
                  </a:cubicBezTo>
                  <a:close/>
                  <a:moveTo>
                    <a:pt x="667" y="1577"/>
                  </a:moveTo>
                  <a:cubicBezTo>
                    <a:pt x="713" y="1623"/>
                    <a:pt x="766" y="1667"/>
                    <a:pt x="825" y="1707"/>
                  </a:cubicBezTo>
                  <a:cubicBezTo>
                    <a:pt x="829" y="1710"/>
                    <a:pt x="834" y="1709"/>
                    <a:pt x="837" y="1705"/>
                  </a:cubicBezTo>
                  <a:cubicBezTo>
                    <a:pt x="840" y="1702"/>
                    <a:pt x="839" y="1696"/>
                    <a:pt x="835" y="1694"/>
                  </a:cubicBezTo>
                  <a:cubicBezTo>
                    <a:pt x="776" y="1653"/>
                    <a:pt x="724" y="1610"/>
                    <a:pt x="679" y="1565"/>
                  </a:cubicBezTo>
                  <a:cubicBezTo>
                    <a:pt x="676" y="1562"/>
                    <a:pt x="671" y="1562"/>
                    <a:pt x="667" y="1565"/>
                  </a:cubicBezTo>
                  <a:cubicBezTo>
                    <a:pt x="664" y="1568"/>
                    <a:pt x="664" y="1574"/>
                    <a:pt x="667" y="1577"/>
                  </a:cubicBezTo>
                  <a:close/>
                  <a:moveTo>
                    <a:pt x="1003" y="1810"/>
                  </a:moveTo>
                  <a:cubicBezTo>
                    <a:pt x="1065" y="1840"/>
                    <a:pt x="1130" y="1862"/>
                    <a:pt x="1197" y="1877"/>
                  </a:cubicBezTo>
                  <a:cubicBezTo>
                    <a:pt x="1201" y="1878"/>
                    <a:pt x="1206" y="1875"/>
                    <a:pt x="1207" y="1871"/>
                  </a:cubicBezTo>
                  <a:cubicBezTo>
                    <a:pt x="1208" y="1866"/>
                    <a:pt x="1205" y="1862"/>
                    <a:pt x="1201" y="1861"/>
                  </a:cubicBezTo>
                  <a:cubicBezTo>
                    <a:pt x="1134" y="1846"/>
                    <a:pt x="1071" y="1824"/>
                    <a:pt x="1010" y="1795"/>
                  </a:cubicBezTo>
                  <a:cubicBezTo>
                    <a:pt x="1006" y="1793"/>
                    <a:pt x="1001" y="1795"/>
                    <a:pt x="999" y="1799"/>
                  </a:cubicBezTo>
                  <a:cubicBezTo>
                    <a:pt x="997" y="1803"/>
                    <a:pt x="999" y="1808"/>
                    <a:pt x="1003" y="1810"/>
                  </a:cubicBezTo>
                  <a:close/>
                  <a:moveTo>
                    <a:pt x="1400" y="1903"/>
                  </a:moveTo>
                  <a:cubicBezTo>
                    <a:pt x="1420" y="1904"/>
                    <a:pt x="1439" y="1904"/>
                    <a:pt x="1459" y="1904"/>
                  </a:cubicBezTo>
                  <a:cubicBezTo>
                    <a:pt x="1508" y="1904"/>
                    <a:pt x="1556" y="1902"/>
                    <a:pt x="1605" y="1897"/>
                  </a:cubicBezTo>
                  <a:cubicBezTo>
                    <a:pt x="1610" y="1897"/>
                    <a:pt x="1613" y="1893"/>
                    <a:pt x="1613" y="1888"/>
                  </a:cubicBezTo>
                  <a:cubicBezTo>
                    <a:pt x="1612" y="1884"/>
                    <a:pt x="1608" y="1880"/>
                    <a:pt x="1604" y="1881"/>
                  </a:cubicBezTo>
                  <a:cubicBezTo>
                    <a:pt x="1555" y="1885"/>
                    <a:pt x="1507" y="1887"/>
                    <a:pt x="1459" y="1887"/>
                  </a:cubicBezTo>
                  <a:cubicBezTo>
                    <a:pt x="1440" y="1887"/>
                    <a:pt x="1420" y="1887"/>
                    <a:pt x="1401" y="1886"/>
                  </a:cubicBezTo>
                  <a:cubicBezTo>
                    <a:pt x="1397" y="1886"/>
                    <a:pt x="1393" y="1890"/>
                    <a:pt x="1392" y="1894"/>
                  </a:cubicBezTo>
                  <a:cubicBezTo>
                    <a:pt x="1392" y="1899"/>
                    <a:pt x="1396" y="1903"/>
                    <a:pt x="1400" y="1903"/>
                  </a:cubicBezTo>
                  <a:close/>
                  <a:moveTo>
                    <a:pt x="1808" y="1868"/>
                  </a:moveTo>
                  <a:cubicBezTo>
                    <a:pt x="1876" y="1854"/>
                    <a:pt x="1943" y="1838"/>
                    <a:pt x="2007" y="1820"/>
                  </a:cubicBezTo>
                  <a:cubicBezTo>
                    <a:pt x="2011" y="1819"/>
                    <a:pt x="2014" y="1814"/>
                    <a:pt x="2013" y="1810"/>
                  </a:cubicBezTo>
                  <a:cubicBezTo>
                    <a:pt x="2011" y="1806"/>
                    <a:pt x="2007" y="1803"/>
                    <a:pt x="2002" y="1804"/>
                  </a:cubicBezTo>
                  <a:cubicBezTo>
                    <a:pt x="1938" y="1822"/>
                    <a:pt x="1872" y="1838"/>
                    <a:pt x="1805" y="1851"/>
                  </a:cubicBezTo>
                  <a:cubicBezTo>
                    <a:pt x="1800" y="1852"/>
                    <a:pt x="1797" y="1857"/>
                    <a:pt x="1798" y="1861"/>
                  </a:cubicBezTo>
                  <a:cubicBezTo>
                    <a:pt x="1799" y="1866"/>
                    <a:pt x="1803" y="1869"/>
                    <a:pt x="1808" y="1868"/>
                  </a:cubicBezTo>
                  <a:close/>
                  <a:moveTo>
                    <a:pt x="2202" y="1758"/>
                  </a:moveTo>
                  <a:cubicBezTo>
                    <a:pt x="2271" y="1734"/>
                    <a:pt x="2335" y="1709"/>
                    <a:pt x="2393" y="1685"/>
                  </a:cubicBezTo>
                  <a:cubicBezTo>
                    <a:pt x="2397" y="1683"/>
                    <a:pt x="2399" y="1678"/>
                    <a:pt x="2397" y="1674"/>
                  </a:cubicBezTo>
                  <a:cubicBezTo>
                    <a:pt x="2395" y="1669"/>
                    <a:pt x="2390" y="1667"/>
                    <a:pt x="2386" y="1669"/>
                  </a:cubicBezTo>
                  <a:cubicBezTo>
                    <a:pt x="2329" y="1693"/>
                    <a:pt x="2265" y="1718"/>
                    <a:pt x="2196" y="1743"/>
                  </a:cubicBezTo>
                  <a:cubicBezTo>
                    <a:pt x="2192" y="1744"/>
                    <a:pt x="2190" y="1749"/>
                    <a:pt x="2191" y="1753"/>
                  </a:cubicBezTo>
                  <a:cubicBezTo>
                    <a:pt x="2193" y="1758"/>
                    <a:pt x="2198" y="1760"/>
                    <a:pt x="2202" y="1758"/>
                  </a:cubicBezTo>
                  <a:close/>
                </a:path>
              </a:pathLst>
            </a:custGeom>
            <a:solidFill>
              <a:srgbClr val="D083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39">
              <a:extLst>
                <a:ext uri="{FF2B5EF4-FFF2-40B4-BE49-F238E27FC236}">
                  <a16:creationId xmlns:a16="http://schemas.microsoft.com/office/drawing/2014/main" id="{1633D71A-FA3E-46FF-8083-2256BC639DC9}"/>
                </a:ext>
              </a:extLst>
            </p:cNvPr>
            <p:cNvSpPr>
              <a:spLocks/>
            </p:cNvSpPr>
            <p:nvPr userDrawn="1"/>
          </p:nvSpPr>
          <p:spPr bwMode="auto">
            <a:xfrm>
              <a:off x="7342188" y="4832350"/>
              <a:ext cx="88900" cy="53975"/>
            </a:xfrm>
            <a:custGeom>
              <a:avLst/>
              <a:gdLst>
                <a:gd name="T0" fmla="*/ 13 w 108"/>
                <a:gd name="T1" fmla="*/ 63 h 65"/>
                <a:gd name="T2" fmla="*/ 102 w 108"/>
                <a:gd name="T3" fmla="*/ 17 h 65"/>
                <a:gd name="T4" fmla="*/ 105 w 108"/>
                <a:gd name="T5" fmla="*/ 5 h 65"/>
                <a:gd name="T6" fmla="*/ 94 w 108"/>
                <a:gd name="T7" fmla="*/ 2 h 65"/>
                <a:gd name="T8" fmla="*/ 88 w 108"/>
                <a:gd name="T9" fmla="*/ 5 h 65"/>
                <a:gd name="T10" fmla="*/ 6 w 108"/>
                <a:gd name="T11" fmla="*/ 48 h 65"/>
                <a:gd name="T12" fmla="*/ 2 w 108"/>
                <a:gd name="T13" fmla="*/ 59 h 65"/>
                <a:gd name="T14" fmla="*/ 13 w 108"/>
                <a:gd name="T15" fmla="*/ 63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65">
                  <a:moveTo>
                    <a:pt x="13" y="63"/>
                  </a:moveTo>
                  <a:cubicBezTo>
                    <a:pt x="70" y="35"/>
                    <a:pt x="102" y="17"/>
                    <a:pt x="102" y="17"/>
                  </a:cubicBezTo>
                  <a:cubicBezTo>
                    <a:pt x="106" y="15"/>
                    <a:pt x="108" y="10"/>
                    <a:pt x="105" y="5"/>
                  </a:cubicBezTo>
                  <a:cubicBezTo>
                    <a:pt x="103" y="1"/>
                    <a:pt x="98" y="0"/>
                    <a:pt x="94" y="2"/>
                  </a:cubicBezTo>
                  <a:cubicBezTo>
                    <a:pt x="94" y="2"/>
                    <a:pt x="92" y="3"/>
                    <a:pt x="88" y="5"/>
                  </a:cubicBezTo>
                  <a:cubicBezTo>
                    <a:pt x="77" y="12"/>
                    <a:pt x="48" y="27"/>
                    <a:pt x="6" y="48"/>
                  </a:cubicBezTo>
                  <a:cubicBezTo>
                    <a:pt x="2" y="50"/>
                    <a:pt x="0" y="55"/>
                    <a:pt x="2" y="59"/>
                  </a:cubicBezTo>
                  <a:cubicBezTo>
                    <a:pt x="4" y="63"/>
                    <a:pt x="9" y="65"/>
                    <a:pt x="13" y="63"/>
                  </a:cubicBezTo>
                  <a:close/>
                </a:path>
              </a:pathLst>
            </a:custGeom>
            <a:solidFill>
              <a:srgbClr val="D083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40">
              <a:extLst>
                <a:ext uri="{FF2B5EF4-FFF2-40B4-BE49-F238E27FC236}">
                  <a16:creationId xmlns:a16="http://schemas.microsoft.com/office/drawing/2014/main" id="{F922552C-F76F-4900-A695-C1B5E1198B64}"/>
                </a:ext>
              </a:extLst>
            </p:cNvPr>
            <p:cNvSpPr>
              <a:spLocks/>
            </p:cNvSpPr>
            <p:nvPr userDrawn="1"/>
          </p:nvSpPr>
          <p:spPr bwMode="auto">
            <a:xfrm>
              <a:off x="7042150" y="3576638"/>
              <a:ext cx="1911350" cy="1208088"/>
            </a:xfrm>
            <a:custGeom>
              <a:avLst/>
              <a:gdLst>
                <a:gd name="T0" fmla="*/ 1204 w 1204"/>
                <a:gd name="T1" fmla="*/ 0 h 761"/>
                <a:gd name="T2" fmla="*/ 1165 w 1204"/>
                <a:gd name="T3" fmla="*/ 115 h 761"/>
                <a:gd name="T4" fmla="*/ 947 w 1204"/>
                <a:gd name="T5" fmla="*/ 761 h 761"/>
                <a:gd name="T6" fmla="*/ 0 w 1204"/>
                <a:gd name="T7" fmla="*/ 761 h 761"/>
                <a:gd name="T8" fmla="*/ 192 w 1204"/>
                <a:gd name="T9" fmla="*/ 115 h 761"/>
                <a:gd name="T10" fmla="*/ 227 w 1204"/>
                <a:gd name="T11" fmla="*/ 0 h 761"/>
                <a:gd name="T12" fmla="*/ 1204 w 1204"/>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204" h="761">
                  <a:moveTo>
                    <a:pt x="1204" y="0"/>
                  </a:moveTo>
                  <a:lnTo>
                    <a:pt x="1165" y="115"/>
                  </a:lnTo>
                  <a:lnTo>
                    <a:pt x="947" y="761"/>
                  </a:lnTo>
                  <a:lnTo>
                    <a:pt x="0" y="761"/>
                  </a:lnTo>
                  <a:lnTo>
                    <a:pt x="192" y="115"/>
                  </a:lnTo>
                  <a:lnTo>
                    <a:pt x="227" y="0"/>
                  </a:lnTo>
                  <a:lnTo>
                    <a:pt x="1204" y="0"/>
                  </a:lnTo>
                  <a:close/>
                </a:path>
              </a:pathLst>
            </a:custGeom>
            <a:solidFill>
              <a:srgbClr val="E3F3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41">
              <a:extLst>
                <a:ext uri="{FF2B5EF4-FFF2-40B4-BE49-F238E27FC236}">
                  <a16:creationId xmlns:a16="http://schemas.microsoft.com/office/drawing/2014/main" id="{F98954C6-61E0-4BF2-B303-760348AD82E5}"/>
                </a:ext>
              </a:extLst>
            </p:cNvPr>
            <p:cNvSpPr>
              <a:spLocks/>
            </p:cNvSpPr>
            <p:nvPr userDrawn="1"/>
          </p:nvSpPr>
          <p:spPr bwMode="auto">
            <a:xfrm>
              <a:off x="7346950" y="3576638"/>
              <a:ext cx="1606550" cy="182563"/>
            </a:xfrm>
            <a:custGeom>
              <a:avLst/>
              <a:gdLst>
                <a:gd name="T0" fmla="*/ 1012 w 1012"/>
                <a:gd name="T1" fmla="*/ 0 h 115"/>
                <a:gd name="T2" fmla="*/ 973 w 1012"/>
                <a:gd name="T3" fmla="*/ 115 h 115"/>
                <a:gd name="T4" fmla="*/ 0 w 1012"/>
                <a:gd name="T5" fmla="*/ 115 h 115"/>
                <a:gd name="T6" fmla="*/ 35 w 1012"/>
                <a:gd name="T7" fmla="*/ 0 h 115"/>
                <a:gd name="T8" fmla="*/ 1012 w 1012"/>
                <a:gd name="T9" fmla="*/ 0 h 115"/>
              </a:gdLst>
              <a:ahLst/>
              <a:cxnLst>
                <a:cxn ang="0">
                  <a:pos x="T0" y="T1"/>
                </a:cxn>
                <a:cxn ang="0">
                  <a:pos x="T2" y="T3"/>
                </a:cxn>
                <a:cxn ang="0">
                  <a:pos x="T4" y="T5"/>
                </a:cxn>
                <a:cxn ang="0">
                  <a:pos x="T6" y="T7"/>
                </a:cxn>
                <a:cxn ang="0">
                  <a:pos x="T8" y="T9"/>
                </a:cxn>
              </a:cxnLst>
              <a:rect l="0" t="0" r="r" b="b"/>
              <a:pathLst>
                <a:path w="1012" h="115">
                  <a:moveTo>
                    <a:pt x="1012" y="0"/>
                  </a:moveTo>
                  <a:lnTo>
                    <a:pt x="973" y="115"/>
                  </a:lnTo>
                  <a:lnTo>
                    <a:pt x="0" y="115"/>
                  </a:lnTo>
                  <a:lnTo>
                    <a:pt x="35" y="0"/>
                  </a:lnTo>
                  <a:lnTo>
                    <a:pt x="1012" y="0"/>
                  </a:lnTo>
                  <a:close/>
                </a:path>
              </a:pathLst>
            </a:custGeom>
            <a:solidFill>
              <a:srgbClr val="649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42">
              <a:extLst>
                <a:ext uri="{FF2B5EF4-FFF2-40B4-BE49-F238E27FC236}">
                  <a16:creationId xmlns:a16="http://schemas.microsoft.com/office/drawing/2014/main" id="{15C844BE-5824-49E7-BB0F-96E21CF32F68}"/>
                </a:ext>
              </a:extLst>
            </p:cNvPr>
            <p:cNvSpPr>
              <a:spLocks/>
            </p:cNvSpPr>
            <p:nvPr userDrawn="1"/>
          </p:nvSpPr>
          <p:spPr bwMode="auto">
            <a:xfrm>
              <a:off x="6546850" y="4303713"/>
              <a:ext cx="273050" cy="460375"/>
            </a:xfrm>
            <a:custGeom>
              <a:avLst/>
              <a:gdLst>
                <a:gd name="T0" fmla="*/ 141 w 333"/>
                <a:gd name="T1" fmla="*/ 560 h 560"/>
                <a:gd name="T2" fmla="*/ 88 w 333"/>
                <a:gd name="T3" fmla="*/ 560 h 560"/>
                <a:gd name="T4" fmla="*/ 0 w 333"/>
                <a:gd name="T5" fmla="*/ 472 h 560"/>
                <a:gd name="T6" fmla="*/ 141 w 333"/>
                <a:gd name="T7" fmla="*/ 88 h 560"/>
                <a:gd name="T8" fmla="*/ 229 w 333"/>
                <a:gd name="T9" fmla="*/ 0 h 560"/>
                <a:gd name="T10" fmla="*/ 333 w 333"/>
                <a:gd name="T11" fmla="*/ 0 h 560"/>
                <a:gd name="T12" fmla="*/ 141 w 333"/>
                <a:gd name="T13" fmla="*/ 560 h 560"/>
              </a:gdLst>
              <a:ahLst/>
              <a:cxnLst>
                <a:cxn ang="0">
                  <a:pos x="T0" y="T1"/>
                </a:cxn>
                <a:cxn ang="0">
                  <a:pos x="T2" y="T3"/>
                </a:cxn>
                <a:cxn ang="0">
                  <a:pos x="T4" y="T5"/>
                </a:cxn>
                <a:cxn ang="0">
                  <a:pos x="T6" y="T7"/>
                </a:cxn>
                <a:cxn ang="0">
                  <a:pos x="T8" y="T9"/>
                </a:cxn>
                <a:cxn ang="0">
                  <a:pos x="T10" y="T11"/>
                </a:cxn>
                <a:cxn ang="0">
                  <a:pos x="T12" y="T13"/>
                </a:cxn>
              </a:cxnLst>
              <a:rect l="0" t="0" r="r" b="b"/>
              <a:pathLst>
                <a:path w="333" h="560">
                  <a:moveTo>
                    <a:pt x="141" y="560"/>
                  </a:moveTo>
                  <a:lnTo>
                    <a:pt x="88" y="560"/>
                  </a:lnTo>
                  <a:cubicBezTo>
                    <a:pt x="40" y="560"/>
                    <a:pt x="0" y="520"/>
                    <a:pt x="0" y="472"/>
                  </a:cubicBezTo>
                  <a:lnTo>
                    <a:pt x="141" y="88"/>
                  </a:lnTo>
                  <a:cubicBezTo>
                    <a:pt x="159" y="35"/>
                    <a:pt x="180" y="0"/>
                    <a:pt x="229" y="0"/>
                  </a:cubicBezTo>
                  <a:lnTo>
                    <a:pt x="333" y="0"/>
                  </a:lnTo>
                  <a:lnTo>
                    <a:pt x="141" y="560"/>
                  </a:lnTo>
                </a:path>
              </a:pathLst>
            </a:custGeom>
            <a:solidFill>
              <a:srgbClr val="BAD0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43">
              <a:extLst>
                <a:ext uri="{FF2B5EF4-FFF2-40B4-BE49-F238E27FC236}">
                  <a16:creationId xmlns:a16="http://schemas.microsoft.com/office/drawing/2014/main" id="{C42326C9-79B5-4C34-A1A1-6DE444244A07}"/>
                </a:ext>
              </a:extLst>
            </p:cNvPr>
            <p:cNvSpPr>
              <a:spLocks/>
            </p:cNvSpPr>
            <p:nvPr userDrawn="1"/>
          </p:nvSpPr>
          <p:spPr bwMode="auto">
            <a:xfrm>
              <a:off x="6662738" y="4303713"/>
              <a:ext cx="212725" cy="460375"/>
            </a:xfrm>
            <a:custGeom>
              <a:avLst/>
              <a:gdLst>
                <a:gd name="T0" fmla="*/ 35 w 134"/>
                <a:gd name="T1" fmla="*/ 290 h 290"/>
                <a:gd name="T2" fmla="*/ 0 w 134"/>
                <a:gd name="T3" fmla="*/ 290 h 290"/>
                <a:gd name="T4" fmla="*/ 99 w 134"/>
                <a:gd name="T5" fmla="*/ 0 h 290"/>
                <a:gd name="T6" fmla="*/ 134 w 134"/>
                <a:gd name="T7" fmla="*/ 0 h 290"/>
                <a:gd name="T8" fmla="*/ 35 w 134"/>
                <a:gd name="T9" fmla="*/ 290 h 290"/>
              </a:gdLst>
              <a:ahLst/>
              <a:cxnLst>
                <a:cxn ang="0">
                  <a:pos x="T0" y="T1"/>
                </a:cxn>
                <a:cxn ang="0">
                  <a:pos x="T2" y="T3"/>
                </a:cxn>
                <a:cxn ang="0">
                  <a:pos x="T4" y="T5"/>
                </a:cxn>
                <a:cxn ang="0">
                  <a:pos x="T6" y="T7"/>
                </a:cxn>
                <a:cxn ang="0">
                  <a:pos x="T8" y="T9"/>
                </a:cxn>
              </a:cxnLst>
              <a:rect l="0" t="0" r="r" b="b"/>
              <a:pathLst>
                <a:path w="134" h="290">
                  <a:moveTo>
                    <a:pt x="35" y="290"/>
                  </a:moveTo>
                  <a:lnTo>
                    <a:pt x="0" y="290"/>
                  </a:lnTo>
                  <a:lnTo>
                    <a:pt x="99" y="0"/>
                  </a:lnTo>
                  <a:lnTo>
                    <a:pt x="134" y="0"/>
                  </a:lnTo>
                  <a:lnTo>
                    <a:pt x="35" y="290"/>
                  </a:lnTo>
                  <a:close/>
                </a:path>
              </a:pathLst>
            </a:custGeom>
            <a:solidFill>
              <a:srgbClr val="7EA1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44">
              <a:extLst>
                <a:ext uri="{FF2B5EF4-FFF2-40B4-BE49-F238E27FC236}">
                  <a16:creationId xmlns:a16="http://schemas.microsoft.com/office/drawing/2014/main" id="{880EEA3E-84DF-4C83-9CDC-597FE608D959}"/>
                </a:ext>
              </a:extLst>
            </p:cNvPr>
            <p:cNvSpPr>
              <a:spLocks/>
            </p:cNvSpPr>
            <p:nvPr userDrawn="1"/>
          </p:nvSpPr>
          <p:spPr bwMode="auto">
            <a:xfrm>
              <a:off x="6718300" y="4303713"/>
              <a:ext cx="465138" cy="460375"/>
            </a:xfrm>
            <a:custGeom>
              <a:avLst/>
              <a:gdLst>
                <a:gd name="T0" fmla="*/ 402 w 569"/>
                <a:gd name="T1" fmla="*/ 560 h 560"/>
                <a:gd name="T2" fmla="*/ 0 w 569"/>
                <a:gd name="T3" fmla="*/ 560 h 560"/>
                <a:gd name="T4" fmla="*/ 192 w 569"/>
                <a:gd name="T5" fmla="*/ 0 h 560"/>
                <a:gd name="T6" fmla="*/ 566 w 569"/>
                <a:gd name="T7" fmla="*/ 0 h 560"/>
                <a:gd name="T8" fmla="*/ 569 w 569"/>
                <a:gd name="T9" fmla="*/ 0 h 560"/>
                <a:gd name="T10" fmla="*/ 402 w 569"/>
                <a:gd name="T11" fmla="*/ 560 h 560"/>
              </a:gdLst>
              <a:ahLst/>
              <a:cxnLst>
                <a:cxn ang="0">
                  <a:pos x="T0" y="T1"/>
                </a:cxn>
                <a:cxn ang="0">
                  <a:pos x="T2" y="T3"/>
                </a:cxn>
                <a:cxn ang="0">
                  <a:pos x="T4" y="T5"/>
                </a:cxn>
                <a:cxn ang="0">
                  <a:pos x="T6" y="T7"/>
                </a:cxn>
                <a:cxn ang="0">
                  <a:pos x="T8" y="T9"/>
                </a:cxn>
                <a:cxn ang="0">
                  <a:pos x="T10" y="T11"/>
                </a:cxn>
              </a:cxnLst>
              <a:rect l="0" t="0" r="r" b="b"/>
              <a:pathLst>
                <a:path w="569" h="560">
                  <a:moveTo>
                    <a:pt x="402" y="560"/>
                  </a:moveTo>
                  <a:lnTo>
                    <a:pt x="0" y="560"/>
                  </a:lnTo>
                  <a:lnTo>
                    <a:pt x="192" y="0"/>
                  </a:lnTo>
                  <a:lnTo>
                    <a:pt x="566" y="0"/>
                  </a:lnTo>
                  <a:cubicBezTo>
                    <a:pt x="567" y="0"/>
                    <a:pt x="568" y="0"/>
                    <a:pt x="569" y="0"/>
                  </a:cubicBezTo>
                  <a:lnTo>
                    <a:pt x="402" y="560"/>
                  </a:lnTo>
                  <a:close/>
                </a:path>
              </a:pathLst>
            </a:custGeom>
            <a:solidFill>
              <a:srgbClr val="84B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45">
              <a:extLst>
                <a:ext uri="{FF2B5EF4-FFF2-40B4-BE49-F238E27FC236}">
                  <a16:creationId xmlns:a16="http://schemas.microsoft.com/office/drawing/2014/main" id="{313F95C8-DACB-4081-B2F1-E48564541880}"/>
                </a:ext>
              </a:extLst>
            </p:cNvPr>
            <p:cNvSpPr>
              <a:spLocks/>
            </p:cNvSpPr>
            <p:nvPr userDrawn="1"/>
          </p:nvSpPr>
          <p:spPr bwMode="auto">
            <a:xfrm>
              <a:off x="7046913" y="4303713"/>
              <a:ext cx="219075" cy="460375"/>
            </a:xfrm>
            <a:custGeom>
              <a:avLst/>
              <a:gdLst>
                <a:gd name="T0" fmla="*/ 6 w 268"/>
                <a:gd name="T1" fmla="*/ 560 h 560"/>
                <a:gd name="T2" fmla="*/ 0 w 268"/>
                <a:gd name="T3" fmla="*/ 560 h 560"/>
                <a:gd name="T4" fmla="*/ 167 w 268"/>
                <a:gd name="T5" fmla="*/ 0 h 560"/>
                <a:gd name="T6" fmla="*/ 252 w 268"/>
                <a:gd name="T7" fmla="*/ 88 h 560"/>
                <a:gd name="T8" fmla="*/ 112 w 268"/>
                <a:gd name="T9" fmla="*/ 472 h 560"/>
                <a:gd name="T10" fmla="*/ 6 w 268"/>
                <a:gd name="T11" fmla="*/ 560 h 560"/>
              </a:gdLst>
              <a:ahLst/>
              <a:cxnLst>
                <a:cxn ang="0">
                  <a:pos x="T0" y="T1"/>
                </a:cxn>
                <a:cxn ang="0">
                  <a:pos x="T2" y="T3"/>
                </a:cxn>
                <a:cxn ang="0">
                  <a:pos x="T4" y="T5"/>
                </a:cxn>
                <a:cxn ang="0">
                  <a:pos x="T6" y="T7"/>
                </a:cxn>
                <a:cxn ang="0">
                  <a:pos x="T8" y="T9"/>
                </a:cxn>
                <a:cxn ang="0">
                  <a:pos x="T10" y="T11"/>
                </a:cxn>
              </a:cxnLst>
              <a:rect l="0" t="0" r="r" b="b"/>
              <a:pathLst>
                <a:path w="268" h="560">
                  <a:moveTo>
                    <a:pt x="6" y="560"/>
                  </a:moveTo>
                  <a:lnTo>
                    <a:pt x="0" y="560"/>
                  </a:lnTo>
                  <a:lnTo>
                    <a:pt x="167" y="0"/>
                  </a:lnTo>
                  <a:cubicBezTo>
                    <a:pt x="215" y="1"/>
                    <a:pt x="268" y="35"/>
                    <a:pt x="252" y="88"/>
                  </a:cubicBezTo>
                  <a:lnTo>
                    <a:pt x="112" y="472"/>
                  </a:lnTo>
                  <a:cubicBezTo>
                    <a:pt x="98" y="507"/>
                    <a:pt x="55" y="560"/>
                    <a:pt x="6" y="560"/>
                  </a:cubicBezTo>
                </a:path>
              </a:pathLst>
            </a:custGeom>
            <a:solidFill>
              <a:srgbClr val="ABC9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46">
              <a:extLst>
                <a:ext uri="{FF2B5EF4-FFF2-40B4-BE49-F238E27FC236}">
                  <a16:creationId xmlns:a16="http://schemas.microsoft.com/office/drawing/2014/main" id="{248327B6-1D1C-4001-BC14-61061D84D07C}"/>
                </a:ext>
              </a:extLst>
            </p:cNvPr>
            <p:cNvSpPr>
              <a:spLocks/>
            </p:cNvSpPr>
            <p:nvPr userDrawn="1"/>
          </p:nvSpPr>
          <p:spPr bwMode="auto">
            <a:xfrm>
              <a:off x="6450013" y="4195763"/>
              <a:ext cx="720725" cy="457200"/>
            </a:xfrm>
            <a:custGeom>
              <a:avLst/>
              <a:gdLst>
                <a:gd name="T0" fmla="*/ 722 w 879"/>
                <a:gd name="T1" fmla="*/ 472 h 559"/>
                <a:gd name="T2" fmla="*/ 617 w 879"/>
                <a:gd name="T3" fmla="*/ 559 h 559"/>
                <a:gd name="T4" fmla="*/ 88 w 879"/>
                <a:gd name="T5" fmla="*/ 559 h 559"/>
                <a:gd name="T6" fmla="*/ 0 w 879"/>
                <a:gd name="T7" fmla="*/ 472 h 559"/>
                <a:gd name="T8" fmla="*/ 141 w 879"/>
                <a:gd name="T9" fmla="*/ 88 h 559"/>
                <a:gd name="T10" fmla="*/ 229 w 879"/>
                <a:gd name="T11" fmla="*/ 0 h 559"/>
                <a:gd name="T12" fmla="*/ 775 w 879"/>
                <a:gd name="T13" fmla="*/ 0 h 559"/>
                <a:gd name="T14" fmla="*/ 863 w 879"/>
                <a:gd name="T15" fmla="*/ 88 h 559"/>
                <a:gd name="T16" fmla="*/ 722 w 879"/>
                <a:gd name="T17" fmla="*/ 472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9" h="559">
                  <a:moveTo>
                    <a:pt x="722" y="472"/>
                  </a:moveTo>
                  <a:cubicBezTo>
                    <a:pt x="708" y="507"/>
                    <a:pt x="666" y="559"/>
                    <a:pt x="617" y="559"/>
                  </a:cubicBezTo>
                  <a:lnTo>
                    <a:pt x="88" y="559"/>
                  </a:lnTo>
                  <a:cubicBezTo>
                    <a:pt x="39" y="559"/>
                    <a:pt x="0" y="520"/>
                    <a:pt x="0" y="472"/>
                  </a:cubicBezTo>
                  <a:lnTo>
                    <a:pt x="141" y="88"/>
                  </a:lnTo>
                  <a:cubicBezTo>
                    <a:pt x="159" y="34"/>
                    <a:pt x="180" y="0"/>
                    <a:pt x="229" y="0"/>
                  </a:cubicBezTo>
                  <a:lnTo>
                    <a:pt x="775" y="0"/>
                  </a:lnTo>
                  <a:cubicBezTo>
                    <a:pt x="824" y="0"/>
                    <a:pt x="879" y="34"/>
                    <a:pt x="863" y="88"/>
                  </a:cubicBezTo>
                  <a:lnTo>
                    <a:pt x="722" y="472"/>
                  </a:lnTo>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47">
              <a:extLst>
                <a:ext uri="{FF2B5EF4-FFF2-40B4-BE49-F238E27FC236}">
                  <a16:creationId xmlns:a16="http://schemas.microsoft.com/office/drawing/2014/main" id="{057AD24E-3933-419B-BD09-549CCEAF7743}"/>
                </a:ext>
              </a:extLst>
            </p:cNvPr>
            <p:cNvSpPr>
              <a:spLocks/>
            </p:cNvSpPr>
            <p:nvPr userDrawn="1"/>
          </p:nvSpPr>
          <p:spPr bwMode="auto">
            <a:xfrm>
              <a:off x="9539288" y="3170238"/>
              <a:ext cx="312738" cy="473075"/>
            </a:xfrm>
            <a:custGeom>
              <a:avLst/>
              <a:gdLst>
                <a:gd name="T0" fmla="*/ 101 w 381"/>
                <a:gd name="T1" fmla="*/ 578 h 578"/>
                <a:gd name="T2" fmla="*/ 0 w 381"/>
                <a:gd name="T3" fmla="*/ 578 h 578"/>
                <a:gd name="T4" fmla="*/ 45 w 381"/>
                <a:gd name="T5" fmla="*/ 446 h 578"/>
                <a:gd name="T6" fmla="*/ 130 w 381"/>
                <a:gd name="T7" fmla="*/ 312 h 578"/>
                <a:gd name="T8" fmla="*/ 244 w 381"/>
                <a:gd name="T9" fmla="*/ 0 h 578"/>
                <a:gd name="T10" fmla="*/ 381 w 381"/>
                <a:gd name="T11" fmla="*/ 69 h 578"/>
                <a:gd name="T12" fmla="*/ 248 w 381"/>
                <a:gd name="T13" fmla="*/ 431 h 578"/>
                <a:gd name="T14" fmla="*/ 101 w 381"/>
                <a:gd name="T15" fmla="*/ 578 h 5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 h="578">
                  <a:moveTo>
                    <a:pt x="101" y="578"/>
                  </a:moveTo>
                  <a:lnTo>
                    <a:pt x="0" y="578"/>
                  </a:lnTo>
                  <a:lnTo>
                    <a:pt x="45" y="446"/>
                  </a:lnTo>
                  <a:cubicBezTo>
                    <a:pt x="95" y="423"/>
                    <a:pt x="130" y="372"/>
                    <a:pt x="130" y="312"/>
                  </a:cubicBezTo>
                  <a:lnTo>
                    <a:pt x="244" y="0"/>
                  </a:lnTo>
                  <a:cubicBezTo>
                    <a:pt x="292" y="23"/>
                    <a:pt x="337" y="46"/>
                    <a:pt x="381" y="69"/>
                  </a:cubicBezTo>
                  <a:lnTo>
                    <a:pt x="248" y="431"/>
                  </a:lnTo>
                  <a:cubicBezTo>
                    <a:pt x="248" y="512"/>
                    <a:pt x="182" y="578"/>
                    <a:pt x="101" y="578"/>
                  </a:cubicBezTo>
                </a:path>
              </a:pathLst>
            </a:custGeom>
            <a:solidFill>
              <a:srgbClr val="BAD0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48">
              <a:extLst>
                <a:ext uri="{FF2B5EF4-FFF2-40B4-BE49-F238E27FC236}">
                  <a16:creationId xmlns:a16="http://schemas.microsoft.com/office/drawing/2014/main" id="{DF02B80F-8564-4E70-81B7-7F48A414FB48}"/>
                </a:ext>
              </a:extLst>
            </p:cNvPr>
            <p:cNvSpPr>
              <a:spLocks/>
            </p:cNvSpPr>
            <p:nvPr userDrawn="1"/>
          </p:nvSpPr>
          <p:spPr bwMode="auto">
            <a:xfrm>
              <a:off x="9739313" y="2874963"/>
              <a:ext cx="217488" cy="350838"/>
            </a:xfrm>
            <a:custGeom>
              <a:avLst/>
              <a:gdLst>
                <a:gd name="T0" fmla="*/ 137 w 265"/>
                <a:gd name="T1" fmla="*/ 429 h 429"/>
                <a:gd name="T2" fmla="*/ 0 w 265"/>
                <a:gd name="T3" fmla="*/ 360 h 429"/>
                <a:gd name="T4" fmla="*/ 123 w 265"/>
                <a:gd name="T5" fmla="*/ 26 h 429"/>
                <a:gd name="T6" fmla="*/ 128 w 265"/>
                <a:gd name="T7" fmla="*/ 0 h 429"/>
                <a:gd name="T8" fmla="*/ 241 w 265"/>
                <a:gd name="T9" fmla="*/ 145 h 429"/>
                <a:gd name="T10" fmla="*/ 137 w 265"/>
                <a:gd name="T11" fmla="*/ 429 h 429"/>
              </a:gdLst>
              <a:ahLst/>
              <a:cxnLst>
                <a:cxn ang="0">
                  <a:pos x="T0" y="T1"/>
                </a:cxn>
                <a:cxn ang="0">
                  <a:pos x="T2" y="T3"/>
                </a:cxn>
                <a:cxn ang="0">
                  <a:pos x="T4" y="T5"/>
                </a:cxn>
                <a:cxn ang="0">
                  <a:pos x="T6" y="T7"/>
                </a:cxn>
                <a:cxn ang="0">
                  <a:pos x="T8" y="T9"/>
                </a:cxn>
                <a:cxn ang="0">
                  <a:pos x="T10" y="T11"/>
                </a:cxn>
              </a:cxnLst>
              <a:rect l="0" t="0" r="r" b="b"/>
              <a:pathLst>
                <a:path w="265" h="429">
                  <a:moveTo>
                    <a:pt x="137" y="429"/>
                  </a:moveTo>
                  <a:cubicBezTo>
                    <a:pt x="93" y="406"/>
                    <a:pt x="48" y="383"/>
                    <a:pt x="0" y="360"/>
                  </a:cubicBezTo>
                  <a:lnTo>
                    <a:pt x="123" y="26"/>
                  </a:lnTo>
                  <a:cubicBezTo>
                    <a:pt x="126" y="17"/>
                    <a:pt x="127" y="8"/>
                    <a:pt x="128" y="0"/>
                  </a:cubicBezTo>
                  <a:cubicBezTo>
                    <a:pt x="199" y="13"/>
                    <a:pt x="265" y="66"/>
                    <a:pt x="241" y="145"/>
                  </a:cubicBezTo>
                  <a:lnTo>
                    <a:pt x="137" y="429"/>
                  </a:lnTo>
                  <a:close/>
                </a:path>
              </a:pathLst>
            </a:custGeom>
            <a:solidFill>
              <a:srgbClr val="3B7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49">
              <a:extLst>
                <a:ext uri="{FF2B5EF4-FFF2-40B4-BE49-F238E27FC236}">
                  <a16:creationId xmlns:a16="http://schemas.microsoft.com/office/drawing/2014/main" id="{3B887501-BA87-4F24-9835-7FAC68662D3F}"/>
                </a:ext>
              </a:extLst>
            </p:cNvPr>
            <p:cNvSpPr>
              <a:spLocks/>
            </p:cNvSpPr>
            <p:nvPr userDrawn="1"/>
          </p:nvSpPr>
          <p:spPr bwMode="auto">
            <a:xfrm>
              <a:off x="9415463" y="3535363"/>
              <a:ext cx="161925" cy="107950"/>
            </a:xfrm>
            <a:custGeom>
              <a:avLst/>
              <a:gdLst>
                <a:gd name="T0" fmla="*/ 152 w 197"/>
                <a:gd name="T1" fmla="*/ 132 h 132"/>
                <a:gd name="T2" fmla="*/ 0 w 197"/>
                <a:gd name="T3" fmla="*/ 132 h 132"/>
                <a:gd name="T4" fmla="*/ 40 w 197"/>
                <a:gd name="T5" fmla="*/ 14 h 132"/>
                <a:gd name="T6" fmla="*/ 134 w 197"/>
                <a:gd name="T7" fmla="*/ 14 h 132"/>
                <a:gd name="T8" fmla="*/ 197 w 197"/>
                <a:gd name="T9" fmla="*/ 0 h 132"/>
                <a:gd name="T10" fmla="*/ 152 w 197"/>
                <a:gd name="T11" fmla="*/ 132 h 132"/>
              </a:gdLst>
              <a:ahLst/>
              <a:cxnLst>
                <a:cxn ang="0">
                  <a:pos x="T0" y="T1"/>
                </a:cxn>
                <a:cxn ang="0">
                  <a:pos x="T2" y="T3"/>
                </a:cxn>
                <a:cxn ang="0">
                  <a:pos x="T4" y="T5"/>
                </a:cxn>
                <a:cxn ang="0">
                  <a:pos x="T6" y="T7"/>
                </a:cxn>
                <a:cxn ang="0">
                  <a:pos x="T8" y="T9"/>
                </a:cxn>
                <a:cxn ang="0">
                  <a:pos x="T10" y="T11"/>
                </a:cxn>
              </a:cxnLst>
              <a:rect l="0" t="0" r="r" b="b"/>
              <a:pathLst>
                <a:path w="197" h="132">
                  <a:moveTo>
                    <a:pt x="152" y="132"/>
                  </a:moveTo>
                  <a:lnTo>
                    <a:pt x="0" y="132"/>
                  </a:lnTo>
                  <a:lnTo>
                    <a:pt x="40" y="14"/>
                  </a:lnTo>
                  <a:lnTo>
                    <a:pt x="134" y="14"/>
                  </a:lnTo>
                  <a:cubicBezTo>
                    <a:pt x="157" y="14"/>
                    <a:pt x="178" y="9"/>
                    <a:pt x="197" y="0"/>
                  </a:cubicBezTo>
                  <a:lnTo>
                    <a:pt x="152" y="132"/>
                  </a:lnTo>
                </a:path>
              </a:pathLst>
            </a:custGeom>
            <a:solidFill>
              <a:srgbClr val="6184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50">
              <a:extLst>
                <a:ext uri="{FF2B5EF4-FFF2-40B4-BE49-F238E27FC236}">
                  <a16:creationId xmlns:a16="http://schemas.microsoft.com/office/drawing/2014/main" id="{C07986FB-B94B-403C-AC81-765D9F0DEBC4}"/>
                </a:ext>
              </a:extLst>
            </p:cNvPr>
            <p:cNvSpPr>
              <a:spLocks/>
            </p:cNvSpPr>
            <p:nvPr userDrawn="1"/>
          </p:nvSpPr>
          <p:spPr bwMode="auto">
            <a:xfrm>
              <a:off x="9359900" y="3546475"/>
              <a:ext cx="88900" cy="96838"/>
            </a:xfrm>
            <a:custGeom>
              <a:avLst/>
              <a:gdLst>
                <a:gd name="T0" fmla="*/ 35 w 56"/>
                <a:gd name="T1" fmla="*/ 61 h 61"/>
                <a:gd name="T2" fmla="*/ 0 w 56"/>
                <a:gd name="T3" fmla="*/ 61 h 61"/>
                <a:gd name="T4" fmla="*/ 21 w 56"/>
                <a:gd name="T5" fmla="*/ 0 h 61"/>
                <a:gd name="T6" fmla="*/ 56 w 56"/>
                <a:gd name="T7" fmla="*/ 0 h 61"/>
                <a:gd name="T8" fmla="*/ 35 w 56"/>
                <a:gd name="T9" fmla="*/ 61 h 61"/>
              </a:gdLst>
              <a:ahLst/>
              <a:cxnLst>
                <a:cxn ang="0">
                  <a:pos x="T0" y="T1"/>
                </a:cxn>
                <a:cxn ang="0">
                  <a:pos x="T2" y="T3"/>
                </a:cxn>
                <a:cxn ang="0">
                  <a:pos x="T4" y="T5"/>
                </a:cxn>
                <a:cxn ang="0">
                  <a:pos x="T6" y="T7"/>
                </a:cxn>
                <a:cxn ang="0">
                  <a:pos x="T8" y="T9"/>
                </a:cxn>
              </a:cxnLst>
              <a:rect l="0" t="0" r="r" b="b"/>
              <a:pathLst>
                <a:path w="56" h="61">
                  <a:moveTo>
                    <a:pt x="35" y="61"/>
                  </a:moveTo>
                  <a:lnTo>
                    <a:pt x="0" y="61"/>
                  </a:lnTo>
                  <a:lnTo>
                    <a:pt x="21" y="0"/>
                  </a:lnTo>
                  <a:lnTo>
                    <a:pt x="56" y="0"/>
                  </a:lnTo>
                  <a:lnTo>
                    <a:pt x="35" y="61"/>
                  </a:lnTo>
                  <a:close/>
                </a:path>
              </a:pathLst>
            </a:custGeom>
            <a:solidFill>
              <a:srgbClr val="7EA1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51">
              <a:extLst>
                <a:ext uri="{FF2B5EF4-FFF2-40B4-BE49-F238E27FC236}">
                  <a16:creationId xmlns:a16="http://schemas.microsoft.com/office/drawing/2014/main" id="{F8CD1AA1-C161-42AE-A7E0-A75552B740EF}"/>
                </a:ext>
              </a:extLst>
            </p:cNvPr>
            <p:cNvSpPr>
              <a:spLocks/>
            </p:cNvSpPr>
            <p:nvPr userDrawn="1"/>
          </p:nvSpPr>
          <p:spPr bwMode="auto">
            <a:xfrm>
              <a:off x="8428038" y="3544888"/>
              <a:ext cx="965200" cy="98425"/>
            </a:xfrm>
            <a:custGeom>
              <a:avLst/>
              <a:gdLst>
                <a:gd name="T0" fmla="*/ 1138 w 1178"/>
                <a:gd name="T1" fmla="*/ 120 h 120"/>
                <a:gd name="T2" fmla="*/ 613 w 1178"/>
                <a:gd name="T3" fmla="*/ 120 h 120"/>
                <a:gd name="T4" fmla="*/ 642 w 1178"/>
                <a:gd name="T5" fmla="*/ 37 h 120"/>
                <a:gd name="T6" fmla="*/ 12 w 1178"/>
                <a:gd name="T7" fmla="*/ 37 h 120"/>
                <a:gd name="T8" fmla="*/ 0 w 1178"/>
                <a:gd name="T9" fmla="*/ 0 h 120"/>
                <a:gd name="T10" fmla="*/ 27 w 1178"/>
                <a:gd name="T11" fmla="*/ 2 h 120"/>
                <a:gd name="T12" fmla="*/ 1178 w 1178"/>
                <a:gd name="T13" fmla="*/ 2 h 120"/>
                <a:gd name="T14" fmla="*/ 1138 w 1178"/>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8" h="120">
                  <a:moveTo>
                    <a:pt x="1138" y="120"/>
                  </a:moveTo>
                  <a:lnTo>
                    <a:pt x="613" y="120"/>
                  </a:lnTo>
                  <a:lnTo>
                    <a:pt x="642" y="37"/>
                  </a:lnTo>
                  <a:lnTo>
                    <a:pt x="12" y="37"/>
                  </a:lnTo>
                  <a:cubicBezTo>
                    <a:pt x="7" y="25"/>
                    <a:pt x="3" y="13"/>
                    <a:pt x="0" y="0"/>
                  </a:cubicBezTo>
                  <a:cubicBezTo>
                    <a:pt x="9" y="1"/>
                    <a:pt x="18" y="2"/>
                    <a:pt x="27" y="2"/>
                  </a:cubicBezTo>
                  <a:lnTo>
                    <a:pt x="1178" y="2"/>
                  </a:lnTo>
                  <a:lnTo>
                    <a:pt x="1138" y="120"/>
                  </a:lnTo>
                </a:path>
              </a:pathLst>
            </a:custGeom>
            <a:solidFill>
              <a:srgbClr val="84B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52">
              <a:extLst>
                <a:ext uri="{FF2B5EF4-FFF2-40B4-BE49-F238E27FC236}">
                  <a16:creationId xmlns:a16="http://schemas.microsoft.com/office/drawing/2014/main" id="{C10A95E3-0B2D-49B7-B0DC-ABE998037BE4}"/>
                </a:ext>
              </a:extLst>
            </p:cNvPr>
            <p:cNvSpPr>
              <a:spLocks/>
            </p:cNvSpPr>
            <p:nvPr userDrawn="1"/>
          </p:nvSpPr>
          <p:spPr bwMode="auto">
            <a:xfrm>
              <a:off x="8437563" y="3576638"/>
              <a:ext cx="515938" cy="66675"/>
            </a:xfrm>
            <a:custGeom>
              <a:avLst/>
              <a:gdLst>
                <a:gd name="T0" fmla="*/ 601 w 630"/>
                <a:gd name="T1" fmla="*/ 83 h 83"/>
                <a:gd name="T2" fmla="*/ 134 w 630"/>
                <a:gd name="T3" fmla="*/ 83 h 83"/>
                <a:gd name="T4" fmla="*/ 0 w 630"/>
                <a:gd name="T5" fmla="*/ 0 h 83"/>
                <a:gd name="T6" fmla="*/ 630 w 630"/>
                <a:gd name="T7" fmla="*/ 0 h 83"/>
                <a:gd name="T8" fmla="*/ 601 w 630"/>
                <a:gd name="T9" fmla="*/ 83 h 83"/>
              </a:gdLst>
              <a:ahLst/>
              <a:cxnLst>
                <a:cxn ang="0">
                  <a:pos x="T0" y="T1"/>
                </a:cxn>
                <a:cxn ang="0">
                  <a:pos x="T2" y="T3"/>
                </a:cxn>
                <a:cxn ang="0">
                  <a:pos x="T4" y="T5"/>
                </a:cxn>
                <a:cxn ang="0">
                  <a:pos x="T6" y="T7"/>
                </a:cxn>
                <a:cxn ang="0">
                  <a:pos x="T8" y="T9"/>
                </a:cxn>
              </a:cxnLst>
              <a:rect l="0" t="0" r="r" b="b"/>
              <a:pathLst>
                <a:path w="630" h="83">
                  <a:moveTo>
                    <a:pt x="601" y="83"/>
                  </a:moveTo>
                  <a:lnTo>
                    <a:pt x="134" y="83"/>
                  </a:lnTo>
                  <a:cubicBezTo>
                    <a:pt x="75" y="83"/>
                    <a:pt x="24" y="49"/>
                    <a:pt x="0" y="0"/>
                  </a:cubicBezTo>
                  <a:lnTo>
                    <a:pt x="630" y="0"/>
                  </a:lnTo>
                  <a:lnTo>
                    <a:pt x="601" y="83"/>
                  </a:lnTo>
                  <a:close/>
                </a:path>
              </a:pathLst>
            </a:custGeom>
            <a:solidFill>
              <a:srgbClr val="5A8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53">
              <a:extLst>
                <a:ext uri="{FF2B5EF4-FFF2-40B4-BE49-F238E27FC236}">
                  <a16:creationId xmlns:a16="http://schemas.microsoft.com/office/drawing/2014/main" id="{C59B22A5-6314-4E60-81A2-4C3714492EAB}"/>
                </a:ext>
              </a:extLst>
            </p:cNvPr>
            <p:cNvSpPr>
              <a:spLocks/>
            </p:cNvSpPr>
            <p:nvPr userDrawn="1"/>
          </p:nvSpPr>
          <p:spPr bwMode="auto">
            <a:xfrm>
              <a:off x="8329613" y="2774950"/>
              <a:ext cx="1533525" cy="771525"/>
            </a:xfrm>
            <a:custGeom>
              <a:avLst/>
              <a:gdLst>
                <a:gd name="T0" fmla="*/ 1844 w 1871"/>
                <a:gd name="T1" fmla="*/ 148 h 942"/>
                <a:gd name="T2" fmla="*/ 1607 w 1871"/>
                <a:gd name="T3" fmla="*/ 794 h 942"/>
                <a:gd name="T4" fmla="*/ 1459 w 1871"/>
                <a:gd name="T5" fmla="*/ 942 h 942"/>
                <a:gd name="T6" fmla="*/ 147 w 1871"/>
                <a:gd name="T7" fmla="*/ 942 h 942"/>
                <a:gd name="T8" fmla="*/ 0 w 1871"/>
                <a:gd name="T9" fmla="*/ 794 h 942"/>
                <a:gd name="T10" fmla="*/ 236 w 1871"/>
                <a:gd name="T11" fmla="*/ 148 h 942"/>
                <a:gd name="T12" fmla="*/ 384 w 1871"/>
                <a:gd name="T13" fmla="*/ 0 h 942"/>
                <a:gd name="T14" fmla="*/ 1696 w 1871"/>
                <a:gd name="T15" fmla="*/ 0 h 942"/>
                <a:gd name="T16" fmla="*/ 1844 w 1871"/>
                <a:gd name="T17" fmla="*/ 14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1" h="942">
                  <a:moveTo>
                    <a:pt x="1844" y="148"/>
                  </a:moveTo>
                  <a:lnTo>
                    <a:pt x="1607" y="794"/>
                  </a:lnTo>
                  <a:cubicBezTo>
                    <a:pt x="1607" y="876"/>
                    <a:pt x="1541" y="942"/>
                    <a:pt x="1459" y="942"/>
                  </a:cubicBezTo>
                  <a:lnTo>
                    <a:pt x="147" y="942"/>
                  </a:lnTo>
                  <a:cubicBezTo>
                    <a:pt x="66" y="942"/>
                    <a:pt x="0" y="876"/>
                    <a:pt x="0" y="794"/>
                  </a:cubicBezTo>
                  <a:lnTo>
                    <a:pt x="236" y="148"/>
                  </a:lnTo>
                  <a:cubicBezTo>
                    <a:pt x="267" y="58"/>
                    <a:pt x="303" y="0"/>
                    <a:pt x="384" y="0"/>
                  </a:cubicBezTo>
                  <a:lnTo>
                    <a:pt x="1696" y="0"/>
                  </a:lnTo>
                  <a:cubicBezTo>
                    <a:pt x="1778" y="0"/>
                    <a:pt x="1871" y="57"/>
                    <a:pt x="1844" y="148"/>
                  </a:cubicBezTo>
                  <a:close/>
                </a:path>
              </a:pathLst>
            </a:custGeom>
            <a:solidFill>
              <a:srgbClr val="5131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54">
              <a:extLst>
                <a:ext uri="{FF2B5EF4-FFF2-40B4-BE49-F238E27FC236}">
                  <a16:creationId xmlns:a16="http://schemas.microsoft.com/office/drawing/2014/main" id="{B89BD9BE-7653-449A-B542-9C061C293B73}"/>
                </a:ext>
              </a:extLst>
            </p:cNvPr>
            <p:cNvSpPr>
              <a:spLocks/>
            </p:cNvSpPr>
            <p:nvPr userDrawn="1"/>
          </p:nvSpPr>
          <p:spPr bwMode="auto">
            <a:xfrm>
              <a:off x="8877300" y="2763838"/>
              <a:ext cx="166688" cy="11113"/>
            </a:xfrm>
            <a:custGeom>
              <a:avLst/>
              <a:gdLst>
                <a:gd name="T0" fmla="*/ 203 w 203"/>
                <a:gd name="T1" fmla="*/ 13 h 13"/>
                <a:gd name="T2" fmla="*/ 0 w 203"/>
                <a:gd name="T3" fmla="*/ 13 h 13"/>
                <a:gd name="T4" fmla="*/ 106 w 203"/>
                <a:gd name="T5" fmla="*/ 0 h 13"/>
                <a:gd name="T6" fmla="*/ 203 w 203"/>
                <a:gd name="T7" fmla="*/ 13 h 13"/>
              </a:gdLst>
              <a:ahLst/>
              <a:cxnLst>
                <a:cxn ang="0">
                  <a:pos x="T0" y="T1"/>
                </a:cxn>
                <a:cxn ang="0">
                  <a:pos x="T2" y="T3"/>
                </a:cxn>
                <a:cxn ang="0">
                  <a:pos x="T4" y="T5"/>
                </a:cxn>
                <a:cxn ang="0">
                  <a:pos x="T6" y="T7"/>
                </a:cxn>
              </a:cxnLst>
              <a:rect l="0" t="0" r="r" b="b"/>
              <a:pathLst>
                <a:path w="203" h="13">
                  <a:moveTo>
                    <a:pt x="203" y="13"/>
                  </a:moveTo>
                  <a:lnTo>
                    <a:pt x="0" y="13"/>
                  </a:lnTo>
                  <a:cubicBezTo>
                    <a:pt x="35" y="5"/>
                    <a:pt x="71" y="0"/>
                    <a:pt x="106" y="0"/>
                  </a:cubicBezTo>
                  <a:cubicBezTo>
                    <a:pt x="141" y="0"/>
                    <a:pt x="173" y="5"/>
                    <a:pt x="203" y="13"/>
                  </a:cubicBezTo>
                  <a:close/>
                </a:path>
              </a:pathLst>
            </a:custGeom>
            <a:solidFill>
              <a:srgbClr val="2E52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55">
              <a:extLst>
                <a:ext uri="{FF2B5EF4-FFF2-40B4-BE49-F238E27FC236}">
                  <a16:creationId xmlns:a16="http://schemas.microsoft.com/office/drawing/2014/main" id="{45A8241C-BBB9-4875-A804-0ABBBF274B67}"/>
                </a:ext>
              </a:extLst>
            </p:cNvPr>
            <p:cNvSpPr>
              <a:spLocks noEditPoints="1"/>
            </p:cNvSpPr>
            <p:nvPr userDrawn="1"/>
          </p:nvSpPr>
          <p:spPr bwMode="auto">
            <a:xfrm>
              <a:off x="8509000" y="2774950"/>
              <a:ext cx="715963" cy="612775"/>
            </a:xfrm>
            <a:custGeom>
              <a:avLst/>
              <a:gdLst>
                <a:gd name="T0" fmla="*/ 330 w 875"/>
                <a:gd name="T1" fmla="*/ 747 h 747"/>
                <a:gd name="T2" fmla="*/ 63 w 875"/>
                <a:gd name="T3" fmla="*/ 367 h 747"/>
                <a:gd name="T4" fmla="*/ 254 w 875"/>
                <a:gd name="T5" fmla="*/ 98 h 747"/>
                <a:gd name="T6" fmla="*/ 450 w 875"/>
                <a:gd name="T7" fmla="*/ 0 h 747"/>
                <a:gd name="T8" fmla="*/ 653 w 875"/>
                <a:gd name="T9" fmla="*/ 0 h 747"/>
                <a:gd name="T10" fmla="*/ 823 w 875"/>
                <a:gd name="T11" fmla="*/ 367 h 747"/>
                <a:gd name="T12" fmla="*/ 631 w 875"/>
                <a:gd name="T13" fmla="*/ 635 h 747"/>
                <a:gd name="T14" fmla="*/ 330 w 875"/>
                <a:gd name="T15" fmla="*/ 747 h 747"/>
                <a:gd name="T16" fmla="*/ 484 w 875"/>
                <a:gd name="T17" fmla="*/ 227 h 747"/>
                <a:gd name="T18" fmla="*/ 373 w 875"/>
                <a:gd name="T19" fmla="*/ 268 h 747"/>
                <a:gd name="T20" fmla="*/ 303 w 875"/>
                <a:gd name="T21" fmla="*/ 367 h 747"/>
                <a:gd name="T22" fmla="*/ 401 w 875"/>
                <a:gd name="T23" fmla="*/ 507 h 747"/>
                <a:gd name="T24" fmla="*/ 512 w 875"/>
                <a:gd name="T25" fmla="*/ 466 h 747"/>
                <a:gd name="T26" fmla="*/ 582 w 875"/>
                <a:gd name="T27" fmla="*/ 367 h 747"/>
                <a:gd name="T28" fmla="*/ 484 w 875"/>
                <a:gd name="T29" fmla="*/ 227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5" h="747">
                  <a:moveTo>
                    <a:pt x="330" y="747"/>
                  </a:moveTo>
                  <a:cubicBezTo>
                    <a:pt x="120" y="747"/>
                    <a:pt x="0" y="577"/>
                    <a:pt x="63" y="367"/>
                  </a:cubicBezTo>
                  <a:cubicBezTo>
                    <a:pt x="94" y="262"/>
                    <a:pt x="165" y="167"/>
                    <a:pt x="254" y="98"/>
                  </a:cubicBezTo>
                  <a:cubicBezTo>
                    <a:pt x="313" y="52"/>
                    <a:pt x="381" y="18"/>
                    <a:pt x="450" y="0"/>
                  </a:cubicBezTo>
                  <a:lnTo>
                    <a:pt x="653" y="0"/>
                  </a:lnTo>
                  <a:cubicBezTo>
                    <a:pt x="800" y="45"/>
                    <a:pt x="875" y="192"/>
                    <a:pt x="823" y="367"/>
                  </a:cubicBezTo>
                  <a:cubicBezTo>
                    <a:pt x="791" y="472"/>
                    <a:pt x="721" y="567"/>
                    <a:pt x="631" y="635"/>
                  </a:cubicBezTo>
                  <a:cubicBezTo>
                    <a:pt x="542" y="704"/>
                    <a:pt x="435" y="747"/>
                    <a:pt x="330" y="747"/>
                  </a:cubicBezTo>
                  <a:close/>
                  <a:moveTo>
                    <a:pt x="484" y="227"/>
                  </a:moveTo>
                  <a:cubicBezTo>
                    <a:pt x="446" y="227"/>
                    <a:pt x="406" y="243"/>
                    <a:pt x="373" y="268"/>
                  </a:cubicBezTo>
                  <a:cubicBezTo>
                    <a:pt x="340" y="293"/>
                    <a:pt x="314" y="328"/>
                    <a:pt x="303" y="367"/>
                  </a:cubicBezTo>
                  <a:cubicBezTo>
                    <a:pt x="280" y="444"/>
                    <a:pt x="324" y="507"/>
                    <a:pt x="401" y="507"/>
                  </a:cubicBezTo>
                  <a:cubicBezTo>
                    <a:pt x="440" y="507"/>
                    <a:pt x="479" y="491"/>
                    <a:pt x="512" y="466"/>
                  </a:cubicBezTo>
                  <a:cubicBezTo>
                    <a:pt x="545" y="440"/>
                    <a:pt x="571" y="405"/>
                    <a:pt x="582" y="367"/>
                  </a:cubicBezTo>
                  <a:cubicBezTo>
                    <a:pt x="605" y="290"/>
                    <a:pt x="561" y="227"/>
                    <a:pt x="484" y="227"/>
                  </a:cubicBezTo>
                </a:path>
              </a:pathLst>
            </a:custGeom>
            <a:solidFill>
              <a:srgbClr val="442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56">
              <a:extLst>
                <a:ext uri="{FF2B5EF4-FFF2-40B4-BE49-F238E27FC236}">
                  <a16:creationId xmlns:a16="http://schemas.microsoft.com/office/drawing/2014/main" id="{1D2124B5-D393-48B6-95ED-411185383F16}"/>
                </a:ext>
              </a:extLst>
            </p:cNvPr>
            <p:cNvSpPr>
              <a:spLocks noEditPoints="1"/>
            </p:cNvSpPr>
            <p:nvPr userDrawn="1"/>
          </p:nvSpPr>
          <p:spPr bwMode="auto">
            <a:xfrm>
              <a:off x="8472488" y="2678113"/>
              <a:ext cx="725488" cy="623888"/>
            </a:xfrm>
            <a:custGeom>
              <a:avLst/>
              <a:gdLst>
                <a:gd name="T0" fmla="*/ 401 w 885"/>
                <a:gd name="T1" fmla="*/ 520 h 760"/>
                <a:gd name="T2" fmla="*/ 303 w 885"/>
                <a:gd name="T3" fmla="*/ 380 h 760"/>
                <a:gd name="T4" fmla="*/ 373 w 885"/>
                <a:gd name="T5" fmla="*/ 281 h 760"/>
                <a:gd name="T6" fmla="*/ 484 w 885"/>
                <a:gd name="T7" fmla="*/ 240 h 760"/>
                <a:gd name="T8" fmla="*/ 582 w 885"/>
                <a:gd name="T9" fmla="*/ 380 h 760"/>
                <a:gd name="T10" fmla="*/ 512 w 885"/>
                <a:gd name="T11" fmla="*/ 479 h 760"/>
                <a:gd name="T12" fmla="*/ 401 w 885"/>
                <a:gd name="T13" fmla="*/ 520 h 760"/>
                <a:gd name="T14" fmla="*/ 555 w 885"/>
                <a:gd name="T15" fmla="*/ 0 h 760"/>
                <a:gd name="T16" fmla="*/ 253 w 885"/>
                <a:gd name="T17" fmla="*/ 111 h 760"/>
                <a:gd name="T18" fmla="*/ 62 w 885"/>
                <a:gd name="T19" fmla="*/ 380 h 760"/>
                <a:gd name="T20" fmla="*/ 329 w 885"/>
                <a:gd name="T21" fmla="*/ 760 h 760"/>
                <a:gd name="T22" fmla="*/ 631 w 885"/>
                <a:gd name="T23" fmla="*/ 649 h 760"/>
                <a:gd name="T24" fmla="*/ 822 w 885"/>
                <a:gd name="T25" fmla="*/ 380 h 760"/>
                <a:gd name="T26" fmla="*/ 555 w 885"/>
                <a:gd name="T27"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760">
                  <a:moveTo>
                    <a:pt x="401" y="520"/>
                  </a:moveTo>
                  <a:cubicBezTo>
                    <a:pt x="324" y="520"/>
                    <a:pt x="280" y="457"/>
                    <a:pt x="303" y="380"/>
                  </a:cubicBezTo>
                  <a:cubicBezTo>
                    <a:pt x="314" y="342"/>
                    <a:pt x="340" y="307"/>
                    <a:pt x="373" y="281"/>
                  </a:cubicBezTo>
                  <a:cubicBezTo>
                    <a:pt x="406" y="256"/>
                    <a:pt x="445" y="240"/>
                    <a:pt x="484" y="240"/>
                  </a:cubicBezTo>
                  <a:cubicBezTo>
                    <a:pt x="561" y="240"/>
                    <a:pt x="605" y="303"/>
                    <a:pt x="582" y="380"/>
                  </a:cubicBezTo>
                  <a:cubicBezTo>
                    <a:pt x="571" y="419"/>
                    <a:pt x="545" y="454"/>
                    <a:pt x="512" y="479"/>
                  </a:cubicBezTo>
                  <a:cubicBezTo>
                    <a:pt x="479" y="504"/>
                    <a:pt x="439" y="520"/>
                    <a:pt x="401" y="520"/>
                  </a:cubicBezTo>
                  <a:close/>
                  <a:moveTo>
                    <a:pt x="555" y="0"/>
                  </a:moveTo>
                  <a:cubicBezTo>
                    <a:pt x="450" y="0"/>
                    <a:pt x="343" y="43"/>
                    <a:pt x="253" y="111"/>
                  </a:cubicBezTo>
                  <a:cubicBezTo>
                    <a:pt x="164" y="180"/>
                    <a:pt x="93" y="275"/>
                    <a:pt x="62" y="380"/>
                  </a:cubicBezTo>
                  <a:cubicBezTo>
                    <a:pt x="0" y="590"/>
                    <a:pt x="119" y="760"/>
                    <a:pt x="329" y="760"/>
                  </a:cubicBezTo>
                  <a:cubicBezTo>
                    <a:pt x="434" y="760"/>
                    <a:pt x="542" y="718"/>
                    <a:pt x="631" y="649"/>
                  </a:cubicBezTo>
                  <a:cubicBezTo>
                    <a:pt x="720" y="580"/>
                    <a:pt x="791" y="485"/>
                    <a:pt x="822" y="380"/>
                  </a:cubicBezTo>
                  <a:cubicBezTo>
                    <a:pt x="885" y="170"/>
                    <a:pt x="765" y="0"/>
                    <a:pt x="555" y="0"/>
                  </a:cubicBezTo>
                  <a:close/>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57">
              <a:extLst>
                <a:ext uri="{FF2B5EF4-FFF2-40B4-BE49-F238E27FC236}">
                  <a16:creationId xmlns:a16="http://schemas.microsoft.com/office/drawing/2014/main" id="{1840F3A8-D30E-4BA2-A51C-E17E9BEE3CD6}"/>
                </a:ext>
              </a:extLst>
            </p:cNvPr>
            <p:cNvSpPr>
              <a:spLocks/>
            </p:cNvSpPr>
            <p:nvPr userDrawn="1"/>
          </p:nvSpPr>
          <p:spPr bwMode="auto">
            <a:xfrm>
              <a:off x="9571038" y="2851150"/>
              <a:ext cx="131763" cy="104775"/>
            </a:xfrm>
            <a:custGeom>
              <a:avLst/>
              <a:gdLst>
                <a:gd name="T0" fmla="*/ 107 w 161"/>
                <a:gd name="T1" fmla="*/ 128 h 128"/>
                <a:gd name="T2" fmla="*/ 17 w 161"/>
                <a:gd name="T3" fmla="*/ 128 h 128"/>
                <a:gd name="T4" fmla="*/ 4 w 161"/>
                <a:gd name="T5" fmla="*/ 109 h 128"/>
                <a:gd name="T6" fmla="*/ 30 w 161"/>
                <a:gd name="T7" fmla="*/ 19 h 128"/>
                <a:gd name="T8" fmla="*/ 54 w 161"/>
                <a:gd name="T9" fmla="*/ 0 h 128"/>
                <a:gd name="T10" fmla="*/ 145 w 161"/>
                <a:gd name="T11" fmla="*/ 0 h 128"/>
                <a:gd name="T12" fmla="*/ 158 w 161"/>
                <a:gd name="T13" fmla="*/ 19 h 128"/>
                <a:gd name="T14" fmla="*/ 131 w 161"/>
                <a:gd name="T15" fmla="*/ 109 h 128"/>
                <a:gd name="T16" fmla="*/ 107 w 161"/>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8">
                  <a:moveTo>
                    <a:pt x="107" y="128"/>
                  </a:moveTo>
                  <a:lnTo>
                    <a:pt x="17" y="128"/>
                  </a:lnTo>
                  <a:cubicBezTo>
                    <a:pt x="6" y="128"/>
                    <a:pt x="0" y="119"/>
                    <a:pt x="4" y="109"/>
                  </a:cubicBezTo>
                  <a:lnTo>
                    <a:pt x="30" y="19"/>
                  </a:lnTo>
                  <a:cubicBezTo>
                    <a:pt x="33" y="8"/>
                    <a:pt x="44" y="0"/>
                    <a:pt x="54" y="0"/>
                  </a:cubicBezTo>
                  <a:lnTo>
                    <a:pt x="145" y="0"/>
                  </a:lnTo>
                  <a:cubicBezTo>
                    <a:pt x="155" y="0"/>
                    <a:pt x="161" y="8"/>
                    <a:pt x="158" y="19"/>
                  </a:cubicBezTo>
                  <a:lnTo>
                    <a:pt x="131" y="109"/>
                  </a:lnTo>
                  <a:cubicBezTo>
                    <a:pt x="128" y="119"/>
                    <a:pt x="117" y="128"/>
                    <a:pt x="107" y="128"/>
                  </a:cubicBezTo>
                  <a:close/>
                </a:path>
              </a:pathLst>
            </a:custGeom>
            <a:solidFill>
              <a:srgbClr val="442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58">
              <a:extLst>
                <a:ext uri="{FF2B5EF4-FFF2-40B4-BE49-F238E27FC236}">
                  <a16:creationId xmlns:a16="http://schemas.microsoft.com/office/drawing/2014/main" id="{7411F1B1-DFC3-4EE9-9BDC-BB71FA8DF24C}"/>
                </a:ext>
              </a:extLst>
            </p:cNvPr>
            <p:cNvSpPr>
              <a:spLocks/>
            </p:cNvSpPr>
            <p:nvPr userDrawn="1"/>
          </p:nvSpPr>
          <p:spPr bwMode="auto">
            <a:xfrm>
              <a:off x="9532938" y="2981325"/>
              <a:ext cx="131763" cy="104775"/>
            </a:xfrm>
            <a:custGeom>
              <a:avLst/>
              <a:gdLst>
                <a:gd name="T0" fmla="*/ 107 w 161"/>
                <a:gd name="T1" fmla="*/ 128 h 128"/>
                <a:gd name="T2" fmla="*/ 17 w 161"/>
                <a:gd name="T3" fmla="*/ 128 h 128"/>
                <a:gd name="T4" fmla="*/ 3 w 161"/>
                <a:gd name="T5" fmla="*/ 109 h 128"/>
                <a:gd name="T6" fmla="*/ 30 w 161"/>
                <a:gd name="T7" fmla="*/ 19 h 128"/>
                <a:gd name="T8" fmla="*/ 54 w 161"/>
                <a:gd name="T9" fmla="*/ 0 h 128"/>
                <a:gd name="T10" fmla="*/ 145 w 161"/>
                <a:gd name="T11" fmla="*/ 0 h 128"/>
                <a:gd name="T12" fmla="*/ 158 w 161"/>
                <a:gd name="T13" fmla="*/ 19 h 128"/>
                <a:gd name="T14" fmla="*/ 131 w 161"/>
                <a:gd name="T15" fmla="*/ 109 h 128"/>
                <a:gd name="T16" fmla="*/ 107 w 161"/>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8">
                  <a:moveTo>
                    <a:pt x="107" y="128"/>
                  </a:moveTo>
                  <a:lnTo>
                    <a:pt x="17" y="128"/>
                  </a:lnTo>
                  <a:cubicBezTo>
                    <a:pt x="6" y="128"/>
                    <a:pt x="0" y="120"/>
                    <a:pt x="3" y="109"/>
                  </a:cubicBezTo>
                  <a:lnTo>
                    <a:pt x="30" y="19"/>
                  </a:lnTo>
                  <a:cubicBezTo>
                    <a:pt x="33" y="9"/>
                    <a:pt x="44" y="0"/>
                    <a:pt x="54" y="0"/>
                  </a:cubicBezTo>
                  <a:lnTo>
                    <a:pt x="145" y="0"/>
                  </a:lnTo>
                  <a:cubicBezTo>
                    <a:pt x="155" y="0"/>
                    <a:pt x="161" y="9"/>
                    <a:pt x="158" y="19"/>
                  </a:cubicBezTo>
                  <a:lnTo>
                    <a:pt x="131" y="109"/>
                  </a:lnTo>
                  <a:cubicBezTo>
                    <a:pt x="128" y="120"/>
                    <a:pt x="117" y="128"/>
                    <a:pt x="107" y="128"/>
                  </a:cubicBezTo>
                  <a:close/>
                </a:path>
              </a:pathLst>
            </a:custGeom>
            <a:solidFill>
              <a:srgbClr val="442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9">
              <a:extLst>
                <a:ext uri="{FF2B5EF4-FFF2-40B4-BE49-F238E27FC236}">
                  <a16:creationId xmlns:a16="http://schemas.microsoft.com/office/drawing/2014/main" id="{E5B0D351-84F3-4536-ADA3-ACCD5DA00491}"/>
                </a:ext>
              </a:extLst>
            </p:cNvPr>
            <p:cNvSpPr>
              <a:spLocks/>
            </p:cNvSpPr>
            <p:nvPr userDrawn="1"/>
          </p:nvSpPr>
          <p:spPr bwMode="auto">
            <a:xfrm>
              <a:off x="9493250" y="3111500"/>
              <a:ext cx="133350" cy="104775"/>
            </a:xfrm>
            <a:custGeom>
              <a:avLst/>
              <a:gdLst>
                <a:gd name="T0" fmla="*/ 107 w 161"/>
                <a:gd name="T1" fmla="*/ 127 h 127"/>
                <a:gd name="T2" fmla="*/ 16 w 161"/>
                <a:gd name="T3" fmla="*/ 127 h 127"/>
                <a:gd name="T4" fmla="*/ 3 w 161"/>
                <a:gd name="T5" fmla="*/ 109 h 127"/>
                <a:gd name="T6" fmla="*/ 30 w 161"/>
                <a:gd name="T7" fmla="*/ 18 h 127"/>
                <a:gd name="T8" fmla="*/ 54 w 161"/>
                <a:gd name="T9" fmla="*/ 0 h 127"/>
                <a:gd name="T10" fmla="*/ 145 w 161"/>
                <a:gd name="T11" fmla="*/ 0 h 127"/>
                <a:gd name="T12" fmla="*/ 158 w 161"/>
                <a:gd name="T13" fmla="*/ 18 h 127"/>
                <a:gd name="T14" fmla="*/ 131 w 161"/>
                <a:gd name="T15" fmla="*/ 109 h 127"/>
                <a:gd name="T16" fmla="*/ 107 w 161"/>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7">
                  <a:moveTo>
                    <a:pt x="107" y="127"/>
                  </a:moveTo>
                  <a:lnTo>
                    <a:pt x="16" y="127"/>
                  </a:lnTo>
                  <a:cubicBezTo>
                    <a:pt x="6" y="127"/>
                    <a:pt x="0" y="119"/>
                    <a:pt x="3" y="109"/>
                  </a:cubicBezTo>
                  <a:lnTo>
                    <a:pt x="30" y="18"/>
                  </a:lnTo>
                  <a:cubicBezTo>
                    <a:pt x="33" y="8"/>
                    <a:pt x="44" y="0"/>
                    <a:pt x="54" y="0"/>
                  </a:cubicBezTo>
                  <a:lnTo>
                    <a:pt x="145" y="0"/>
                  </a:lnTo>
                  <a:cubicBezTo>
                    <a:pt x="155" y="0"/>
                    <a:pt x="161" y="8"/>
                    <a:pt x="158" y="18"/>
                  </a:cubicBezTo>
                  <a:lnTo>
                    <a:pt x="131" y="109"/>
                  </a:lnTo>
                  <a:cubicBezTo>
                    <a:pt x="128" y="119"/>
                    <a:pt x="117" y="127"/>
                    <a:pt x="107" y="127"/>
                  </a:cubicBezTo>
                  <a:close/>
                </a:path>
              </a:pathLst>
            </a:custGeom>
            <a:solidFill>
              <a:srgbClr val="442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60">
              <a:extLst>
                <a:ext uri="{FF2B5EF4-FFF2-40B4-BE49-F238E27FC236}">
                  <a16:creationId xmlns:a16="http://schemas.microsoft.com/office/drawing/2014/main" id="{85DAC8D3-330C-4654-8590-8CF0A067EB50}"/>
                </a:ext>
              </a:extLst>
            </p:cNvPr>
            <p:cNvSpPr>
              <a:spLocks/>
            </p:cNvSpPr>
            <p:nvPr userDrawn="1"/>
          </p:nvSpPr>
          <p:spPr bwMode="auto">
            <a:xfrm>
              <a:off x="9534525" y="2706688"/>
              <a:ext cx="131763" cy="104775"/>
            </a:xfrm>
            <a:custGeom>
              <a:avLst/>
              <a:gdLst>
                <a:gd name="T0" fmla="*/ 131 w 161"/>
                <a:gd name="T1" fmla="*/ 109 h 127"/>
                <a:gd name="T2" fmla="*/ 107 w 161"/>
                <a:gd name="T3" fmla="*/ 127 h 127"/>
                <a:gd name="T4" fmla="*/ 16 w 161"/>
                <a:gd name="T5" fmla="*/ 127 h 127"/>
                <a:gd name="T6" fmla="*/ 3 w 161"/>
                <a:gd name="T7" fmla="*/ 109 h 127"/>
                <a:gd name="T8" fmla="*/ 30 w 161"/>
                <a:gd name="T9" fmla="*/ 18 h 127"/>
                <a:gd name="T10" fmla="*/ 54 w 161"/>
                <a:gd name="T11" fmla="*/ 0 h 127"/>
                <a:gd name="T12" fmla="*/ 144 w 161"/>
                <a:gd name="T13" fmla="*/ 0 h 127"/>
                <a:gd name="T14" fmla="*/ 158 w 161"/>
                <a:gd name="T15" fmla="*/ 18 h 127"/>
                <a:gd name="T16" fmla="*/ 131 w 161"/>
                <a:gd name="T17" fmla="*/ 10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7">
                  <a:moveTo>
                    <a:pt x="131" y="109"/>
                  </a:moveTo>
                  <a:cubicBezTo>
                    <a:pt x="128" y="119"/>
                    <a:pt x="117" y="127"/>
                    <a:pt x="107" y="127"/>
                  </a:cubicBezTo>
                  <a:lnTo>
                    <a:pt x="16" y="127"/>
                  </a:lnTo>
                  <a:cubicBezTo>
                    <a:pt x="6" y="127"/>
                    <a:pt x="0" y="119"/>
                    <a:pt x="3" y="109"/>
                  </a:cubicBezTo>
                  <a:lnTo>
                    <a:pt x="30" y="18"/>
                  </a:lnTo>
                  <a:cubicBezTo>
                    <a:pt x="33" y="8"/>
                    <a:pt x="44" y="0"/>
                    <a:pt x="54" y="0"/>
                  </a:cubicBezTo>
                  <a:lnTo>
                    <a:pt x="144" y="0"/>
                  </a:lnTo>
                  <a:cubicBezTo>
                    <a:pt x="155" y="0"/>
                    <a:pt x="161" y="8"/>
                    <a:pt x="158" y="18"/>
                  </a:cubicBezTo>
                  <a:lnTo>
                    <a:pt x="131" y="109"/>
                  </a:lnTo>
                  <a:close/>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61">
              <a:extLst>
                <a:ext uri="{FF2B5EF4-FFF2-40B4-BE49-F238E27FC236}">
                  <a16:creationId xmlns:a16="http://schemas.microsoft.com/office/drawing/2014/main" id="{D53D38C3-FD7A-4EDA-BB29-C6B75B151058}"/>
                </a:ext>
              </a:extLst>
            </p:cNvPr>
            <p:cNvSpPr>
              <a:spLocks/>
            </p:cNvSpPr>
            <p:nvPr userDrawn="1"/>
          </p:nvSpPr>
          <p:spPr bwMode="auto">
            <a:xfrm>
              <a:off x="9496425" y="2836863"/>
              <a:ext cx="131763" cy="103188"/>
            </a:xfrm>
            <a:custGeom>
              <a:avLst/>
              <a:gdLst>
                <a:gd name="T0" fmla="*/ 131 w 161"/>
                <a:gd name="T1" fmla="*/ 109 h 127"/>
                <a:gd name="T2" fmla="*/ 107 w 161"/>
                <a:gd name="T3" fmla="*/ 127 h 127"/>
                <a:gd name="T4" fmla="*/ 16 w 161"/>
                <a:gd name="T5" fmla="*/ 127 h 127"/>
                <a:gd name="T6" fmla="*/ 3 w 161"/>
                <a:gd name="T7" fmla="*/ 109 h 127"/>
                <a:gd name="T8" fmla="*/ 30 w 161"/>
                <a:gd name="T9" fmla="*/ 18 h 127"/>
                <a:gd name="T10" fmla="*/ 54 w 161"/>
                <a:gd name="T11" fmla="*/ 0 h 127"/>
                <a:gd name="T12" fmla="*/ 144 w 161"/>
                <a:gd name="T13" fmla="*/ 0 h 127"/>
                <a:gd name="T14" fmla="*/ 157 w 161"/>
                <a:gd name="T15" fmla="*/ 18 h 127"/>
                <a:gd name="T16" fmla="*/ 131 w 161"/>
                <a:gd name="T17" fmla="*/ 10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7">
                  <a:moveTo>
                    <a:pt x="131" y="109"/>
                  </a:moveTo>
                  <a:cubicBezTo>
                    <a:pt x="128" y="119"/>
                    <a:pt x="117" y="127"/>
                    <a:pt x="107" y="127"/>
                  </a:cubicBezTo>
                  <a:lnTo>
                    <a:pt x="16" y="127"/>
                  </a:lnTo>
                  <a:cubicBezTo>
                    <a:pt x="6" y="127"/>
                    <a:pt x="0" y="119"/>
                    <a:pt x="3" y="109"/>
                  </a:cubicBezTo>
                  <a:lnTo>
                    <a:pt x="30" y="18"/>
                  </a:lnTo>
                  <a:cubicBezTo>
                    <a:pt x="33" y="8"/>
                    <a:pt x="44" y="0"/>
                    <a:pt x="54" y="0"/>
                  </a:cubicBezTo>
                  <a:lnTo>
                    <a:pt x="144" y="0"/>
                  </a:lnTo>
                  <a:cubicBezTo>
                    <a:pt x="155" y="0"/>
                    <a:pt x="161" y="8"/>
                    <a:pt x="157" y="18"/>
                  </a:cubicBezTo>
                  <a:lnTo>
                    <a:pt x="131" y="109"/>
                  </a:ln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62">
              <a:extLst>
                <a:ext uri="{FF2B5EF4-FFF2-40B4-BE49-F238E27FC236}">
                  <a16:creationId xmlns:a16="http://schemas.microsoft.com/office/drawing/2014/main" id="{706AC0F5-B40F-4383-BB82-23A12B102030}"/>
                </a:ext>
              </a:extLst>
            </p:cNvPr>
            <p:cNvSpPr>
              <a:spLocks/>
            </p:cNvSpPr>
            <p:nvPr userDrawn="1"/>
          </p:nvSpPr>
          <p:spPr bwMode="auto">
            <a:xfrm>
              <a:off x="9458325" y="2965450"/>
              <a:ext cx="130175" cy="104775"/>
            </a:xfrm>
            <a:custGeom>
              <a:avLst/>
              <a:gdLst>
                <a:gd name="T0" fmla="*/ 131 w 160"/>
                <a:gd name="T1" fmla="*/ 109 h 128"/>
                <a:gd name="T2" fmla="*/ 106 w 160"/>
                <a:gd name="T3" fmla="*/ 128 h 128"/>
                <a:gd name="T4" fmla="*/ 16 w 160"/>
                <a:gd name="T5" fmla="*/ 128 h 128"/>
                <a:gd name="T6" fmla="*/ 3 w 160"/>
                <a:gd name="T7" fmla="*/ 109 h 128"/>
                <a:gd name="T8" fmla="*/ 30 w 160"/>
                <a:gd name="T9" fmla="*/ 19 h 128"/>
                <a:gd name="T10" fmla="*/ 54 w 160"/>
                <a:gd name="T11" fmla="*/ 0 h 128"/>
                <a:gd name="T12" fmla="*/ 144 w 160"/>
                <a:gd name="T13" fmla="*/ 0 h 128"/>
                <a:gd name="T14" fmla="*/ 157 w 160"/>
                <a:gd name="T15" fmla="*/ 19 h 128"/>
                <a:gd name="T16" fmla="*/ 131 w 160"/>
                <a:gd name="T17"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28">
                  <a:moveTo>
                    <a:pt x="131" y="109"/>
                  </a:moveTo>
                  <a:cubicBezTo>
                    <a:pt x="127" y="119"/>
                    <a:pt x="117" y="128"/>
                    <a:pt x="106" y="128"/>
                  </a:cubicBezTo>
                  <a:lnTo>
                    <a:pt x="16" y="128"/>
                  </a:lnTo>
                  <a:cubicBezTo>
                    <a:pt x="6" y="128"/>
                    <a:pt x="0" y="119"/>
                    <a:pt x="3" y="109"/>
                  </a:cubicBezTo>
                  <a:lnTo>
                    <a:pt x="30" y="19"/>
                  </a:lnTo>
                  <a:cubicBezTo>
                    <a:pt x="33" y="8"/>
                    <a:pt x="44" y="0"/>
                    <a:pt x="54" y="0"/>
                  </a:cubicBezTo>
                  <a:lnTo>
                    <a:pt x="144" y="0"/>
                  </a:lnTo>
                  <a:cubicBezTo>
                    <a:pt x="155" y="0"/>
                    <a:pt x="160" y="8"/>
                    <a:pt x="157" y="19"/>
                  </a:cubicBezTo>
                  <a:lnTo>
                    <a:pt x="131" y="109"/>
                  </a:lnTo>
                  <a:close/>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63">
              <a:extLst>
                <a:ext uri="{FF2B5EF4-FFF2-40B4-BE49-F238E27FC236}">
                  <a16:creationId xmlns:a16="http://schemas.microsoft.com/office/drawing/2014/main" id="{5AA2AF51-F2D3-4554-B6B8-A27D37A47370}"/>
                </a:ext>
              </a:extLst>
            </p:cNvPr>
            <p:cNvSpPr>
              <a:spLocks/>
            </p:cNvSpPr>
            <p:nvPr userDrawn="1"/>
          </p:nvSpPr>
          <p:spPr bwMode="auto">
            <a:xfrm>
              <a:off x="8472488" y="2678113"/>
              <a:ext cx="454025" cy="623888"/>
            </a:xfrm>
            <a:custGeom>
              <a:avLst/>
              <a:gdLst>
                <a:gd name="T0" fmla="*/ 373 w 555"/>
                <a:gd name="T1" fmla="*/ 281 h 760"/>
                <a:gd name="T2" fmla="*/ 303 w 555"/>
                <a:gd name="T3" fmla="*/ 380 h 760"/>
                <a:gd name="T4" fmla="*/ 401 w 555"/>
                <a:gd name="T5" fmla="*/ 520 h 760"/>
                <a:gd name="T6" fmla="*/ 329 w 555"/>
                <a:gd name="T7" fmla="*/ 760 h 760"/>
                <a:gd name="T8" fmla="*/ 62 w 555"/>
                <a:gd name="T9" fmla="*/ 380 h 760"/>
                <a:gd name="T10" fmla="*/ 253 w 555"/>
                <a:gd name="T11" fmla="*/ 111 h 760"/>
                <a:gd name="T12" fmla="*/ 555 w 555"/>
                <a:gd name="T13" fmla="*/ 0 h 760"/>
                <a:gd name="T14" fmla="*/ 484 w 555"/>
                <a:gd name="T15" fmla="*/ 240 h 760"/>
                <a:gd name="T16" fmla="*/ 373 w 555"/>
                <a:gd name="T17" fmla="*/ 281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5" h="760">
                  <a:moveTo>
                    <a:pt x="373" y="281"/>
                  </a:moveTo>
                  <a:cubicBezTo>
                    <a:pt x="340" y="307"/>
                    <a:pt x="314" y="342"/>
                    <a:pt x="303" y="380"/>
                  </a:cubicBezTo>
                  <a:cubicBezTo>
                    <a:pt x="280" y="457"/>
                    <a:pt x="324" y="520"/>
                    <a:pt x="401" y="520"/>
                  </a:cubicBezTo>
                  <a:lnTo>
                    <a:pt x="329" y="760"/>
                  </a:lnTo>
                  <a:cubicBezTo>
                    <a:pt x="119" y="760"/>
                    <a:pt x="0" y="590"/>
                    <a:pt x="62" y="380"/>
                  </a:cubicBezTo>
                  <a:cubicBezTo>
                    <a:pt x="93" y="275"/>
                    <a:pt x="164" y="180"/>
                    <a:pt x="253" y="111"/>
                  </a:cubicBezTo>
                  <a:cubicBezTo>
                    <a:pt x="343" y="43"/>
                    <a:pt x="450" y="0"/>
                    <a:pt x="555" y="0"/>
                  </a:cubicBezTo>
                  <a:lnTo>
                    <a:pt x="484" y="240"/>
                  </a:lnTo>
                  <a:cubicBezTo>
                    <a:pt x="445" y="240"/>
                    <a:pt x="406" y="256"/>
                    <a:pt x="373" y="281"/>
                  </a:cubicBezTo>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64">
              <a:extLst>
                <a:ext uri="{FF2B5EF4-FFF2-40B4-BE49-F238E27FC236}">
                  <a16:creationId xmlns:a16="http://schemas.microsoft.com/office/drawing/2014/main" id="{FBEA2780-869F-4D1C-BFF2-54A189F106E6}"/>
                </a:ext>
              </a:extLst>
            </p:cNvPr>
            <p:cNvSpPr>
              <a:spLocks/>
            </p:cNvSpPr>
            <p:nvPr userDrawn="1"/>
          </p:nvSpPr>
          <p:spPr bwMode="auto">
            <a:xfrm>
              <a:off x="8472488" y="2770188"/>
              <a:ext cx="517525" cy="531813"/>
            </a:xfrm>
            <a:custGeom>
              <a:avLst/>
              <a:gdLst>
                <a:gd name="T0" fmla="*/ 631 w 631"/>
                <a:gd name="T1" fmla="*/ 538 h 649"/>
                <a:gd name="T2" fmla="*/ 329 w 631"/>
                <a:gd name="T3" fmla="*/ 649 h 649"/>
                <a:gd name="T4" fmla="*/ 62 w 631"/>
                <a:gd name="T5" fmla="*/ 269 h 649"/>
                <a:gd name="T6" fmla="*/ 253 w 631"/>
                <a:gd name="T7" fmla="*/ 0 h 649"/>
                <a:gd name="T8" fmla="*/ 373 w 631"/>
                <a:gd name="T9" fmla="*/ 170 h 649"/>
                <a:gd name="T10" fmla="*/ 303 w 631"/>
                <a:gd name="T11" fmla="*/ 269 h 649"/>
                <a:gd name="T12" fmla="*/ 401 w 631"/>
                <a:gd name="T13" fmla="*/ 409 h 649"/>
                <a:gd name="T14" fmla="*/ 512 w 631"/>
                <a:gd name="T15" fmla="*/ 368 h 649"/>
                <a:gd name="T16" fmla="*/ 631 w 631"/>
                <a:gd name="T17" fmla="*/ 538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1" h="649">
                  <a:moveTo>
                    <a:pt x="631" y="538"/>
                  </a:moveTo>
                  <a:cubicBezTo>
                    <a:pt x="542" y="607"/>
                    <a:pt x="434" y="649"/>
                    <a:pt x="329" y="649"/>
                  </a:cubicBezTo>
                  <a:cubicBezTo>
                    <a:pt x="119" y="649"/>
                    <a:pt x="0" y="479"/>
                    <a:pt x="62" y="269"/>
                  </a:cubicBezTo>
                  <a:cubicBezTo>
                    <a:pt x="93" y="164"/>
                    <a:pt x="164" y="69"/>
                    <a:pt x="253" y="0"/>
                  </a:cubicBezTo>
                  <a:lnTo>
                    <a:pt x="373" y="170"/>
                  </a:lnTo>
                  <a:cubicBezTo>
                    <a:pt x="340" y="196"/>
                    <a:pt x="314" y="231"/>
                    <a:pt x="303" y="269"/>
                  </a:cubicBezTo>
                  <a:cubicBezTo>
                    <a:pt x="280" y="346"/>
                    <a:pt x="324" y="409"/>
                    <a:pt x="401" y="409"/>
                  </a:cubicBezTo>
                  <a:cubicBezTo>
                    <a:pt x="439" y="409"/>
                    <a:pt x="479" y="393"/>
                    <a:pt x="512" y="368"/>
                  </a:cubicBezTo>
                  <a:lnTo>
                    <a:pt x="631" y="538"/>
                  </a:lnTo>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65">
              <a:extLst>
                <a:ext uri="{FF2B5EF4-FFF2-40B4-BE49-F238E27FC236}">
                  <a16:creationId xmlns:a16="http://schemas.microsoft.com/office/drawing/2014/main" id="{63A43936-8430-446C-B69E-38A844460270}"/>
                </a:ext>
              </a:extLst>
            </p:cNvPr>
            <p:cNvSpPr>
              <a:spLocks/>
            </p:cNvSpPr>
            <p:nvPr userDrawn="1"/>
          </p:nvSpPr>
          <p:spPr bwMode="auto">
            <a:xfrm>
              <a:off x="7308850" y="3833813"/>
              <a:ext cx="1211263" cy="431800"/>
            </a:xfrm>
            <a:custGeom>
              <a:avLst/>
              <a:gdLst>
                <a:gd name="T0" fmla="*/ 1296 w 1478"/>
                <a:gd name="T1" fmla="*/ 526 h 526"/>
                <a:gd name="T2" fmla="*/ 25 w 1478"/>
                <a:gd name="T3" fmla="*/ 526 h 526"/>
                <a:gd name="T4" fmla="*/ 5 w 1478"/>
                <a:gd name="T5" fmla="*/ 497 h 526"/>
                <a:gd name="T6" fmla="*/ 143 w 1478"/>
                <a:gd name="T7" fmla="*/ 30 h 526"/>
                <a:gd name="T8" fmla="*/ 182 w 1478"/>
                <a:gd name="T9" fmla="*/ 0 h 526"/>
                <a:gd name="T10" fmla="*/ 1452 w 1478"/>
                <a:gd name="T11" fmla="*/ 0 h 526"/>
                <a:gd name="T12" fmla="*/ 1473 w 1478"/>
                <a:gd name="T13" fmla="*/ 30 h 526"/>
                <a:gd name="T14" fmla="*/ 1335 w 1478"/>
                <a:gd name="T15" fmla="*/ 497 h 526"/>
                <a:gd name="T16" fmla="*/ 1296 w 1478"/>
                <a:gd name="T17"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8" h="526">
                  <a:moveTo>
                    <a:pt x="1296" y="526"/>
                  </a:moveTo>
                  <a:lnTo>
                    <a:pt x="25" y="526"/>
                  </a:lnTo>
                  <a:cubicBezTo>
                    <a:pt x="9" y="526"/>
                    <a:pt x="0" y="513"/>
                    <a:pt x="5" y="497"/>
                  </a:cubicBezTo>
                  <a:lnTo>
                    <a:pt x="143" y="30"/>
                  </a:lnTo>
                  <a:cubicBezTo>
                    <a:pt x="148" y="14"/>
                    <a:pt x="165" y="0"/>
                    <a:pt x="182" y="0"/>
                  </a:cubicBezTo>
                  <a:lnTo>
                    <a:pt x="1452" y="0"/>
                  </a:lnTo>
                  <a:cubicBezTo>
                    <a:pt x="1469" y="0"/>
                    <a:pt x="1478" y="14"/>
                    <a:pt x="1473" y="30"/>
                  </a:cubicBezTo>
                  <a:lnTo>
                    <a:pt x="1335" y="497"/>
                  </a:lnTo>
                  <a:cubicBezTo>
                    <a:pt x="1330" y="513"/>
                    <a:pt x="1313" y="526"/>
                    <a:pt x="1296" y="526"/>
                  </a:cubicBezTo>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66">
              <a:extLst>
                <a:ext uri="{FF2B5EF4-FFF2-40B4-BE49-F238E27FC236}">
                  <a16:creationId xmlns:a16="http://schemas.microsoft.com/office/drawing/2014/main" id="{1EAFD50C-4A8C-4297-B36B-2B08BAB0C404}"/>
                </a:ext>
              </a:extLst>
            </p:cNvPr>
            <p:cNvSpPr>
              <a:spLocks/>
            </p:cNvSpPr>
            <p:nvPr userDrawn="1"/>
          </p:nvSpPr>
          <p:spPr bwMode="auto">
            <a:xfrm>
              <a:off x="7559675" y="4330700"/>
              <a:ext cx="423863" cy="92075"/>
            </a:xfrm>
            <a:custGeom>
              <a:avLst/>
              <a:gdLst>
                <a:gd name="T0" fmla="*/ 459 w 518"/>
                <a:gd name="T1" fmla="*/ 113 h 113"/>
                <a:gd name="T2" fmla="*/ 26 w 518"/>
                <a:gd name="T3" fmla="*/ 113 h 113"/>
                <a:gd name="T4" fmla="*/ 5 w 518"/>
                <a:gd name="T5" fmla="*/ 83 h 113"/>
                <a:gd name="T6" fmla="*/ 21 w 518"/>
                <a:gd name="T7" fmla="*/ 30 h 113"/>
                <a:gd name="T8" fmla="*/ 60 w 518"/>
                <a:gd name="T9" fmla="*/ 0 h 113"/>
                <a:gd name="T10" fmla="*/ 493 w 518"/>
                <a:gd name="T11" fmla="*/ 0 h 113"/>
                <a:gd name="T12" fmla="*/ 513 w 518"/>
                <a:gd name="T13" fmla="*/ 30 h 113"/>
                <a:gd name="T14" fmla="*/ 497 w 518"/>
                <a:gd name="T15" fmla="*/ 83 h 113"/>
                <a:gd name="T16" fmla="*/ 459 w 518"/>
                <a:gd name="T17"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8" h="113">
                  <a:moveTo>
                    <a:pt x="459" y="113"/>
                  </a:moveTo>
                  <a:lnTo>
                    <a:pt x="26" y="113"/>
                  </a:lnTo>
                  <a:cubicBezTo>
                    <a:pt x="10" y="113"/>
                    <a:pt x="0" y="100"/>
                    <a:pt x="5" y="83"/>
                  </a:cubicBezTo>
                  <a:lnTo>
                    <a:pt x="21" y="30"/>
                  </a:lnTo>
                  <a:cubicBezTo>
                    <a:pt x="26" y="13"/>
                    <a:pt x="43" y="0"/>
                    <a:pt x="60" y="0"/>
                  </a:cubicBezTo>
                  <a:lnTo>
                    <a:pt x="493" y="0"/>
                  </a:lnTo>
                  <a:cubicBezTo>
                    <a:pt x="509" y="0"/>
                    <a:pt x="518" y="13"/>
                    <a:pt x="513" y="30"/>
                  </a:cubicBezTo>
                  <a:lnTo>
                    <a:pt x="497" y="83"/>
                  </a:lnTo>
                  <a:cubicBezTo>
                    <a:pt x="493" y="100"/>
                    <a:pt x="475" y="113"/>
                    <a:pt x="459" y="113"/>
                  </a:cubicBezTo>
                  <a:close/>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67">
              <a:extLst>
                <a:ext uri="{FF2B5EF4-FFF2-40B4-BE49-F238E27FC236}">
                  <a16:creationId xmlns:a16="http://schemas.microsoft.com/office/drawing/2014/main" id="{02AF6AE4-F3B9-487B-9FDB-DC2700D5E7C0}"/>
                </a:ext>
              </a:extLst>
            </p:cNvPr>
            <p:cNvSpPr>
              <a:spLocks/>
            </p:cNvSpPr>
            <p:nvPr userDrawn="1"/>
          </p:nvSpPr>
          <p:spPr bwMode="auto">
            <a:xfrm>
              <a:off x="7291388" y="4483100"/>
              <a:ext cx="420688" cy="34925"/>
            </a:xfrm>
            <a:custGeom>
              <a:avLst/>
              <a:gdLst>
                <a:gd name="T0" fmla="*/ 481 w 513"/>
                <a:gd name="T1" fmla="*/ 43 h 43"/>
                <a:gd name="T2" fmla="*/ 19 w 513"/>
                <a:gd name="T3" fmla="*/ 43 h 43"/>
                <a:gd name="T4" fmla="*/ 4 w 513"/>
                <a:gd name="T5" fmla="*/ 22 h 43"/>
                <a:gd name="T6" fmla="*/ 32 w 513"/>
                <a:gd name="T7" fmla="*/ 0 h 43"/>
                <a:gd name="T8" fmla="*/ 494 w 513"/>
                <a:gd name="T9" fmla="*/ 0 h 43"/>
                <a:gd name="T10" fmla="*/ 510 w 513"/>
                <a:gd name="T11" fmla="*/ 22 h 43"/>
                <a:gd name="T12" fmla="*/ 481 w 513"/>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481" y="43"/>
                  </a:moveTo>
                  <a:lnTo>
                    <a:pt x="19" y="43"/>
                  </a:lnTo>
                  <a:cubicBezTo>
                    <a:pt x="7" y="43"/>
                    <a:pt x="0" y="34"/>
                    <a:pt x="4" y="22"/>
                  </a:cubicBezTo>
                  <a:cubicBezTo>
                    <a:pt x="7" y="10"/>
                    <a:pt x="20" y="0"/>
                    <a:pt x="32" y="0"/>
                  </a:cubicBezTo>
                  <a:lnTo>
                    <a:pt x="494" y="0"/>
                  </a:lnTo>
                  <a:cubicBezTo>
                    <a:pt x="506" y="0"/>
                    <a:pt x="513" y="10"/>
                    <a:pt x="510" y="22"/>
                  </a:cubicBezTo>
                  <a:cubicBezTo>
                    <a:pt x="506" y="34"/>
                    <a:pt x="493" y="43"/>
                    <a:pt x="481" y="43"/>
                  </a:cubicBezTo>
                  <a:close/>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68">
              <a:extLst>
                <a:ext uri="{FF2B5EF4-FFF2-40B4-BE49-F238E27FC236}">
                  <a16:creationId xmlns:a16="http://schemas.microsoft.com/office/drawing/2014/main" id="{BC96B853-825B-4CC6-B46A-31A189AB9728}"/>
                </a:ext>
              </a:extLst>
            </p:cNvPr>
            <p:cNvSpPr>
              <a:spLocks/>
            </p:cNvSpPr>
            <p:nvPr userDrawn="1"/>
          </p:nvSpPr>
          <p:spPr bwMode="auto">
            <a:xfrm>
              <a:off x="7273925" y="4543425"/>
              <a:ext cx="420688" cy="34925"/>
            </a:xfrm>
            <a:custGeom>
              <a:avLst/>
              <a:gdLst>
                <a:gd name="T0" fmla="*/ 481 w 513"/>
                <a:gd name="T1" fmla="*/ 43 h 43"/>
                <a:gd name="T2" fmla="*/ 19 w 513"/>
                <a:gd name="T3" fmla="*/ 43 h 43"/>
                <a:gd name="T4" fmla="*/ 3 w 513"/>
                <a:gd name="T5" fmla="*/ 22 h 43"/>
                <a:gd name="T6" fmla="*/ 32 w 513"/>
                <a:gd name="T7" fmla="*/ 0 h 43"/>
                <a:gd name="T8" fmla="*/ 494 w 513"/>
                <a:gd name="T9" fmla="*/ 0 h 43"/>
                <a:gd name="T10" fmla="*/ 509 w 513"/>
                <a:gd name="T11" fmla="*/ 22 h 43"/>
                <a:gd name="T12" fmla="*/ 481 w 513"/>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481" y="43"/>
                  </a:moveTo>
                  <a:lnTo>
                    <a:pt x="19" y="43"/>
                  </a:lnTo>
                  <a:cubicBezTo>
                    <a:pt x="6" y="43"/>
                    <a:pt x="0" y="34"/>
                    <a:pt x="3" y="22"/>
                  </a:cubicBezTo>
                  <a:cubicBezTo>
                    <a:pt x="7" y="9"/>
                    <a:pt x="19" y="0"/>
                    <a:pt x="32" y="0"/>
                  </a:cubicBezTo>
                  <a:lnTo>
                    <a:pt x="494" y="0"/>
                  </a:lnTo>
                  <a:cubicBezTo>
                    <a:pt x="506" y="0"/>
                    <a:pt x="513" y="9"/>
                    <a:pt x="509" y="22"/>
                  </a:cubicBezTo>
                  <a:cubicBezTo>
                    <a:pt x="505" y="34"/>
                    <a:pt x="493" y="43"/>
                    <a:pt x="481" y="43"/>
                  </a:cubicBezTo>
                  <a:close/>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69">
              <a:extLst>
                <a:ext uri="{FF2B5EF4-FFF2-40B4-BE49-F238E27FC236}">
                  <a16:creationId xmlns:a16="http://schemas.microsoft.com/office/drawing/2014/main" id="{DA0350BC-6981-4755-851C-B1C5469727A0}"/>
                </a:ext>
              </a:extLst>
            </p:cNvPr>
            <p:cNvSpPr>
              <a:spLocks/>
            </p:cNvSpPr>
            <p:nvPr userDrawn="1"/>
          </p:nvSpPr>
          <p:spPr bwMode="auto">
            <a:xfrm>
              <a:off x="7256463" y="4602163"/>
              <a:ext cx="419100" cy="36513"/>
            </a:xfrm>
            <a:custGeom>
              <a:avLst/>
              <a:gdLst>
                <a:gd name="T0" fmla="*/ 481 w 513"/>
                <a:gd name="T1" fmla="*/ 43 h 43"/>
                <a:gd name="T2" fmla="*/ 19 w 513"/>
                <a:gd name="T3" fmla="*/ 43 h 43"/>
                <a:gd name="T4" fmla="*/ 4 w 513"/>
                <a:gd name="T5" fmla="*/ 21 h 43"/>
                <a:gd name="T6" fmla="*/ 32 w 513"/>
                <a:gd name="T7" fmla="*/ 0 h 43"/>
                <a:gd name="T8" fmla="*/ 494 w 513"/>
                <a:gd name="T9" fmla="*/ 0 h 43"/>
                <a:gd name="T10" fmla="*/ 509 w 513"/>
                <a:gd name="T11" fmla="*/ 21 h 43"/>
                <a:gd name="T12" fmla="*/ 481 w 513"/>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481" y="43"/>
                  </a:moveTo>
                  <a:lnTo>
                    <a:pt x="19" y="43"/>
                  </a:lnTo>
                  <a:cubicBezTo>
                    <a:pt x="7" y="43"/>
                    <a:pt x="0" y="33"/>
                    <a:pt x="4" y="21"/>
                  </a:cubicBezTo>
                  <a:cubicBezTo>
                    <a:pt x="7" y="9"/>
                    <a:pt x="20" y="0"/>
                    <a:pt x="32" y="0"/>
                  </a:cubicBezTo>
                  <a:lnTo>
                    <a:pt x="494" y="0"/>
                  </a:lnTo>
                  <a:cubicBezTo>
                    <a:pt x="506" y="0"/>
                    <a:pt x="513" y="9"/>
                    <a:pt x="509" y="21"/>
                  </a:cubicBezTo>
                  <a:cubicBezTo>
                    <a:pt x="506" y="33"/>
                    <a:pt x="493" y="43"/>
                    <a:pt x="481" y="43"/>
                  </a:cubicBezTo>
                  <a:close/>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70">
              <a:extLst>
                <a:ext uri="{FF2B5EF4-FFF2-40B4-BE49-F238E27FC236}">
                  <a16:creationId xmlns:a16="http://schemas.microsoft.com/office/drawing/2014/main" id="{2044396F-6952-401D-B208-9D921F044409}"/>
                </a:ext>
              </a:extLst>
            </p:cNvPr>
            <p:cNvSpPr>
              <a:spLocks/>
            </p:cNvSpPr>
            <p:nvPr userDrawn="1"/>
          </p:nvSpPr>
          <p:spPr bwMode="auto">
            <a:xfrm>
              <a:off x="7237413" y="4662488"/>
              <a:ext cx="420688" cy="34925"/>
            </a:xfrm>
            <a:custGeom>
              <a:avLst/>
              <a:gdLst>
                <a:gd name="T0" fmla="*/ 481 w 513"/>
                <a:gd name="T1" fmla="*/ 44 h 44"/>
                <a:gd name="T2" fmla="*/ 19 w 513"/>
                <a:gd name="T3" fmla="*/ 44 h 44"/>
                <a:gd name="T4" fmla="*/ 4 w 513"/>
                <a:gd name="T5" fmla="*/ 22 h 44"/>
                <a:gd name="T6" fmla="*/ 32 w 513"/>
                <a:gd name="T7" fmla="*/ 0 h 44"/>
                <a:gd name="T8" fmla="*/ 494 w 513"/>
                <a:gd name="T9" fmla="*/ 0 h 44"/>
                <a:gd name="T10" fmla="*/ 510 w 513"/>
                <a:gd name="T11" fmla="*/ 22 h 44"/>
                <a:gd name="T12" fmla="*/ 481 w 513"/>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513" h="44">
                  <a:moveTo>
                    <a:pt x="481" y="44"/>
                  </a:moveTo>
                  <a:lnTo>
                    <a:pt x="19" y="44"/>
                  </a:lnTo>
                  <a:cubicBezTo>
                    <a:pt x="7" y="44"/>
                    <a:pt x="0" y="34"/>
                    <a:pt x="4" y="22"/>
                  </a:cubicBezTo>
                  <a:cubicBezTo>
                    <a:pt x="7" y="10"/>
                    <a:pt x="20" y="0"/>
                    <a:pt x="32" y="0"/>
                  </a:cubicBezTo>
                  <a:lnTo>
                    <a:pt x="494" y="0"/>
                  </a:lnTo>
                  <a:cubicBezTo>
                    <a:pt x="506" y="0"/>
                    <a:pt x="513" y="10"/>
                    <a:pt x="510" y="22"/>
                  </a:cubicBezTo>
                  <a:cubicBezTo>
                    <a:pt x="506" y="34"/>
                    <a:pt x="493" y="44"/>
                    <a:pt x="481" y="44"/>
                  </a:cubicBezTo>
                  <a:close/>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71">
              <a:extLst>
                <a:ext uri="{FF2B5EF4-FFF2-40B4-BE49-F238E27FC236}">
                  <a16:creationId xmlns:a16="http://schemas.microsoft.com/office/drawing/2014/main" id="{E1C7FE97-396B-48CE-A93B-2979D2961E5B}"/>
                </a:ext>
              </a:extLst>
            </p:cNvPr>
            <p:cNvSpPr>
              <a:spLocks/>
            </p:cNvSpPr>
            <p:nvPr userDrawn="1"/>
          </p:nvSpPr>
          <p:spPr bwMode="auto">
            <a:xfrm>
              <a:off x="7750175" y="4483100"/>
              <a:ext cx="420688" cy="34925"/>
            </a:xfrm>
            <a:custGeom>
              <a:avLst/>
              <a:gdLst>
                <a:gd name="T0" fmla="*/ 482 w 513"/>
                <a:gd name="T1" fmla="*/ 43 h 43"/>
                <a:gd name="T2" fmla="*/ 19 w 513"/>
                <a:gd name="T3" fmla="*/ 43 h 43"/>
                <a:gd name="T4" fmla="*/ 4 w 513"/>
                <a:gd name="T5" fmla="*/ 22 h 43"/>
                <a:gd name="T6" fmla="*/ 32 w 513"/>
                <a:gd name="T7" fmla="*/ 0 h 43"/>
                <a:gd name="T8" fmla="*/ 495 w 513"/>
                <a:gd name="T9" fmla="*/ 0 h 43"/>
                <a:gd name="T10" fmla="*/ 510 w 513"/>
                <a:gd name="T11" fmla="*/ 22 h 43"/>
                <a:gd name="T12" fmla="*/ 482 w 513"/>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482" y="43"/>
                  </a:moveTo>
                  <a:lnTo>
                    <a:pt x="19" y="43"/>
                  </a:lnTo>
                  <a:cubicBezTo>
                    <a:pt x="7" y="43"/>
                    <a:pt x="0" y="34"/>
                    <a:pt x="4" y="22"/>
                  </a:cubicBezTo>
                  <a:cubicBezTo>
                    <a:pt x="8" y="10"/>
                    <a:pt x="20" y="0"/>
                    <a:pt x="32" y="0"/>
                  </a:cubicBezTo>
                  <a:lnTo>
                    <a:pt x="495" y="0"/>
                  </a:lnTo>
                  <a:cubicBezTo>
                    <a:pt x="507" y="0"/>
                    <a:pt x="513" y="10"/>
                    <a:pt x="510" y="22"/>
                  </a:cubicBezTo>
                  <a:cubicBezTo>
                    <a:pt x="506" y="34"/>
                    <a:pt x="494" y="43"/>
                    <a:pt x="482" y="43"/>
                  </a:cubicBezTo>
                  <a:close/>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72">
              <a:extLst>
                <a:ext uri="{FF2B5EF4-FFF2-40B4-BE49-F238E27FC236}">
                  <a16:creationId xmlns:a16="http://schemas.microsoft.com/office/drawing/2014/main" id="{0F0DA2D7-14FC-4E82-A7AE-6F861FDFBB51}"/>
                </a:ext>
              </a:extLst>
            </p:cNvPr>
            <p:cNvSpPr>
              <a:spLocks/>
            </p:cNvSpPr>
            <p:nvPr userDrawn="1"/>
          </p:nvSpPr>
          <p:spPr bwMode="auto">
            <a:xfrm>
              <a:off x="7734300" y="4543425"/>
              <a:ext cx="419100" cy="34925"/>
            </a:xfrm>
            <a:custGeom>
              <a:avLst/>
              <a:gdLst>
                <a:gd name="T0" fmla="*/ 481 w 513"/>
                <a:gd name="T1" fmla="*/ 43 h 43"/>
                <a:gd name="T2" fmla="*/ 19 w 513"/>
                <a:gd name="T3" fmla="*/ 43 h 43"/>
                <a:gd name="T4" fmla="*/ 3 w 513"/>
                <a:gd name="T5" fmla="*/ 22 h 43"/>
                <a:gd name="T6" fmla="*/ 32 w 513"/>
                <a:gd name="T7" fmla="*/ 0 h 43"/>
                <a:gd name="T8" fmla="*/ 494 w 513"/>
                <a:gd name="T9" fmla="*/ 0 h 43"/>
                <a:gd name="T10" fmla="*/ 509 w 513"/>
                <a:gd name="T11" fmla="*/ 22 h 43"/>
                <a:gd name="T12" fmla="*/ 481 w 513"/>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481" y="43"/>
                  </a:moveTo>
                  <a:lnTo>
                    <a:pt x="19" y="43"/>
                  </a:lnTo>
                  <a:cubicBezTo>
                    <a:pt x="7" y="43"/>
                    <a:pt x="0" y="34"/>
                    <a:pt x="3" y="22"/>
                  </a:cubicBezTo>
                  <a:cubicBezTo>
                    <a:pt x="7" y="9"/>
                    <a:pt x="20" y="0"/>
                    <a:pt x="32" y="0"/>
                  </a:cubicBezTo>
                  <a:lnTo>
                    <a:pt x="494" y="0"/>
                  </a:lnTo>
                  <a:cubicBezTo>
                    <a:pt x="506" y="0"/>
                    <a:pt x="513" y="9"/>
                    <a:pt x="509" y="22"/>
                  </a:cubicBezTo>
                  <a:cubicBezTo>
                    <a:pt x="506" y="34"/>
                    <a:pt x="493" y="43"/>
                    <a:pt x="481" y="43"/>
                  </a:cubicBezTo>
                  <a:close/>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73">
              <a:extLst>
                <a:ext uri="{FF2B5EF4-FFF2-40B4-BE49-F238E27FC236}">
                  <a16:creationId xmlns:a16="http://schemas.microsoft.com/office/drawing/2014/main" id="{2A180749-522D-4D6B-8EEB-362529EE2025}"/>
                </a:ext>
              </a:extLst>
            </p:cNvPr>
            <p:cNvSpPr>
              <a:spLocks/>
            </p:cNvSpPr>
            <p:nvPr userDrawn="1"/>
          </p:nvSpPr>
          <p:spPr bwMode="auto">
            <a:xfrm>
              <a:off x="7715250" y="4602163"/>
              <a:ext cx="420688" cy="36513"/>
            </a:xfrm>
            <a:custGeom>
              <a:avLst/>
              <a:gdLst>
                <a:gd name="T0" fmla="*/ 481 w 513"/>
                <a:gd name="T1" fmla="*/ 43 h 43"/>
                <a:gd name="T2" fmla="*/ 19 w 513"/>
                <a:gd name="T3" fmla="*/ 43 h 43"/>
                <a:gd name="T4" fmla="*/ 4 w 513"/>
                <a:gd name="T5" fmla="*/ 21 h 43"/>
                <a:gd name="T6" fmla="*/ 32 w 513"/>
                <a:gd name="T7" fmla="*/ 0 h 43"/>
                <a:gd name="T8" fmla="*/ 494 w 513"/>
                <a:gd name="T9" fmla="*/ 0 h 43"/>
                <a:gd name="T10" fmla="*/ 509 w 513"/>
                <a:gd name="T11" fmla="*/ 21 h 43"/>
                <a:gd name="T12" fmla="*/ 481 w 513"/>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481" y="43"/>
                  </a:moveTo>
                  <a:lnTo>
                    <a:pt x="19" y="43"/>
                  </a:lnTo>
                  <a:cubicBezTo>
                    <a:pt x="7" y="43"/>
                    <a:pt x="0" y="33"/>
                    <a:pt x="4" y="21"/>
                  </a:cubicBezTo>
                  <a:cubicBezTo>
                    <a:pt x="7" y="9"/>
                    <a:pt x="20" y="0"/>
                    <a:pt x="32" y="0"/>
                  </a:cubicBezTo>
                  <a:lnTo>
                    <a:pt x="494" y="0"/>
                  </a:lnTo>
                  <a:cubicBezTo>
                    <a:pt x="506" y="0"/>
                    <a:pt x="513" y="9"/>
                    <a:pt x="509" y="21"/>
                  </a:cubicBezTo>
                  <a:cubicBezTo>
                    <a:pt x="506" y="33"/>
                    <a:pt x="493" y="43"/>
                    <a:pt x="481" y="43"/>
                  </a:cubicBezTo>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74">
              <a:extLst>
                <a:ext uri="{FF2B5EF4-FFF2-40B4-BE49-F238E27FC236}">
                  <a16:creationId xmlns:a16="http://schemas.microsoft.com/office/drawing/2014/main" id="{F152D5A9-F5FD-49A4-BFC9-93926498D3DD}"/>
                </a:ext>
              </a:extLst>
            </p:cNvPr>
            <p:cNvSpPr>
              <a:spLocks/>
            </p:cNvSpPr>
            <p:nvPr userDrawn="1"/>
          </p:nvSpPr>
          <p:spPr bwMode="auto">
            <a:xfrm>
              <a:off x="7697788" y="4662488"/>
              <a:ext cx="420688" cy="34925"/>
            </a:xfrm>
            <a:custGeom>
              <a:avLst/>
              <a:gdLst>
                <a:gd name="T0" fmla="*/ 481 w 513"/>
                <a:gd name="T1" fmla="*/ 44 h 44"/>
                <a:gd name="T2" fmla="*/ 19 w 513"/>
                <a:gd name="T3" fmla="*/ 44 h 44"/>
                <a:gd name="T4" fmla="*/ 4 w 513"/>
                <a:gd name="T5" fmla="*/ 22 h 44"/>
                <a:gd name="T6" fmla="*/ 32 w 513"/>
                <a:gd name="T7" fmla="*/ 0 h 44"/>
                <a:gd name="T8" fmla="*/ 494 w 513"/>
                <a:gd name="T9" fmla="*/ 0 h 44"/>
                <a:gd name="T10" fmla="*/ 510 w 513"/>
                <a:gd name="T11" fmla="*/ 22 h 44"/>
                <a:gd name="T12" fmla="*/ 481 w 513"/>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513" h="44">
                  <a:moveTo>
                    <a:pt x="481" y="44"/>
                  </a:moveTo>
                  <a:lnTo>
                    <a:pt x="19" y="44"/>
                  </a:lnTo>
                  <a:cubicBezTo>
                    <a:pt x="7" y="44"/>
                    <a:pt x="0" y="34"/>
                    <a:pt x="4" y="22"/>
                  </a:cubicBezTo>
                  <a:cubicBezTo>
                    <a:pt x="8" y="10"/>
                    <a:pt x="20" y="0"/>
                    <a:pt x="32" y="0"/>
                  </a:cubicBezTo>
                  <a:lnTo>
                    <a:pt x="494" y="0"/>
                  </a:lnTo>
                  <a:cubicBezTo>
                    <a:pt x="507" y="0"/>
                    <a:pt x="513" y="10"/>
                    <a:pt x="510" y="22"/>
                  </a:cubicBezTo>
                  <a:cubicBezTo>
                    <a:pt x="506" y="34"/>
                    <a:pt x="494" y="44"/>
                    <a:pt x="481" y="44"/>
                  </a:cubicBezTo>
                  <a:close/>
                </a:path>
              </a:pathLst>
            </a:custGeom>
            <a:solidFill>
              <a:srgbClr val="B0D0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175">
              <a:extLst>
                <a:ext uri="{FF2B5EF4-FFF2-40B4-BE49-F238E27FC236}">
                  <a16:creationId xmlns:a16="http://schemas.microsoft.com/office/drawing/2014/main" id="{B5B8CF37-EEDD-4AEB-8314-6F55E14B22C3}"/>
                </a:ext>
              </a:extLst>
            </p:cNvPr>
            <p:cNvSpPr>
              <a:spLocks/>
            </p:cNvSpPr>
            <p:nvPr userDrawn="1"/>
          </p:nvSpPr>
          <p:spPr bwMode="auto">
            <a:xfrm>
              <a:off x="7248525" y="3773488"/>
              <a:ext cx="1211263" cy="431800"/>
            </a:xfrm>
            <a:custGeom>
              <a:avLst/>
              <a:gdLst>
                <a:gd name="T0" fmla="*/ 1335 w 1478"/>
                <a:gd name="T1" fmla="*/ 497 h 526"/>
                <a:gd name="T2" fmla="*/ 1296 w 1478"/>
                <a:gd name="T3" fmla="*/ 526 h 526"/>
                <a:gd name="T4" fmla="*/ 25 w 1478"/>
                <a:gd name="T5" fmla="*/ 526 h 526"/>
                <a:gd name="T6" fmla="*/ 5 w 1478"/>
                <a:gd name="T7" fmla="*/ 497 h 526"/>
                <a:gd name="T8" fmla="*/ 143 w 1478"/>
                <a:gd name="T9" fmla="*/ 30 h 526"/>
                <a:gd name="T10" fmla="*/ 182 w 1478"/>
                <a:gd name="T11" fmla="*/ 0 h 526"/>
                <a:gd name="T12" fmla="*/ 1453 w 1478"/>
                <a:gd name="T13" fmla="*/ 0 h 526"/>
                <a:gd name="T14" fmla="*/ 1473 w 1478"/>
                <a:gd name="T15" fmla="*/ 30 h 526"/>
                <a:gd name="T16" fmla="*/ 1335 w 1478"/>
                <a:gd name="T17" fmla="*/ 49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8" h="526">
                  <a:moveTo>
                    <a:pt x="1335" y="497"/>
                  </a:moveTo>
                  <a:cubicBezTo>
                    <a:pt x="1330" y="513"/>
                    <a:pt x="1313" y="526"/>
                    <a:pt x="1296" y="526"/>
                  </a:cubicBezTo>
                  <a:lnTo>
                    <a:pt x="25" y="526"/>
                  </a:lnTo>
                  <a:cubicBezTo>
                    <a:pt x="9" y="526"/>
                    <a:pt x="0" y="513"/>
                    <a:pt x="5" y="497"/>
                  </a:cubicBezTo>
                  <a:lnTo>
                    <a:pt x="143" y="30"/>
                  </a:lnTo>
                  <a:cubicBezTo>
                    <a:pt x="148" y="14"/>
                    <a:pt x="165" y="0"/>
                    <a:pt x="182" y="0"/>
                  </a:cubicBezTo>
                  <a:lnTo>
                    <a:pt x="1453" y="0"/>
                  </a:lnTo>
                  <a:cubicBezTo>
                    <a:pt x="1469" y="0"/>
                    <a:pt x="1478" y="14"/>
                    <a:pt x="1473" y="30"/>
                  </a:cubicBezTo>
                  <a:lnTo>
                    <a:pt x="1335" y="497"/>
                  </a:ln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76">
              <a:extLst>
                <a:ext uri="{FF2B5EF4-FFF2-40B4-BE49-F238E27FC236}">
                  <a16:creationId xmlns:a16="http://schemas.microsoft.com/office/drawing/2014/main" id="{ECD770CF-01E1-488E-A284-9180AEE75768}"/>
                </a:ext>
              </a:extLst>
            </p:cNvPr>
            <p:cNvSpPr>
              <a:spLocks/>
            </p:cNvSpPr>
            <p:nvPr userDrawn="1"/>
          </p:nvSpPr>
          <p:spPr bwMode="auto">
            <a:xfrm>
              <a:off x="7500938" y="4270375"/>
              <a:ext cx="422275" cy="92075"/>
            </a:xfrm>
            <a:custGeom>
              <a:avLst/>
              <a:gdLst>
                <a:gd name="T0" fmla="*/ 496 w 517"/>
                <a:gd name="T1" fmla="*/ 83 h 113"/>
                <a:gd name="T2" fmla="*/ 458 w 517"/>
                <a:gd name="T3" fmla="*/ 113 h 113"/>
                <a:gd name="T4" fmla="*/ 25 w 517"/>
                <a:gd name="T5" fmla="*/ 113 h 113"/>
                <a:gd name="T6" fmla="*/ 4 w 517"/>
                <a:gd name="T7" fmla="*/ 83 h 113"/>
                <a:gd name="T8" fmla="*/ 20 w 517"/>
                <a:gd name="T9" fmla="*/ 30 h 113"/>
                <a:gd name="T10" fmla="*/ 59 w 517"/>
                <a:gd name="T11" fmla="*/ 0 h 113"/>
                <a:gd name="T12" fmla="*/ 492 w 517"/>
                <a:gd name="T13" fmla="*/ 0 h 113"/>
                <a:gd name="T14" fmla="*/ 512 w 517"/>
                <a:gd name="T15" fmla="*/ 30 h 113"/>
                <a:gd name="T16" fmla="*/ 496 w 517"/>
                <a:gd name="T17" fmla="*/ 8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7" h="113">
                  <a:moveTo>
                    <a:pt x="496" y="83"/>
                  </a:moveTo>
                  <a:cubicBezTo>
                    <a:pt x="492" y="100"/>
                    <a:pt x="474" y="113"/>
                    <a:pt x="458" y="113"/>
                  </a:cubicBezTo>
                  <a:lnTo>
                    <a:pt x="25" y="113"/>
                  </a:lnTo>
                  <a:cubicBezTo>
                    <a:pt x="9" y="113"/>
                    <a:pt x="0" y="100"/>
                    <a:pt x="4" y="83"/>
                  </a:cubicBezTo>
                  <a:lnTo>
                    <a:pt x="20" y="30"/>
                  </a:lnTo>
                  <a:cubicBezTo>
                    <a:pt x="25" y="13"/>
                    <a:pt x="42" y="0"/>
                    <a:pt x="59" y="0"/>
                  </a:cubicBezTo>
                  <a:lnTo>
                    <a:pt x="492" y="0"/>
                  </a:lnTo>
                  <a:cubicBezTo>
                    <a:pt x="508" y="0"/>
                    <a:pt x="517" y="13"/>
                    <a:pt x="512" y="30"/>
                  </a:cubicBezTo>
                  <a:lnTo>
                    <a:pt x="496" y="83"/>
                  </a:ln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77">
              <a:extLst>
                <a:ext uri="{FF2B5EF4-FFF2-40B4-BE49-F238E27FC236}">
                  <a16:creationId xmlns:a16="http://schemas.microsoft.com/office/drawing/2014/main" id="{DDBAF0B2-EDF7-4B11-B902-8B2CA5026ED5}"/>
                </a:ext>
              </a:extLst>
            </p:cNvPr>
            <p:cNvSpPr>
              <a:spLocks/>
            </p:cNvSpPr>
            <p:nvPr userDrawn="1"/>
          </p:nvSpPr>
          <p:spPr bwMode="auto">
            <a:xfrm>
              <a:off x="7231063" y="4422775"/>
              <a:ext cx="419100" cy="34925"/>
            </a:xfrm>
            <a:custGeom>
              <a:avLst/>
              <a:gdLst>
                <a:gd name="T0" fmla="*/ 510 w 513"/>
                <a:gd name="T1" fmla="*/ 22 h 43"/>
                <a:gd name="T2" fmla="*/ 481 w 513"/>
                <a:gd name="T3" fmla="*/ 43 h 43"/>
                <a:gd name="T4" fmla="*/ 19 w 513"/>
                <a:gd name="T5" fmla="*/ 43 h 43"/>
                <a:gd name="T6" fmla="*/ 4 w 513"/>
                <a:gd name="T7" fmla="*/ 22 h 43"/>
                <a:gd name="T8" fmla="*/ 32 w 513"/>
                <a:gd name="T9" fmla="*/ 0 h 43"/>
                <a:gd name="T10" fmla="*/ 494 w 513"/>
                <a:gd name="T11" fmla="*/ 0 h 43"/>
                <a:gd name="T12" fmla="*/ 510 w 513"/>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510" y="22"/>
                  </a:moveTo>
                  <a:cubicBezTo>
                    <a:pt x="506" y="34"/>
                    <a:pt x="493" y="43"/>
                    <a:pt x="481" y="43"/>
                  </a:cubicBezTo>
                  <a:lnTo>
                    <a:pt x="19" y="43"/>
                  </a:lnTo>
                  <a:cubicBezTo>
                    <a:pt x="7" y="43"/>
                    <a:pt x="0" y="34"/>
                    <a:pt x="4" y="22"/>
                  </a:cubicBezTo>
                  <a:cubicBezTo>
                    <a:pt x="7" y="10"/>
                    <a:pt x="20" y="0"/>
                    <a:pt x="32" y="0"/>
                  </a:cubicBezTo>
                  <a:lnTo>
                    <a:pt x="494" y="0"/>
                  </a:lnTo>
                  <a:cubicBezTo>
                    <a:pt x="506" y="0"/>
                    <a:pt x="513" y="10"/>
                    <a:pt x="510" y="22"/>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78">
              <a:extLst>
                <a:ext uri="{FF2B5EF4-FFF2-40B4-BE49-F238E27FC236}">
                  <a16:creationId xmlns:a16="http://schemas.microsoft.com/office/drawing/2014/main" id="{208CB87D-F5BB-4E95-94F5-2494005103B6}"/>
                </a:ext>
              </a:extLst>
            </p:cNvPr>
            <p:cNvSpPr>
              <a:spLocks/>
            </p:cNvSpPr>
            <p:nvPr userDrawn="1"/>
          </p:nvSpPr>
          <p:spPr bwMode="auto">
            <a:xfrm>
              <a:off x="7213600" y="4481513"/>
              <a:ext cx="420688" cy="36513"/>
            </a:xfrm>
            <a:custGeom>
              <a:avLst/>
              <a:gdLst>
                <a:gd name="T0" fmla="*/ 509 w 513"/>
                <a:gd name="T1" fmla="*/ 22 h 43"/>
                <a:gd name="T2" fmla="*/ 481 w 513"/>
                <a:gd name="T3" fmla="*/ 43 h 43"/>
                <a:gd name="T4" fmla="*/ 19 w 513"/>
                <a:gd name="T5" fmla="*/ 43 h 43"/>
                <a:gd name="T6" fmla="*/ 3 w 513"/>
                <a:gd name="T7" fmla="*/ 22 h 43"/>
                <a:gd name="T8" fmla="*/ 32 w 513"/>
                <a:gd name="T9" fmla="*/ 0 h 43"/>
                <a:gd name="T10" fmla="*/ 494 w 513"/>
                <a:gd name="T11" fmla="*/ 0 h 43"/>
                <a:gd name="T12" fmla="*/ 509 w 513"/>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509" y="22"/>
                  </a:moveTo>
                  <a:cubicBezTo>
                    <a:pt x="505" y="34"/>
                    <a:pt x="493" y="43"/>
                    <a:pt x="481" y="43"/>
                  </a:cubicBezTo>
                  <a:lnTo>
                    <a:pt x="19" y="43"/>
                  </a:lnTo>
                  <a:cubicBezTo>
                    <a:pt x="7" y="43"/>
                    <a:pt x="0" y="34"/>
                    <a:pt x="3" y="22"/>
                  </a:cubicBezTo>
                  <a:cubicBezTo>
                    <a:pt x="7" y="9"/>
                    <a:pt x="19" y="0"/>
                    <a:pt x="32" y="0"/>
                  </a:cubicBezTo>
                  <a:lnTo>
                    <a:pt x="494" y="0"/>
                  </a:lnTo>
                  <a:cubicBezTo>
                    <a:pt x="506" y="0"/>
                    <a:pt x="513" y="9"/>
                    <a:pt x="509" y="22"/>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79">
              <a:extLst>
                <a:ext uri="{FF2B5EF4-FFF2-40B4-BE49-F238E27FC236}">
                  <a16:creationId xmlns:a16="http://schemas.microsoft.com/office/drawing/2014/main" id="{54120837-4BD3-4C3B-B34F-44F295C11951}"/>
                </a:ext>
              </a:extLst>
            </p:cNvPr>
            <p:cNvSpPr>
              <a:spLocks/>
            </p:cNvSpPr>
            <p:nvPr userDrawn="1"/>
          </p:nvSpPr>
          <p:spPr bwMode="auto">
            <a:xfrm>
              <a:off x="7196138" y="4541838"/>
              <a:ext cx="419100" cy="34925"/>
            </a:xfrm>
            <a:custGeom>
              <a:avLst/>
              <a:gdLst>
                <a:gd name="T0" fmla="*/ 509 w 513"/>
                <a:gd name="T1" fmla="*/ 21 h 43"/>
                <a:gd name="T2" fmla="*/ 481 w 513"/>
                <a:gd name="T3" fmla="*/ 43 h 43"/>
                <a:gd name="T4" fmla="*/ 19 w 513"/>
                <a:gd name="T5" fmla="*/ 43 h 43"/>
                <a:gd name="T6" fmla="*/ 4 w 513"/>
                <a:gd name="T7" fmla="*/ 21 h 43"/>
                <a:gd name="T8" fmla="*/ 32 w 513"/>
                <a:gd name="T9" fmla="*/ 0 h 43"/>
                <a:gd name="T10" fmla="*/ 494 w 513"/>
                <a:gd name="T11" fmla="*/ 0 h 43"/>
                <a:gd name="T12" fmla="*/ 509 w 513"/>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509" y="21"/>
                  </a:moveTo>
                  <a:cubicBezTo>
                    <a:pt x="506" y="34"/>
                    <a:pt x="493" y="43"/>
                    <a:pt x="481" y="43"/>
                  </a:cubicBezTo>
                  <a:lnTo>
                    <a:pt x="19" y="43"/>
                  </a:lnTo>
                  <a:cubicBezTo>
                    <a:pt x="7" y="43"/>
                    <a:pt x="0" y="34"/>
                    <a:pt x="4" y="21"/>
                  </a:cubicBezTo>
                  <a:cubicBezTo>
                    <a:pt x="7" y="9"/>
                    <a:pt x="20" y="0"/>
                    <a:pt x="32" y="0"/>
                  </a:cubicBezTo>
                  <a:lnTo>
                    <a:pt x="494" y="0"/>
                  </a:lnTo>
                  <a:cubicBezTo>
                    <a:pt x="506" y="0"/>
                    <a:pt x="513" y="9"/>
                    <a:pt x="509" y="21"/>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80">
              <a:extLst>
                <a:ext uri="{FF2B5EF4-FFF2-40B4-BE49-F238E27FC236}">
                  <a16:creationId xmlns:a16="http://schemas.microsoft.com/office/drawing/2014/main" id="{2257AE08-E715-43F2-9767-ADECA63252B0}"/>
                </a:ext>
              </a:extLst>
            </p:cNvPr>
            <p:cNvSpPr>
              <a:spLocks/>
            </p:cNvSpPr>
            <p:nvPr userDrawn="1"/>
          </p:nvSpPr>
          <p:spPr bwMode="auto">
            <a:xfrm>
              <a:off x="7177088" y="4602163"/>
              <a:ext cx="420688" cy="34925"/>
            </a:xfrm>
            <a:custGeom>
              <a:avLst/>
              <a:gdLst>
                <a:gd name="T0" fmla="*/ 510 w 513"/>
                <a:gd name="T1" fmla="*/ 21 h 43"/>
                <a:gd name="T2" fmla="*/ 481 w 513"/>
                <a:gd name="T3" fmla="*/ 43 h 43"/>
                <a:gd name="T4" fmla="*/ 19 w 513"/>
                <a:gd name="T5" fmla="*/ 43 h 43"/>
                <a:gd name="T6" fmla="*/ 4 w 513"/>
                <a:gd name="T7" fmla="*/ 21 h 43"/>
                <a:gd name="T8" fmla="*/ 32 w 513"/>
                <a:gd name="T9" fmla="*/ 0 h 43"/>
                <a:gd name="T10" fmla="*/ 494 w 513"/>
                <a:gd name="T11" fmla="*/ 0 h 43"/>
                <a:gd name="T12" fmla="*/ 510 w 513"/>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510" y="21"/>
                  </a:moveTo>
                  <a:cubicBezTo>
                    <a:pt x="506" y="33"/>
                    <a:pt x="493" y="43"/>
                    <a:pt x="481" y="43"/>
                  </a:cubicBezTo>
                  <a:lnTo>
                    <a:pt x="19" y="43"/>
                  </a:lnTo>
                  <a:cubicBezTo>
                    <a:pt x="7" y="43"/>
                    <a:pt x="0" y="33"/>
                    <a:pt x="4" y="21"/>
                  </a:cubicBezTo>
                  <a:cubicBezTo>
                    <a:pt x="7" y="9"/>
                    <a:pt x="20" y="0"/>
                    <a:pt x="32" y="0"/>
                  </a:cubicBezTo>
                  <a:lnTo>
                    <a:pt x="494" y="0"/>
                  </a:lnTo>
                  <a:cubicBezTo>
                    <a:pt x="506" y="0"/>
                    <a:pt x="513" y="9"/>
                    <a:pt x="510" y="21"/>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181">
              <a:extLst>
                <a:ext uri="{FF2B5EF4-FFF2-40B4-BE49-F238E27FC236}">
                  <a16:creationId xmlns:a16="http://schemas.microsoft.com/office/drawing/2014/main" id="{427F472A-4536-41AA-9CD1-13E2347B1F9B}"/>
                </a:ext>
              </a:extLst>
            </p:cNvPr>
            <p:cNvSpPr>
              <a:spLocks/>
            </p:cNvSpPr>
            <p:nvPr userDrawn="1"/>
          </p:nvSpPr>
          <p:spPr bwMode="auto">
            <a:xfrm>
              <a:off x="7689850" y="4422775"/>
              <a:ext cx="420688" cy="34925"/>
            </a:xfrm>
            <a:custGeom>
              <a:avLst/>
              <a:gdLst>
                <a:gd name="T0" fmla="*/ 510 w 513"/>
                <a:gd name="T1" fmla="*/ 22 h 43"/>
                <a:gd name="T2" fmla="*/ 482 w 513"/>
                <a:gd name="T3" fmla="*/ 43 h 43"/>
                <a:gd name="T4" fmla="*/ 19 w 513"/>
                <a:gd name="T5" fmla="*/ 43 h 43"/>
                <a:gd name="T6" fmla="*/ 4 w 513"/>
                <a:gd name="T7" fmla="*/ 22 h 43"/>
                <a:gd name="T8" fmla="*/ 32 w 513"/>
                <a:gd name="T9" fmla="*/ 0 h 43"/>
                <a:gd name="T10" fmla="*/ 495 w 513"/>
                <a:gd name="T11" fmla="*/ 0 h 43"/>
                <a:gd name="T12" fmla="*/ 510 w 513"/>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510" y="22"/>
                  </a:moveTo>
                  <a:cubicBezTo>
                    <a:pt x="506" y="34"/>
                    <a:pt x="494" y="43"/>
                    <a:pt x="482" y="43"/>
                  </a:cubicBezTo>
                  <a:lnTo>
                    <a:pt x="19" y="43"/>
                  </a:lnTo>
                  <a:cubicBezTo>
                    <a:pt x="7" y="43"/>
                    <a:pt x="0" y="34"/>
                    <a:pt x="4" y="22"/>
                  </a:cubicBezTo>
                  <a:cubicBezTo>
                    <a:pt x="8" y="10"/>
                    <a:pt x="20" y="0"/>
                    <a:pt x="32" y="0"/>
                  </a:cubicBezTo>
                  <a:lnTo>
                    <a:pt x="495" y="0"/>
                  </a:lnTo>
                  <a:cubicBezTo>
                    <a:pt x="507" y="0"/>
                    <a:pt x="513" y="10"/>
                    <a:pt x="510" y="22"/>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82">
              <a:extLst>
                <a:ext uri="{FF2B5EF4-FFF2-40B4-BE49-F238E27FC236}">
                  <a16:creationId xmlns:a16="http://schemas.microsoft.com/office/drawing/2014/main" id="{D3E15412-672A-4411-AE09-1F2B64DF6B70}"/>
                </a:ext>
              </a:extLst>
            </p:cNvPr>
            <p:cNvSpPr>
              <a:spLocks/>
            </p:cNvSpPr>
            <p:nvPr userDrawn="1"/>
          </p:nvSpPr>
          <p:spPr bwMode="auto">
            <a:xfrm>
              <a:off x="7672388" y="4481513"/>
              <a:ext cx="420688" cy="36513"/>
            </a:xfrm>
            <a:custGeom>
              <a:avLst/>
              <a:gdLst>
                <a:gd name="T0" fmla="*/ 509 w 513"/>
                <a:gd name="T1" fmla="*/ 22 h 43"/>
                <a:gd name="T2" fmla="*/ 481 w 513"/>
                <a:gd name="T3" fmla="*/ 43 h 43"/>
                <a:gd name="T4" fmla="*/ 19 w 513"/>
                <a:gd name="T5" fmla="*/ 43 h 43"/>
                <a:gd name="T6" fmla="*/ 3 w 513"/>
                <a:gd name="T7" fmla="*/ 22 h 43"/>
                <a:gd name="T8" fmla="*/ 32 w 513"/>
                <a:gd name="T9" fmla="*/ 0 h 43"/>
                <a:gd name="T10" fmla="*/ 494 w 513"/>
                <a:gd name="T11" fmla="*/ 0 h 43"/>
                <a:gd name="T12" fmla="*/ 509 w 513"/>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509" y="22"/>
                  </a:moveTo>
                  <a:cubicBezTo>
                    <a:pt x="506" y="34"/>
                    <a:pt x="493" y="43"/>
                    <a:pt x="481" y="43"/>
                  </a:cubicBezTo>
                  <a:lnTo>
                    <a:pt x="19" y="43"/>
                  </a:lnTo>
                  <a:cubicBezTo>
                    <a:pt x="7" y="43"/>
                    <a:pt x="0" y="34"/>
                    <a:pt x="3" y="22"/>
                  </a:cubicBezTo>
                  <a:cubicBezTo>
                    <a:pt x="7" y="9"/>
                    <a:pt x="20" y="0"/>
                    <a:pt x="32" y="0"/>
                  </a:cubicBezTo>
                  <a:lnTo>
                    <a:pt x="494" y="0"/>
                  </a:lnTo>
                  <a:cubicBezTo>
                    <a:pt x="506" y="0"/>
                    <a:pt x="513" y="9"/>
                    <a:pt x="509" y="22"/>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83">
              <a:extLst>
                <a:ext uri="{FF2B5EF4-FFF2-40B4-BE49-F238E27FC236}">
                  <a16:creationId xmlns:a16="http://schemas.microsoft.com/office/drawing/2014/main" id="{E68A2901-1EC1-414F-8B0C-47C085D5962C}"/>
                </a:ext>
              </a:extLst>
            </p:cNvPr>
            <p:cNvSpPr>
              <a:spLocks/>
            </p:cNvSpPr>
            <p:nvPr userDrawn="1"/>
          </p:nvSpPr>
          <p:spPr bwMode="auto">
            <a:xfrm>
              <a:off x="7654925" y="4541838"/>
              <a:ext cx="420688" cy="34925"/>
            </a:xfrm>
            <a:custGeom>
              <a:avLst/>
              <a:gdLst>
                <a:gd name="T0" fmla="*/ 510 w 513"/>
                <a:gd name="T1" fmla="*/ 21 h 43"/>
                <a:gd name="T2" fmla="*/ 481 w 513"/>
                <a:gd name="T3" fmla="*/ 43 h 43"/>
                <a:gd name="T4" fmla="*/ 19 w 513"/>
                <a:gd name="T5" fmla="*/ 43 h 43"/>
                <a:gd name="T6" fmla="*/ 4 w 513"/>
                <a:gd name="T7" fmla="*/ 21 h 43"/>
                <a:gd name="T8" fmla="*/ 32 w 513"/>
                <a:gd name="T9" fmla="*/ 0 h 43"/>
                <a:gd name="T10" fmla="*/ 494 w 513"/>
                <a:gd name="T11" fmla="*/ 0 h 43"/>
                <a:gd name="T12" fmla="*/ 510 w 513"/>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510" y="21"/>
                  </a:moveTo>
                  <a:cubicBezTo>
                    <a:pt x="506" y="34"/>
                    <a:pt x="493" y="43"/>
                    <a:pt x="481" y="43"/>
                  </a:cubicBezTo>
                  <a:lnTo>
                    <a:pt x="19" y="43"/>
                  </a:lnTo>
                  <a:cubicBezTo>
                    <a:pt x="7" y="43"/>
                    <a:pt x="0" y="34"/>
                    <a:pt x="4" y="21"/>
                  </a:cubicBezTo>
                  <a:cubicBezTo>
                    <a:pt x="7" y="9"/>
                    <a:pt x="20" y="0"/>
                    <a:pt x="32" y="0"/>
                  </a:cubicBezTo>
                  <a:lnTo>
                    <a:pt x="494" y="0"/>
                  </a:lnTo>
                  <a:cubicBezTo>
                    <a:pt x="506" y="0"/>
                    <a:pt x="513" y="9"/>
                    <a:pt x="510" y="21"/>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84">
              <a:extLst>
                <a:ext uri="{FF2B5EF4-FFF2-40B4-BE49-F238E27FC236}">
                  <a16:creationId xmlns:a16="http://schemas.microsoft.com/office/drawing/2014/main" id="{AE4201E0-36AE-4DCF-B698-1D642D3C688D}"/>
                </a:ext>
              </a:extLst>
            </p:cNvPr>
            <p:cNvSpPr>
              <a:spLocks/>
            </p:cNvSpPr>
            <p:nvPr userDrawn="1"/>
          </p:nvSpPr>
          <p:spPr bwMode="auto">
            <a:xfrm>
              <a:off x="7637463" y="4602163"/>
              <a:ext cx="419100" cy="34925"/>
            </a:xfrm>
            <a:custGeom>
              <a:avLst/>
              <a:gdLst>
                <a:gd name="T0" fmla="*/ 510 w 513"/>
                <a:gd name="T1" fmla="*/ 21 h 43"/>
                <a:gd name="T2" fmla="*/ 482 w 513"/>
                <a:gd name="T3" fmla="*/ 43 h 43"/>
                <a:gd name="T4" fmla="*/ 19 w 513"/>
                <a:gd name="T5" fmla="*/ 43 h 43"/>
                <a:gd name="T6" fmla="*/ 4 w 513"/>
                <a:gd name="T7" fmla="*/ 21 h 43"/>
                <a:gd name="T8" fmla="*/ 32 w 513"/>
                <a:gd name="T9" fmla="*/ 0 h 43"/>
                <a:gd name="T10" fmla="*/ 495 w 513"/>
                <a:gd name="T11" fmla="*/ 0 h 43"/>
                <a:gd name="T12" fmla="*/ 510 w 513"/>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513" h="43">
                  <a:moveTo>
                    <a:pt x="510" y="21"/>
                  </a:moveTo>
                  <a:cubicBezTo>
                    <a:pt x="506" y="33"/>
                    <a:pt x="494" y="43"/>
                    <a:pt x="482" y="43"/>
                  </a:cubicBezTo>
                  <a:lnTo>
                    <a:pt x="19" y="43"/>
                  </a:lnTo>
                  <a:cubicBezTo>
                    <a:pt x="7" y="43"/>
                    <a:pt x="0" y="33"/>
                    <a:pt x="4" y="21"/>
                  </a:cubicBezTo>
                  <a:cubicBezTo>
                    <a:pt x="8" y="9"/>
                    <a:pt x="20" y="0"/>
                    <a:pt x="32" y="0"/>
                  </a:cubicBezTo>
                  <a:lnTo>
                    <a:pt x="495" y="0"/>
                  </a:lnTo>
                  <a:cubicBezTo>
                    <a:pt x="507" y="0"/>
                    <a:pt x="513" y="9"/>
                    <a:pt x="510" y="21"/>
                  </a:cubicBez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85">
              <a:extLst>
                <a:ext uri="{FF2B5EF4-FFF2-40B4-BE49-F238E27FC236}">
                  <a16:creationId xmlns:a16="http://schemas.microsoft.com/office/drawing/2014/main" id="{2DD81BE3-E344-45F8-9330-238144439171}"/>
                </a:ext>
              </a:extLst>
            </p:cNvPr>
            <p:cNvSpPr>
              <a:spLocks/>
            </p:cNvSpPr>
            <p:nvPr userDrawn="1"/>
          </p:nvSpPr>
          <p:spPr bwMode="auto">
            <a:xfrm>
              <a:off x="8445500" y="3883025"/>
              <a:ext cx="1214438" cy="773113"/>
            </a:xfrm>
            <a:custGeom>
              <a:avLst/>
              <a:gdLst>
                <a:gd name="T0" fmla="*/ 1216 w 1481"/>
                <a:gd name="T1" fmla="*/ 794 h 942"/>
                <a:gd name="T2" fmla="*/ 1039 w 1481"/>
                <a:gd name="T3" fmla="*/ 942 h 942"/>
                <a:gd name="T4" fmla="*/ 148 w 1481"/>
                <a:gd name="T5" fmla="*/ 942 h 942"/>
                <a:gd name="T6" fmla="*/ 0 w 1481"/>
                <a:gd name="T7" fmla="*/ 794 h 942"/>
                <a:gd name="T8" fmla="*/ 237 w 1481"/>
                <a:gd name="T9" fmla="*/ 148 h 942"/>
                <a:gd name="T10" fmla="*/ 385 w 1481"/>
                <a:gd name="T11" fmla="*/ 0 h 942"/>
                <a:gd name="T12" fmla="*/ 1305 w 1481"/>
                <a:gd name="T13" fmla="*/ 0 h 942"/>
                <a:gd name="T14" fmla="*/ 1453 w 1481"/>
                <a:gd name="T15" fmla="*/ 148 h 942"/>
                <a:gd name="T16" fmla="*/ 1216 w 1481"/>
                <a:gd name="T17" fmla="*/ 79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1" h="942">
                  <a:moveTo>
                    <a:pt x="1216" y="794"/>
                  </a:moveTo>
                  <a:cubicBezTo>
                    <a:pt x="1193" y="853"/>
                    <a:pt x="1121" y="942"/>
                    <a:pt x="1039" y="942"/>
                  </a:cubicBezTo>
                  <a:lnTo>
                    <a:pt x="148" y="942"/>
                  </a:lnTo>
                  <a:cubicBezTo>
                    <a:pt x="67" y="942"/>
                    <a:pt x="0" y="876"/>
                    <a:pt x="0" y="794"/>
                  </a:cubicBezTo>
                  <a:lnTo>
                    <a:pt x="237" y="148"/>
                  </a:lnTo>
                  <a:cubicBezTo>
                    <a:pt x="268" y="58"/>
                    <a:pt x="303" y="0"/>
                    <a:pt x="385" y="0"/>
                  </a:cubicBezTo>
                  <a:lnTo>
                    <a:pt x="1305" y="0"/>
                  </a:lnTo>
                  <a:cubicBezTo>
                    <a:pt x="1387" y="0"/>
                    <a:pt x="1481" y="57"/>
                    <a:pt x="1453" y="148"/>
                  </a:cubicBezTo>
                  <a:lnTo>
                    <a:pt x="1216" y="794"/>
                  </a:lnTo>
                  <a:close/>
                </a:path>
              </a:pathLst>
            </a:custGeom>
            <a:solidFill>
              <a:srgbClr val="56C5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86">
              <a:extLst>
                <a:ext uri="{FF2B5EF4-FFF2-40B4-BE49-F238E27FC236}">
                  <a16:creationId xmlns:a16="http://schemas.microsoft.com/office/drawing/2014/main" id="{D2174174-CEE3-4AA1-A638-B87E4C9EC96E}"/>
                </a:ext>
              </a:extLst>
            </p:cNvPr>
            <p:cNvSpPr>
              <a:spLocks/>
            </p:cNvSpPr>
            <p:nvPr userDrawn="1"/>
          </p:nvSpPr>
          <p:spPr bwMode="auto">
            <a:xfrm>
              <a:off x="8589963" y="3962400"/>
              <a:ext cx="387350" cy="233363"/>
            </a:xfrm>
            <a:custGeom>
              <a:avLst/>
              <a:gdLst>
                <a:gd name="T0" fmla="*/ 473 w 473"/>
                <a:gd name="T1" fmla="*/ 4 h 284"/>
                <a:gd name="T2" fmla="*/ 401 w 473"/>
                <a:gd name="T3" fmla="*/ 118 h 284"/>
                <a:gd name="T4" fmla="*/ 385 w 473"/>
                <a:gd name="T5" fmla="*/ 117 h 284"/>
                <a:gd name="T6" fmla="*/ 120 w 473"/>
                <a:gd name="T7" fmla="*/ 284 h 284"/>
                <a:gd name="T8" fmla="*/ 0 w 473"/>
                <a:gd name="T9" fmla="*/ 284 h 284"/>
                <a:gd name="T10" fmla="*/ 420 w 473"/>
                <a:gd name="T11" fmla="*/ 0 h 284"/>
                <a:gd name="T12" fmla="*/ 473 w 473"/>
                <a:gd name="T13" fmla="*/ 4 h 284"/>
              </a:gdLst>
              <a:ahLst/>
              <a:cxnLst>
                <a:cxn ang="0">
                  <a:pos x="T0" y="T1"/>
                </a:cxn>
                <a:cxn ang="0">
                  <a:pos x="T2" y="T3"/>
                </a:cxn>
                <a:cxn ang="0">
                  <a:pos x="T4" y="T5"/>
                </a:cxn>
                <a:cxn ang="0">
                  <a:pos x="T6" y="T7"/>
                </a:cxn>
                <a:cxn ang="0">
                  <a:pos x="T8" y="T9"/>
                </a:cxn>
                <a:cxn ang="0">
                  <a:pos x="T10" y="T11"/>
                </a:cxn>
                <a:cxn ang="0">
                  <a:pos x="T12" y="T13"/>
                </a:cxn>
              </a:cxnLst>
              <a:rect l="0" t="0" r="r" b="b"/>
              <a:pathLst>
                <a:path w="473" h="284">
                  <a:moveTo>
                    <a:pt x="473" y="4"/>
                  </a:moveTo>
                  <a:lnTo>
                    <a:pt x="401" y="118"/>
                  </a:lnTo>
                  <a:cubicBezTo>
                    <a:pt x="396" y="117"/>
                    <a:pt x="390" y="117"/>
                    <a:pt x="385" y="117"/>
                  </a:cubicBezTo>
                  <a:cubicBezTo>
                    <a:pt x="281" y="117"/>
                    <a:pt x="173" y="188"/>
                    <a:pt x="120" y="284"/>
                  </a:cubicBezTo>
                  <a:lnTo>
                    <a:pt x="0" y="284"/>
                  </a:lnTo>
                  <a:cubicBezTo>
                    <a:pt x="74" y="123"/>
                    <a:pt x="251" y="0"/>
                    <a:pt x="420" y="0"/>
                  </a:cubicBezTo>
                  <a:cubicBezTo>
                    <a:pt x="439" y="0"/>
                    <a:pt x="456" y="1"/>
                    <a:pt x="473" y="4"/>
                  </a:cubicBezTo>
                </a:path>
              </a:pathLst>
            </a:custGeom>
            <a:solidFill>
              <a:srgbClr val="3989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87">
              <a:extLst>
                <a:ext uri="{FF2B5EF4-FFF2-40B4-BE49-F238E27FC236}">
                  <a16:creationId xmlns:a16="http://schemas.microsoft.com/office/drawing/2014/main" id="{BB95EE03-9368-477D-92A7-E14AEB287886}"/>
                </a:ext>
              </a:extLst>
            </p:cNvPr>
            <p:cNvSpPr>
              <a:spLocks/>
            </p:cNvSpPr>
            <p:nvPr userDrawn="1"/>
          </p:nvSpPr>
          <p:spPr bwMode="auto">
            <a:xfrm>
              <a:off x="8550275" y="4286250"/>
              <a:ext cx="155575" cy="201613"/>
            </a:xfrm>
            <a:custGeom>
              <a:avLst/>
              <a:gdLst>
                <a:gd name="T0" fmla="*/ 189 w 189"/>
                <a:gd name="T1" fmla="*/ 130 h 244"/>
                <a:gd name="T2" fmla="*/ 116 w 189"/>
                <a:gd name="T3" fmla="*/ 244 h 244"/>
                <a:gd name="T4" fmla="*/ 14 w 189"/>
                <a:gd name="T5" fmla="*/ 0 h 244"/>
                <a:gd name="T6" fmla="*/ 134 w 189"/>
                <a:gd name="T7" fmla="*/ 0 h 244"/>
                <a:gd name="T8" fmla="*/ 189 w 189"/>
                <a:gd name="T9" fmla="*/ 130 h 244"/>
              </a:gdLst>
              <a:ahLst/>
              <a:cxnLst>
                <a:cxn ang="0">
                  <a:pos x="T0" y="T1"/>
                </a:cxn>
                <a:cxn ang="0">
                  <a:pos x="T2" y="T3"/>
                </a:cxn>
                <a:cxn ang="0">
                  <a:pos x="T4" y="T5"/>
                </a:cxn>
                <a:cxn ang="0">
                  <a:pos x="T6" y="T7"/>
                </a:cxn>
                <a:cxn ang="0">
                  <a:pos x="T8" y="T9"/>
                </a:cxn>
              </a:cxnLst>
              <a:rect l="0" t="0" r="r" b="b"/>
              <a:pathLst>
                <a:path w="189" h="244">
                  <a:moveTo>
                    <a:pt x="189" y="130"/>
                  </a:moveTo>
                  <a:lnTo>
                    <a:pt x="116" y="244"/>
                  </a:lnTo>
                  <a:cubicBezTo>
                    <a:pt x="40" y="195"/>
                    <a:pt x="0" y="106"/>
                    <a:pt x="14" y="0"/>
                  </a:cubicBezTo>
                  <a:lnTo>
                    <a:pt x="134" y="0"/>
                  </a:lnTo>
                  <a:cubicBezTo>
                    <a:pt x="132" y="54"/>
                    <a:pt x="152" y="100"/>
                    <a:pt x="189" y="130"/>
                  </a:cubicBezTo>
                </a:path>
              </a:pathLst>
            </a:custGeom>
            <a:solidFill>
              <a:srgbClr val="3989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88">
              <a:extLst>
                <a:ext uri="{FF2B5EF4-FFF2-40B4-BE49-F238E27FC236}">
                  <a16:creationId xmlns:a16="http://schemas.microsoft.com/office/drawing/2014/main" id="{3C1A32AF-9F41-4A08-8C5F-0FBF07FF244D}"/>
                </a:ext>
              </a:extLst>
            </p:cNvPr>
            <p:cNvSpPr>
              <a:spLocks/>
            </p:cNvSpPr>
            <p:nvPr userDrawn="1"/>
          </p:nvSpPr>
          <p:spPr bwMode="auto">
            <a:xfrm>
              <a:off x="8723313" y="3995738"/>
              <a:ext cx="427038" cy="523875"/>
            </a:xfrm>
            <a:custGeom>
              <a:avLst/>
              <a:gdLst>
                <a:gd name="T0" fmla="*/ 495 w 521"/>
                <a:gd name="T1" fmla="*/ 300 h 640"/>
                <a:gd name="T2" fmla="*/ 474 w 521"/>
                <a:gd name="T3" fmla="*/ 356 h 640"/>
                <a:gd name="T4" fmla="*/ 53 w 521"/>
                <a:gd name="T5" fmla="*/ 640 h 640"/>
                <a:gd name="T6" fmla="*/ 0 w 521"/>
                <a:gd name="T7" fmla="*/ 636 h 640"/>
                <a:gd name="T8" fmla="*/ 73 w 521"/>
                <a:gd name="T9" fmla="*/ 522 h 640"/>
                <a:gd name="T10" fmla="*/ 88 w 521"/>
                <a:gd name="T11" fmla="*/ 523 h 640"/>
                <a:gd name="T12" fmla="*/ 377 w 521"/>
                <a:gd name="T13" fmla="*/ 300 h 640"/>
                <a:gd name="T14" fmla="*/ 333 w 521"/>
                <a:gd name="T15" fmla="*/ 114 h 640"/>
                <a:gd name="T16" fmla="*/ 405 w 521"/>
                <a:gd name="T17" fmla="*/ 0 h 640"/>
                <a:gd name="T18" fmla="*/ 507 w 521"/>
                <a:gd name="T19" fmla="*/ 244 h 640"/>
                <a:gd name="T20" fmla="*/ 495 w 521"/>
                <a:gd name="T21" fmla="*/ 30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640">
                  <a:moveTo>
                    <a:pt x="495" y="300"/>
                  </a:moveTo>
                  <a:cubicBezTo>
                    <a:pt x="489" y="319"/>
                    <a:pt x="482" y="338"/>
                    <a:pt x="474" y="356"/>
                  </a:cubicBezTo>
                  <a:cubicBezTo>
                    <a:pt x="399" y="517"/>
                    <a:pt x="222" y="640"/>
                    <a:pt x="53" y="640"/>
                  </a:cubicBezTo>
                  <a:cubicBezTo>
                    <a:pt x="35" y="640"/>
                    <a:pt x="17" y="639"/>
                    <a:pt x="0" y="636"/>
                  </a:cubicBezTo>
                  <a:lnTo>
                    <a:pt x="73" y="522"/>
                  </a:lnTo>
                  <a:cubicBezTo>
                    <a:pt x="78" y="523"/>
                    <a:pt x="83" y="523"/>
                    <a:pt x="88" y="523"/>
                  </a:cubicBezTo>
                  <a:cubicBezTo>
                    <a:pt x="212" y="523"/>
                    <a:pt x="341" y="423"/>
                    <a:pt x="377" y="300"/>
                  </a:cubicBezTo>
                  <a:cubicBezTo>
                    <a:pt x="401" y="222"/>
                    <a:pt x="381" y="154"/>
                    <a:pt x="333" y="114"/>
                  </a:cubicBezTo>
                  <a:lnTo>
                    <a:pt x="405" y="0"/>
                  </a:lnTo>
                  <a:cubicBezTo>
                    <a:pt x="481" y="49"/>
                    <a:pt x="521" y="138"/>
                    <a:pt x="507" y="244"/>
                  </a:cubicBezTo>
                  <a:cubicBezTo>
                    <a:pt x="505" y="262"/>
                    <a:pt x="501" y="281"/>
                    <a:pt x="495" y="300"/>
                  </a:cubicBezTo>
                </a:path>
              </a:pathLst>
            </a:custGeom>
            <a:solidFill>
              <a:srgbClr val="3989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189">
              <a:extLst>
                <a:ext uri="{FF2B5EF4-FFF2-40B4-BE49-F238E27FC236}">
                  <a16:creationId xmlns:a16="http://schemas.microsoft.com/office/drawing/2014/main" id="{9ACD072F-07A3-43BF-9DCC-A762ADF6EE0A}"/>
                </a:ext>
              </a:extLst>
            </p:cNvPr>
            <p:cNvSpPr>
              <a:spLocks/>
            </p:cNvSpPr>
            <p:nvPr userDrawn="1"/>
          </p:nvSpPr>
          <p:spPr bwMode="auto">
            <a:xfrm>
              <a:off x="9280525" y="3962400"/>
              <a:ext cx="130175" cy="101600"/>
            </a:xfrm>
            <a:custGeom>
              <a:avLst/>
              <a:gdLst>
                <a:gd name="T0" fmla="*/ 136 w 160"/>
                <a:gd name="T1" fmla="*/ 95 h 125"/>
                <a:gd name="T2" fmla="*/ 98 w 160"/>
                <a:gd name="T3" fmla="*/ 125 h 125"/>
                <a:gd name="T4" fmla="*/ 26 w 160"/>
                <a:gd name="T5" fmla="*/ 125 h 125"/>
                <a:gd name="T6" fmla="*/ 5 w 160"/>
                <a:gd name="T7" fmla="*/ 95 h 125"/>
                <a:gd name="T8" fmla="*/ 25 w 160"/>
                <a:gd name="T9" fmla="*/ 29 h 125"/>
                <a:gd name="T10" fmla="*/ 63 w 160"/>
                <a:gd name="T11" fmla="*/ 0 h 125"/>
                <a:gd name="T12" fmla="*/ 135 w 160"/>
                <a:gd name="T13" fmla="*/ 0 h 125"/>
                <a:gd name="T14" fmla="*/ 156 w 160"/>
                <a:gd name="T15" fmla="*/ 29 h 125"/>
                <a:gd name="T16" fmla="*/ 136 w 160"/>
                <a:gd name="T17" fmla="*/ 9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25">
                  <a:moveTo>
                    <a:pt x="136" y="95"/>
                  </a:moveTo>
                  <a:cubicBezTo>
                    <a:pt x="131" y="112"/>
                    <a:pt x="114" y="125"/>
                    <a:pt x="98" y="125"/>
                  </a:cubicBezTo>
                  <a:lnTo>
                    <a:pt x="26" y="125"/>
                  </a:lnTo>
                  <a:cubicBezTo>
                    <a:pt x="10" y="125"/>
                    <a:pt x="0" y="112"/>
                    <a:pt x="5" y="95"/>
                  </a:cubicBezTo>
                  <a:lnTo>
                    <a:pt x="25" y="29"/>
                  </a:lnTo>
                  <a:cubicBezTo>
                    <a:pt x="30" y="13"/>
                    <a:pt x="47" y="0"/>
                    <a:pt x="63" y="0"/>
                  </a:cubicBezTo>
                  <a:lnTo>
                    <a:pt x="135" y="0"/>
                  </a:lnTo>
                  <a:cubicBezTo>
                    <a:pt x="151" y="0"/>
                    <a:pt x="160" y="13"/>
                    <a:pt x="156" y="29"/>
                  </a:cubicBezTo>
                  <a:lnTo>
                    <a:pt x="136" y="95"/>
                  </a:lnTo>
                </a:path>
              </a:pathLst>
            </a:custGeom>
            <a:solidFill>
              <a:srgbClr val="3989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90">
              <a:extLst>
                <a:ext uri="{FF2B5EF4-FFF2-40B4-BE49-F238E27FC236}">
                  <a16:creationId xmlns:a16="http://schemas.microsoft.com/office/drawing/2014/main" id="{CAD2E57D-A0CD-4C5D-998D-967E92071A9A}"/>
                </a:ext>
              </a:extLst>
            </p:cNvPr>
            <p:cNvSpPr>
              <a:spLocks/>
            </p:cNvSpPr>
            <p:nvPr userDrawn="1"/>
          </p:nvSpPr>
          <p:spPr bwMode="auto">
            <a:xfrm>
              <a:off x="9239250" y="4098925"/>
              <a:ext cx="131763" cy="103188"/>
            </a:xfrm>
            <a:custGeom>
              <a:avLst/>
              <a:gdLst>
                <a:gd name="T0" fmla="*/ 135 w 160"/>
                <a:gd name="T1" fmla="*/ 95 h 125"/>
                <a:gd name="T2" fmla="*/ 97 w 160"/>
                <a:gd name="T3" fmla="*/ 125 h 125"/>
                <a:gd name="T4" fmla="*/ 25 w 160"/>
                <a:gd name="T5" fmla="*/ 125 h 125"/>
                <a:gd name="T6" fmla="*/ 4 w 160"/>
                <a:gd name="T7" fmla="*/ 95 h 125"/>
                <a:gd name="T8" fmla="*/ 24 w 160"/>
                <a:gd name="T9" fmla="*/ 29 h 125"/>
                <a:gd name="T10" fmla="*/ 63 w 160"/>
                <a:gd name="T11" fmla="*/ 0 h 125"/>
                <a:gd name="T12" fmla="*/ 134 w 160"/>
                <a:gd name="T13" fmla="*/ 0 h 125"/>
                <a:gd name="T14" fmla="*/ 155 w 160"/>
                <a:gd name="T15" fmla="*/ 29 h 125"/>
                <a:gd name="T16" fmla="*/ 135 w 160"/>
                <a:gd name="T17" fmla="*/ 9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25">
                  <a:moveTo>
                    <a:pt x="135" y="95"/>
                  </a:moveTo>
                  <a:cubicBezTo>
                    <a:pt x="130" y="112"/>
                    <a:pt x="113" y="125"/>
                    <a:pt x="97" y="125"/>
                  </a:cubicBezTo>
                  <a:lnTo>
                    <a:pt x="25" y="125"/>
                  </a:lnTo>
                  <a:cubicBezTo>
                    <a:pt x="9" y="125"/>
                    <a:pt x="0" y="112"/>
                    <a:pt x="4" y="95"/>
                  </a:cubicBezTo>
                  <a:lnTo>
                    <a:pt x="24" y="29"/>
                  </a:lnTo>
                  <a:cubicBezTo>
                    <a:pt x="29" y="13"/>
                    <a:pt x="46" y="0"/>
                    <a:pt x="63" y="0"/>
                  </a:cubicBezTo>
                  <a:lnTo>
                    <a:pt x="134" y="0"/>
                  </a:lnTo>
                  <a:cubicBezTo>
                    <a:pt x="150" y="0"/>
                    <a:pt x="160" y="13"/>
                    <a:pt x="155" y="29"/>
                  </a:cubicBezTo>
                  <a:lnTo>
                    <a:pt x="135" y="95"/>
                  </a:lnTo>
                  <a:close/>
                </a:path>
              </a:pathLst>
            </a:custGeom>
            <a:solidFill>
              <a:srgbClr val="3989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91">
              <a:extLst>
                <a:ext uri="{FF2B5EF4-FFF2-40B4-BE49-F238E27FC236}">
                  <a16:creationId xmlns:a16="http://schemas.microsoft.com/office/drawing/2014/main" id="{7608B55E-9865-4BFB-8C8E-D2A714BBB752}"/>
                </a:ext>
              </a:extLst>
            </p:cNvPr>
            <p:cNvSpPr>
              <a:spLocks/>
            </p:cNvSpPr>
            <p:nvPr userDrawn="1"/>
          </p:nvSpPr>
          <p:spPr bwMode="auto">
            <a:xfrm>
              <a:off x="9199563" y="4235450"/>
              <a:ext cx="130175" cy="103188"/>
            </a:xfrm>
            <a:custGeom>
              <a:avLst/>
              <a:gdLst>
                <a:gd name="T0" fmla="*/ 136 w 160"/>
                <a:gd name="T1" fmla="*/ 96 h 125"/>
                <a:gd name="T2" fmla="*/ 97 w 160"/>
                <a:gd name="T3" fmla="*/ 125 h 125"/>
                <a:gd name="T4" fmla="*/ 26 w 160"/>
                <a:gd name="T5" fmla="*/ 125 h 125"/>
                <a:gd name="T6" fmla="*/ 5 w 160"/>
                <a:gd name="T7" fmla="*/ 96 h 125"/>
                <a:gd name="T8" fmla="*/ 24 w 160"/>
                <a:gd name="T9" fmla="*/ 29 h 125"/>
                <a:gd name="T10" fmla="*/ 63 w 160"/>
                <a:gd name="T11" fmla="*/ 0 h 125"/>
                <a:gd name="T12" fmla="*/ 134 w 160"/>
                <a:gd name="T13" fmla="*/ 0 h 125"/>
                <a:gd name="T14" fmla="*/ 155 w 160"/>
                <a:gd name="T15" fmla="*/ 29 h 125"/>
                <a:gd name="T16" fmla="*/ 136 w 160"/>
                <a:gd name="T17" fmla="*/ 9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25">
                  <a:moveTo>
                    <a:pt x="136" y="96"/>
                  </a:moveTo>
                  <a:cubicBezTo>
                    <a:pt x="131" y="112"/>
                    <a:pt x="113" y="125"/>
                    <a:pt x="97" y="125"/>
                  </a:cubicBezTo>
                  <a:lnTo>
                    <a:pt x="26" y="125"/>
                  </a:lnTo>
                  <a:cubicBezTo>
                    <a:pt x="9" y="125"/>
                    <a:pt x="0" y="112"/>
                    <a:pt x="5" y="96"/>
                  </a:cubicBezTo>
                  <a:lnTo>
                    <a:pt x="24" y="29"/>
                  </a:lnTo>
                  <a:cubicBezTo>
                    <a:pt x="29" y="13"/>
                    <a:pt x="46" y="0"/>
                    <a:pt x="63" y="0"/>
                  </a:cubicBezTo>
                  <a:lnTo>
                    <a:pt x="134" y="0"/>
                  </a:lnTo>
                  <a:cubicBezTo>
                    <a:pt x="151" y="0"/>
                    <a:pt x="160" y="13"/>
                    <a:pt x="155" y="29"/>
                  </a:cubicBezTo>
                  <a:lnTo>
                    <a:pt x="136" y="96"/>
                  </a:lnTo>
                </a:path>
              </a:pathLst>
            </a:custGeom>
            <a:solidFill>
              <a:srgbClr val="3989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92">
              <a:extLst>
                <a:ext uri="{FF2B5EF4-FFF2-40B4-BE49-F238E27FC236}">
                  <a16:creationId xmlns:a16="http://schemas.microsoft.com/office/drawing/2014/main" id="{D178E03E-D7BC-47CB-A310-924B0E556E38}"/>
                </a:ext>
              </a:extLst>
            </p:cNvPr>
            <p:cNvSpPr>
              <a:spLocks/>
            </p:cNvSpPr>
            <p:nvPr userDrawn="1"/>
          </p:nvSpPr>
          <p:spPr bwMode="auto">
            <a:xfrm>
              <a:off x="8529638" y="3902075"/>
              <a:ext cx="387350" cy="231775"/>
            </a:xfrm>
            <a:custGeom>
              <a:avLst/>
              <a:gdLst>
                <a:gd name="T0" fmla="*/ 473 w 473"/>
                <a:gd name="T1" fmla="*/ 4 h 284"/>
                <a:gd name="T2" fmla="*/ 401 w 473"/>
                <a:gd name="T3" fmla="*/ 118 h 284"/>
                <a:gd name="T4" fmla="*/ 385 w 473"/>
                <a:gd name="T5" fmla="*/ 117 h 284"/>
                <a:gd name="T6" fmla="*/ 120 w 473"/>
                <a:gd name="T7" fmla="*/ 284 h 284"/>
                <a:gd name="T8" fmla="*/ 0 w 473"/>
                <a:gd name="T9" fmla="*/ 284 h 284"/>
                <a:gd name="T10" fmla="*/ 420 w 473"/>
                <a:gd name="T11" fmla="*/ 0 h 284"/>
                <a:gd name="T12" fmla="*/ 473 w 473"/>
                <a:gd name="T13" fmla="*/ 4 h 284"/>
              </a:gdLst>
              <a:ahLst/>
              <a:cxnLst>
                <a:cxn ang="0">
                  <a:pos x="T0" y="T1"/>
                </a:cxn>
                <a:cxn ang="0">
                  <a:pos x="T2" y="T3"/>
                </a:cxn>
                <a:cxn ang="0">
                  <a:pos x="T4" y="T5"/>
                </a:cxn>
                <a:cxn ang="0">
                  <a:pos x="T6" y="T7"/>
                </a:cxn>
                <a:cxn ang="0">
                  <a:pos x="T8" y="T9"/>
                </a:cxn>
                <a:cxn ang="0">
                  <a:pos x="T10" y="T11"/>
                </a:cxn>
                <a:cxn ang="0">
                  <a:pos x="T12" y="T13"/>
                </a:cxn>
              </a:cxnLst>
              <a:rect l="0" t="0" r="r" b="b"/>
              <a:pathLst>
                <a:path w="473" h="284">
                  <a:moveTo>
                    <a:pt x="473" y="4"/>
                  </a:moveTo>
                  <a:lnTo>
                    <a:pt x="401" y="118"/>
                  </a:lnTo>
                  <a:cubicBezTo>
                    <a:pt x="396" y="117"/>
                    <a:pt x="390" y="117"/>
                    <a:pt x="385" y="117"/>
                  </a:cubicBezTo>
                  <a:cubicBezTo>
                    <a:pt x="281" y="117"/>
                    <a:pt x="173" y="188"/>
                    <a:pt x="120" y="284"/>
                  </a:cubicBezTo>
                  <a:lnTo>
                    <a:pt x="0" y="284"/>
                  </a:lnTo>
                  <a:cubicBezTo>
                    <a:pt x="74" y="123"/>
                    <a:pt x="251" y="0"/>
                    <a:pt x="420" y="0"/>
                  </a:cubicBezTo>
                  <a:cubicBezTo>
                    <a:pt x="439" y="0"/>
                    <a:pt x="456" y="1"/>
                    <a:pt x="473" y="4"/>
                  </a:cubicBezTo>
                </a:path>
              </a:pathLst>
            </a:custGeom>
            <a:solidFill>
              <a:srgbClr val="5131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93">
              <a:extLst>
                <a:ext uri="{FF2B5EF4-FFF2-40B4-BE49-F238E27FC236}">
                  <a16:creationId xmlns:a16="http://schemas.microsoft.com/office/drawing/2014/main" id="{3682DF94-6D9B-4FC6-A93C-FB15B0622CD8}"/>
                </a:ext>
              </a:extLst>
            </p:cNvPr>
            <p:cNvSpPr>
              <a:spLocks/>
            </p:cNvSpPr>
            <p:nvPr userDrawn="1"/>
          </p:nvSpPr>
          <p:spPr bwMode="auto">
            <a:xfrm>
              <a:off x="8489950" y="4225925"/>
              <a:ext cx="153988" cy="200025"/>
            </a:xfrm>
            <a:custGeom>
              <a:avLst/>
              <a:gdLst>
                <a:gd name="T0" fmla="*/ 189 w 189"/>
                <a:gd name="T1" fmla="*/ 130 h 244"/>
                <a:gd name="T2" fmla="*/ 116 w 189"/>
                <a:gd name="T3" fmla="*/ 244 h 244"/>
                <a:gd name="T4" fmla="*/ 14 w 189"/>
                <a:gd name="T5" fmla="*/ 0 h 244"/>
                <a:gd name="T6" fmla="*/ 134 w 189"/>
                <a:gd name="T7" fmla="*/ 0 h 244"/>
                <a:gd name="T8" fmla="*/ 189 w 189"/>
                <a:gd name="T9" fmla="*/ 130 h 244"/>
              </a:gdLst>
              <a:ahLst/>
              <a:cxnLst>
                <a:cxn ang="0">
                  <a:pos x="T0" y="T1"/>
                </a:cxn>
                <a:cxn ang="0">
                  <a:pos x="T2" y="T3"/>
                </a:cxn>
                <a:cxn ang="0">
                  <a:pos x="T4" y="T5"/>
                </a:cxn>
                <a:cxn ang="0">
                  <a:pos x="T6" y="T7"/>
                </a:cxn>
                <a:cxn ang="0">
                  <a:pos x="T8" y="T9"/>
                </a:cxn>
              </a:cxnLst>
              <a:rect l="0" t="0" r="r" b="b"/>
              <a:pathLst>
                <a:path w="189" h="244">
                  <a:moveTo>
                    <a:pt x="189" y="130"/>
                  </a:moveTo>
                  <a:lnTo>
                    <a:pt x="116" y="244"/>
                  </a:lnTo>
                  <a:cubicBezTo>
                    <a:pt x="40" y="195"/>
                    <a:pt x="0" y="106"/>
                    <a:pt x="14" y="0"/>
                  </a:cubicBezTo>
                  <a:lnTo>
                    <a:pt x="134" y="0"/>
                  </a:lnTo>
                  <a:cubicBezTo>
                    <a:pt x="132" y="54"/>
                    <a:pt x="152" y="100"/>
                    <a:pt x="189" y="130"/>
                  </a:cubicBezTo>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94">
              <a:extLst>
                <a:ext uri="{FF2B5EF4-FFF2-40B4-BE49-F238E27FC236}">
                  <a16:creationId xmlns:a16="http://schemas.microsoft.com/office/drawing/2014/main" id="{FB1EC286-CA99-4410-97FF-CA546EA4C27D}"/>
                </a:ext>
              </a:extLst>
            </p:cNvPr>
            <p:cNvSpPr>
              <a:spLocks/>
            </p:cNvSpPr>
            <p:nvPr userDrawn="1"/>
          </p:nvSpPr>
          <p:spPr bwMode="auto">
            <a:xfrm>
              <a:off x="8662988" y="3933825"/>
              <a:ext cx="427038" cy="525463"/>
            </a:xfrm>
            <a:custGeom>
              <a:avLst/>
              <a:gdLst>
                <a:gd name="T0" fmla="*/ 495 w 521"/>
                <a:gd name="T1" fmla="*/ 300 h 640"/>
                <a:gd name="T2" fmla="*/ 474 w 521"/>
                <a:gd name="T3" fmla="*/ 356 h 640"/>
                <a:gd name="T4" fmla="*/ 54 w 521"/>
                <a:gd name="T5" fmla="*/ 640 h 640"/>
                <a:gd name="T6" fmla="*/ 0 w 521"/>
                <a:gd name="T7" fmla="*/ 636 h 640"/>
                <a:gd name="T8" fmla="*/ 73 w 521"/>
                <a:gd name="T9" fmla="*/ 522 h 640"/>
                <a:gd name="T10" fmla="*/ 88 w 521"/>
                <a:gd name="T11" fmla="*/ 523 h 640"/>
                <a:gd name="T12" fmla="*/ 377 w 521"/>
                <a:gd name="T13" fmla="*/ 300 h 640"/>
                <a:gd name="T14" fmla="*/ 333 w 521"/>
                <a:gd name="T15" fmla="*/ 114 h 640"/>
                <a:gd name="T16" fmla="*/ 405 w 521"/>
                <a:gd name="T17" fmla="*/ 0 h 640"/>
                <a:gd name="T18" fmla="*/ 507 w 521"/>
                <a:gd name="T19" fmla="*/ 244 h 640"/>
                <a:gd name="T20" fmla="*/ 495 w 521"/>
                <a:gd name="T21" fmla="*/ 30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640">
                  <a:moveTo>
                    <a:pt x="495" y="300"/>
                  </a:moveTo>
                  <a:cubicBezTo>
                    <a:pt x="489" y="319"/>
                    <a:pt x="482" y="338"/>
                    <a:pt x="474" y="356"/>
                  </a:cubicBezTo>
                  <a:cubicBezTo>
                    <a:pt x="399" y="517"/>
                    <a:pt x="222" y="640"/>
                    <a:pt x="54" y="640"/>
                  </a:cubicBezTo>
                  <a:cubicBezTo>
                    <a:pt x="35" y="640"/>
                    <a:pt x="17" y="639"/>
                    <a:pt x="0" y="636"/>
                  </a:cubicBezTo>
                  <a:lnTo>
                    <a:pt x="73" y="522"/>
                  </a:lnTo>
                  <a:cubicBezTo>
                    <a:pt x="78" y="523"/>
                    <a:pt x="83" y="523"/>
                    <a:pt x="88" y="523"/>
                  </a:cubicBezTo>
                  <a:cubicBezTo>
                    <a:pt x="212" y="523"/>
                    <a:pt x="341" y="423"/>
                    <a:pt x="377" y="300"/>
                  </a:cubicBezTo>
                  <a:cubicBezTo>
                    <a:pt x="401" y="222"/>
                    <a:pt x="381" y="154"/>
                    <a:pt x="333" y="114"/>
                  </a:cubicBezTo>
                  <a:lnTo>
                    <a:pt x="405" y="0"/>
                  </a:lnTo>
                  <a:cubicBezTo>
                    <a:pt x="481" y="49"/>
                    <a:pt x="521" y="138"/>
                    <a:pt x="507" y="244"/>
                  </a:cubicBezTo>
                  <a:cubicBezTo>
                    <a:pt x="505" y="262"/>
                    <a:pt x="501" y="281"/>
                    <a:pt x="495" y="300"/>
                  </a:cubicBezTo>
                  <a:close/>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95">
              <a:extLst>
                <a:ext uri="{FF2B5EF4-FFF2-40B4-BE49-F238E27FC236}">
                  <a16:creationId xmlns:a16="http://schemas.microsoft.com/office/drawing/2014/main" id="{E11F2E61-02B8-45C3-9BDF-CE5BE1C04F81}"/>
                </a:ext>
              </a:extLst>
            </p:cNvPr>
            <p:cNvSpPr>
              <a:spLocks/>
            </p:cNvSpPr>
            <p:nvPr userDrawn="1"/>
          </p:nvSpPr>
          <p:spPr bwMode="auto">
            <a:xfrm>
              <a:off x="9220200" y="3902075"/>
              <a:ext cx="130175" cy="101600"/>
            </a:xfrm>
            <a:custGeom>
              <a:avLst/>
              <a:gdLst>
                <a:gd name="T0" fmla="*/ 136 w 160"/>
                <a:gd name="T1" fmla="*/ 95 h 125"/>
                <a:gd name="T2" fmla="*/ 98 w 160"/>
                <a:gd name="T3" fmla="*/ 125 h 125"/>
                <a:gd name="T4" fmla="*/ 26 w 160"/>
                <a:gd name="T5" fmla="*/ 125 h 125"/>
                <a:gd name="T6" fmla="*/ 5 w 160"/>
                <a:gd name="T7" fmla="*/ 95 h 125"/>
                <a:gd name="T8" fmla="*/ 25 w 160"/>
                <a:gd name="T9" fmla="*/ 29 h 125"/>
                <a:gd name="T10" fmla="*/ 63 w 160"/>
                <a:gd name="T11" fmla="*/ 0 h 125"/>
                <a:gd name="T12" fmla="*/ 135 w 160"/>
                <a:gd name="T13" fmla="*/ 0 h 125"/>
                <a:gd name="T14" fmla="*/ 156 w 160"/>
                <a:gd name="T15" fmla="*/ 29 h 125"/>
                <a:gd name="T16" fmla="*/ 136 w 160"/>
                <a:gd name="T17" fmla="*/ 9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25">
                  <a:moveTo>
                    <a:pt x="136" y="95"/>
                  </a:moveTo>
                  <a:cubicBezTo>
                    <a:pt x="131" y="112"/>
                    <a:pt x="114" y="125"/>
                    <a:pt x="98" y="125"/>
                  </a:cubicBezTo>
                  <a:lnTo>
                    <a:pt x="26" y="125"/>
                  </a:lnTo>
                  <a:cubicBezTo>
                    <a:pt x="10" y="125"/>
                    <a:pt x="0" y="112"/>
                    <a:pt x="5" y="95"/>
                  </a:cubicBezTo>
                  <a:lnTo>
                    <a:pt x="25" y="29"/>
                  </a:lnTo>
                  <a:cubicBezTo>
                    <a:pt x="30" y="13"/>
                    <a:pt x="47" y="0"/>
                    <a:pt x="63" y="0"/>
                  </a:cubicBezTo>
                  <a:lnTo>
                    <a:pt x="135" y="0"/>
                  </a:lnTo>
                  <a:cubicBezTo>
                    <a:pt x="151" y="0"/>
                    <a:pt x="160" y="13"/>
                    <a:pt x="156" y="29"/>
                  </a:cubicBezTo>
                  <a:lnTo>
                    <a:pt x="136" y="95"/>
                  </a:lnTo>
                </a:path>
              </a:pathLst>
            </a:custGeom>
            <a:solidFill>
              <a:srgbClr val="5131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96">
              <a:extLst>
                <a:ext uri="{FF2B5EF4-FFF2-40B4-BE49-F238E27FC236}">
                  <a16:creationId xmlns:a16="http://schemas.microsoft.com/office/drawing/2014/main" id="{AA53DAB1-8BE7-4100-B902-D27697403586}"/>
                </a:ext>
              </a:extLst>
            </p:cNvPr>
            <p:cNvSpPr>
              <a:spLocks/>
            </p:cNvSpPr>
            <p:nvPr userDrawn="1"/>
          </p:nvSpPr>
          <p:spPr bwMode="auto">
            <a:xfrm>
              <a:off x="9178925" y="4038600"/>
              <a:ext cx="131763" cy="103188"/>
            </a:xfrm>
            <a:custGeom>
              <a:avLst/>
              <a:gdLst>
                <a:gd name="T0" fmla="*/ 135 w 160"/>
                <a:gd name="T1" fmla="*/ 95 h 125"/>
                <a:gd name="T2" fmla="*/ 97 w 160"/>
                <a:gd name="T3" fmla="*/ 125 h 125"/>
                <a:gd name="T4" fmla="*/ 25 w 160"/>
                <a:gd name="T5" fmla="*/ 125 h 125"/>
                <a:gd name="T6" fmla="*/ 5 w 160"/>
                <a:gd name="T7" fmla="*/ 95 h 125"/>
                <a:gd name="T8" fmla="*/ 24 w 160"/>
                <a:gd name="T9" fmla="*/ 29 h 125"/>
                <a:gd name="T10" fmla="*/ 63 w 160"/>
                <a:gd name="T11" fmla="*/ 0 h 125"/>
                <a:gd name="T12" fmla="*/ 134 w 160"/>
                <a:gd name="T13" fmla="*/ 0 h 125"/>
                <a:gd name="T14" fmla="*/ 155 w 160"/>
                <a:gd name="T15" fmla="*/ 29 h 125"/>
                <a:gd name="T16" fmla="*/ 135 w 160"/>
                <a:gd name="T17" fmla="*/ 9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25">
                  <a:moveTo>
                    <a:pt x="135" y="95"/>
                  </a:moveTo>
                  <a:cubicBezTo>
                    <a:pt x="130" y="112"/>
                    <a:pt x="113" y="125"/>
                    <a:pt x="97" y="125"/>
                  </a:cubicBezTo>
                  <a:lnTo>
                    <a:pt x="25" y="125"/>
                  </a:lnTo>
                  <a:cubicBezTo>
                    <a:pt x="9" y="125"/>
                    <a:pt x="0" y="112"/>
                    <a:pt x="5" y="95"/>
                  </a:cubicBezTo>
                  <a:lnTo>
                    <a:pt x="24" y="29"/>
                  </a:lnTo>
                  <a:cubicBezTo>
                    <a:pt x="29" y="13"/>
                    <a:pt x="46" y="0"/>
                    <a:pt x="63" y="0"/>
                  </a:cubicBezTo>
                  <a:lnTo>
                    <a:pt x="134" y="0"/>
                  </a:lnTo>
                  <a:cubicBezTo>
                    <a:pt x="150" y="0"/>
                    <a:pt x="160" y="13"/>
                    <a:pt x="155" y="29"/>
                  </a:cubicBezTo>
                  <a:lnTo>
                    <a:pt x="135" y="95"/>
                  </a:lnTo>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97">
              <a:extLst>
                <a:ext uri="{FF2B5EF4-FFF2-40B4-BE49-F238E27FC236}">
                  <a16:creationId xmlns:a16="http://schemas.microsoft.com/office/drawing/2014/main" id="{27D6FEF4-84E6-4D03-970D-96E45544945B}"/>
                </a:ext>
              </a:extLst>
            </p:cNvPr>
            <p:cNvSpPr>
              <a:spLocks/>
            </p:cNvSpPr>
            <p:nvPr userDrawn="1"/>
          </p:nvSpPr>
          <p:spPr bwMode="auto">
            <a:xfrm>
              <a:off x="9139238" y="4175125"/>
              <a:ext cx="130175" cy="103188"/>
            </a:xfrm>
            <a:custGeom>
              <a:avLst/>
              <a:gdLst>
                <a:gd name="T0" fmla="*/ 136 w 160"/>
                <a:gd name="T1" fmla="*/ 96 h 125"/>
                <a:gd name="T2" fmla="*/ 97 w 160"/>
                <a:gd name="T3" fmla="*/ 125 h 125"/>
                <a:gd name="T4" fmla="*/ 26 w 160"/>
                <a:gd name="T5" fmla="*/ 125 h 125"/>
                <a:gd name="T6" fmla="*/ 5 w 160"/>
                <a:gd name="T7" fmla="*/ 96 h 125"/>
                <a:gd name="T8" fmla="*/ 24 w 160"/>
                <a:gd name="T9" fmla="*/ 29 h 125"/>
                <a:gd name="T10" fmla="*/ 63 w 160"/>
                <a:gd name="T11" fmla="*/ 0 h 125"/>
                <a:gd name="T12" fmla="*/ 134 w 160"/>
                <a:gd name="T13" fmla="*/ 0 h 125"/>
                <a:gd name="T14" fmla="*/ 155 w 160"/>
                <a:gd name="T15" fmla="*/ 29 h 125"/>
                <a:gd name="T16" fmla="*/ 136 w 160"/>
                <a:gd name="T17" fmla="*/ 9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25">
                  <a:moveTo>
                    <a:pt x="136" y="96"/>
                  </a:moveTo>
                  <a:cubicBezTo>
                    <a:pt x="131" y="112"/>
                    <a:pt x="114" y="125"/>
                    <a:pt x="97" y="125"/>
                  </a:cubicBezTo>
                  <a:lnTo>
                    <a:pt x="26" y="125"/>
                  </a:lnTo>
                  <a:cubicBezTo>
                    <a:pt x="9" y="125"/>
                    <a:pt x="0" y="112"/>
                    <a:pt x="5" y="96"/>
                  </a:cubicBezTo>
                  <a:lnTo>
                    <a:pt x="24" y="29"/>
                  </a:lnTo>
                  <a:cubicBezTo>
                    <a:pt x="29" y="13"/>
                    <a:pt x="47" y="0"/>
                    <a:pt x="63" y="0"/>
                  </a:cubicBezTo>
                  <a:lnTo>
                    <a:pt x="134" y="0"/>
                  </a:lnTo>
                  <a:cubicBezTo>
                    <a:pt x="151" y="0"/>
                    <a:pt x="160" y="13"/>
                    <a:pt x="155" y="29"/>
                  </a:cubicBezTo>
                  <a:lnTo>
                    <a:pt x="136" y="96"/>
                  </a:lnTo>
                  <a:close/>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98">
              <a:extLst>
                <a:ext uri="{FF2B5EF4-FFF2-40B4-BE49-F238E27FC236}">
                  <a16:creationId xmlns:a16="http://schemas.microsoft.com/office/drawing/2014/main" id="{82B5F1B1-9BED-467C-B915-E5B96D09373E}"/>
                </a:ext>
              </a:extLst>
            </p:cNvPr>
            <p:cNvSpPr>
              <a:spLocks/>
            </p:cNvSpPr>
            <p:nvPr userDrawn="1"/>
          </p:nvSpPr>
          <p:spPr bwMode="auto">
            <a:xfrm>
              <a:off x="7658100" y="3813175"/>
              <a:ext cx="296863" cy="255588"/>
            </a:xfrm>
            <a:custGeom>
              <a:avLst/>
              <a:gdLst>
                <a:gd name="T0" fmla="*/ 338 w 363"/>
                <a:gd name="T1" fmla="*/ 156 h 312"/>
                <a:gd name="T2" fmla="*/ 135 w 363"/>
                <a:gd name="T3" fmla="*/ 312 h 312"/>
                <a:gd name="T4" fmla="*/ 25 w 363"/>
                <a:gd name="T5" fmla="*/ 156 h 312"/>
                <a:gd name="T6" fmla="*/ 228 w 363"/>
                <a:gd name="T7" fmla="*/ 0 h 312"/>
                <a:gd name="T8" fmla="*/ 338 w 363"/>
                <a:gd name="T9" fmla="*/ 156 h 312"/>
              </a:gdLst>
              <a:ahLst/>
              <a:cxnLst>
                <a:cxn ang="0">
                  <a:pos x="T0" y="T1"/>
                </a:cxn>
                <a:cxn ang="0">
                  <a:pos x="T2" y="T3"/>
                </a:cxn>
                <a:cxn ang="0">
                  <a:pos x="T4" y="T5"/>
                </a:cxn>
                <a:cxn ang="0">
                  <a:pos x="T6" y="T7"/>
                </a:cxn>
                <a:cxn ang="0">
                  <a:pos x="T8" y="T9"/>
                </a:cxn>
              </a:cxnLst>
              <a:rect l="0" t="0" r="r" b="b"/>
              <a:pathLst>
                <a:path w="363" h="312">
                  <a:moveTo>
                    <a:pt x="338" y="156"/>
                  </a:moveTo>
                  <a:cubicBezTo>
                    <a:pt x="312" y="242"/>
                    <a:pt x="221" y="312"/>
                    <a:pt x="135" y="312"/>
                  </a:cubicBezTo>
                  <a:cubicBezTo>
                    <a:pt x="49" y="312"/>
                    <a:pt x="0" y="242"/>
                    <a:pt x="25" y="156"/>
                  </a:cubicBezTo>
                  <a:cubicBezTo>
                    <a:pt x="51" y="70"/>
                    <a:pt x="142" y="0"/>
                    <a:pt x="228" y="0"/>
                  </a:cubicBezTo>
                  <a:cubicBezTo>
                    <a:pt x="314" y="0"/>
                    <a:pt x="363" y="70"/>
                    <a:pt x="338" y="156"/>
                  </a:cubicBezTo>
                  <a:close/>
                </a:path>
              </a:pathLst>
            </a:custGeom>
            <a:solidFill>
              <a:srgbClr val="8D12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99">
              <a:extLst>
                <a:ext uri="{FF2B5EF4-FFF2-40B4-BE49-F238E27FC236}">
                  <a16:creationId xmlns:a16="http://schemas.microsoft.com/office/drawing/2014/main" id="{CA12C941-4C59-4917-9DB6-21CBB675480F}"/>
                </a:ext>
              </a:extLst>
            </p:cNvPr>
            <p:cNvSpPr>
              <a:spLocks/>
            </p:cNvSpPr>
            <p:nvPr userDrawn="1"/>
          </p:nvSpPr>
          <p:spPr bwMode="auto">
            <a:xfrm>
              <a:off x="7631113" y="3708400"/>
              <a:ext cx="298450" cy="255588"/>
            </a:xfrm>
            <a:custGeom>
              <a:avLst/>
              <a:gdLst>
                <a:gd name="T0" fmla="*/ 338 w 364"/>
                <a:gd name="T1" fmla="*/ 156 h 312"/>
                <a:gd name="T2" fmla="*/ 135 w 364"/>
                <a:gd name="T3" fmla="*/ 312 h 312"/>
                <a:gd name="T4" fmla="*/ 26 w 364"/>
                <a:gd name="T5" fmla="*/ 156 h 312"/>
                <a:gd name="T6" fmla="*/ 228 w 364"/>
                <a:gd name="T7" fmla="*/ 0 h 312"/>
                <a:gd name="T8" fmla="*/ 338 w 364"/>
                <a:gd name="T9" fmla="*/ 156 h 312"/>
              </a:gdLst>
              <a:ahLst/>
              <a:cxnLst>
                <a:cxn ang="0">
                  <a:pos x="T0" y="T1"/>
                </a:cxn>
                <a:cxn ang="0">
                  <a:pos x="T2" y="T3"/>
                </a:cxn>
                <a:cxn ang="0">
                  <a:pos x="T4" y="T5"/>
                </a:cxn>
                <a:cxn ang="0">
                  <a:pos x="T6" y="T7"/>
                </a:cxn>
                <a:cxn ang="0">
                  <a:pos x="T8" y="T9"/>
                </a:cxn>
              </a:cxnLst>
              <a:rect l="0" t="0" r="r" b="b"/>
              <a:pathLst>
                <a:path w="364" h="312">
                  <a:moveTo>
                    <a:pt x="338" y="156"/>
                  </a:moveTo>
                  <a:cubicBezTo>
                    <a:pt x="312" y="242"/>
                    <a:pt x="222" y="312"/>
                    <a:pt x="135" y="312"/>
                  </a:cubicBezTo>
                  <a:cubicBezTo>
                    <a:pt x="49" y="312"/>
                    <a:pt x="0" y="242"/>
                    <a:pt x="26" y="156"/>
                  </a:cubicBezTo>
                  <a:cubicBezTo>
                    <a:pt x="51" y="70"/>
                    <a:pt x="142" y="0"/>
                    <a:pt x="228" y="0"/>
                  </a:cubicBezTo>
                  <a:cubicBezTo>
                    <a:pt x="315" y="0"/>
                    <a:pt x="364" y="70"/>
                    <a:pt x="338" y="156"/>
                  </a:cubicBezTo>
                  <a:close/>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200">
              <a:extLst>
                <a:ext uri="{FF2B5EF4-FFF2-40B4-BE49-F238E27FC236}">
                  <a16:creationId xmlns:a16="http://schemas.microsoft.com/office/drawing/2014/main" id="{08A657DA-7955-49DC-BFEE-AD2B0C2285C5}"/>
                </a:ext>
              </a:extLst>
            </p:cNvPr>
            <p:cNvSpPr>
              <a:spLocks/>
            </p:cNvSpPr>
            <p:nvPr userDrawn="1"/>
          </p:nvSpPr>
          <p:spPr bwMode="auto">
            <a:xfrm>
              <a:off x="7734300" y="3781425"/>
              <a:ext cx="112713" cy="109538"/>
            </a:xfrm>
            <a:custGeom>
              <a:avLst/>
              <a:gdLst>
                <a:gd name="T0" fmla="*/ 40 w 137"/>
                <a:gd name="T1" fmla="*/ 0 h 135"/>
                <a:gd name="T2" fmla="*/ 137 w 137"/>
                <a:gd name="T3" fmla="*/ 67 h 135"/>
                <a:gd name="T4" fmla="*/ 0 w 137"/>
                <a:gd name="T5" fmla="*/ 135 h 135"/>
                <a:gd name="T6" fmla="*/ 40 w 137"/>
                <a:gd name="T7" fmla="*/ 0 h 135"/>
              </a:gdLst>
              <a:ahLst/>
              <a:cxnLst>
                <a:cxn ang="0">
                  <a:pos x="T0" y="T1"/>
                </a:cxn>
                <a:cxn ang="0">
                  <a:pos x="T2" y="T3"/>
                </a:cxn>
                <a:cxn ang="0">
                  <a:pos x="T4" y="T5"/>
                </a:cxn>
                <a:cxn ang="0">
                  <a:pos x="T6" y="T7"/>
                </a:cxn>
              </a:cxnLst>
              <a:rect l="0" t="0" r="r" b="b"/>
              <a:pathLst>
                <a:path w="137" h="135">
                  <a:moveTo>
                    <a:pt x="40" y="0"/>
                  </a:moveTo>
                  <a:lnTo>
                    <a:pt x="137" y="67"/>
                  </a:lnTo>
                  <a:lnTo>
                    <a:pt x="0" y="135"/>
                  </a:lnTo>
                  <a:lnTo>
                    <a:pt x="40" y="0"/>
                  </a:lnTo>
                  <a:close/>
                </a:path>
              </a:pathLst>
            </a:custGeom>
            <a:solidFill>
              <a:srgbClr val="F68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201">
              <a:extLst>
                <a:ext uri="{FF2B5EF4-FFF2-40B4-BE49-F238E27FC236}">
                  <a16:creationId xmlns:a16="http://schemas.microsoft.com/office/drawing/2014/main" id="{560979E8-A4F7-4BD7-8BD8-7FD4E0E6A176}"/>
                </a:ext>
              </a:extLst>
            </p:cNvPr>
            <p:cNvSpPr>
              <a:spLocks noEditPoints="1"/>
            </p:cNvSpPr>
            <p:nvPr userDrawn="1"/>
          </p:nvSpPr>
          <p:spPr bwMode="auto">
            <a:xfrm>
              <a:off x="6618288" y="2922588"/>
              <a:ext cx="1200150" cy="763588"/>
            </a:xfrm>
            <a:custGeom>
              <a:avLst/>
              <a:gdLst>
                <a:gd name="T0" fmla="*/ 503 w 1465"/>
                <a:gd name="T1" fmla="*/ 931 h 931"/>
                <a:gd name="T2" fmla="*/ 139 w 1465"/>
                <a:gd name="T3" fmla="*/ 931 h 931"/>
                <a:gd name="T4" fmla="*/ 0 w 1465"/>
                <a:gd name="T5" fmla="*/ 834 h 931"/>
                <a:gd name="T6" fmla="*/ 51 w 1465"/>
                <a:gd name="T7" fmla="*/ 842 h 931"/>
                <a:gd name="T8" fmla="*/ 534 w 1465"/>
                <a:gd name="T9" fmla="*/ 842 h 931"/>
                <a:gd name="T10" fmla="*/ 503 w 1465"/>
                <a:gd name="T11" fmla="*/ 931 h 931"/>
                <a:gd name="T12" fmla="*/ 1406 w 1465"/>
                <a:gd name="T13" fmla="*/ 240 h 931"/>
                <a:gd name="T14" fmla="*/ 1285 w 1465"/>
                <a:gd name="T15" fmla="*/ 240 h 931"/>
                <a:gd name="T16" fmla="*/ 1355 w 1465"/>
                <a:gd name="T17" fmla="*/ 48 h 931"/>
                <a:gd name="T18" fmla="*/ 1359 w 1465"/>
                <a:gd name="T19" fmla="*/ 0 h 931"/>
                <a:gd name="T20" fmla="*/ 1444 w 1465"/>
                <a:gd name="T21" fmla="*/ 137 h 931"/>
                <a:gd name="T22" fmla="*/ 1406 w 1465"/>
                <a:gd name="T23" fmla="*/ 24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65" h="931">
                  <a:moveTo>
                    <a:pt x="503" y="931"/>
                  </a:moveTo>
                  <a:lnTo>
                    <a:pt x="139" y="931"/>
                  </a:lnTo>
                  <a:cubicBezTo>
                    <a:pt x="75" y="931"/>
                    <a:pt x="21" y="890"/>
                    <a:pt x="0" y="834"/>
                  </a:cubicBezTo>
                  <a:cubicBezTo>
                    <a:pt x="16" y="839"/>
                    <a:pt x="33" y="842"/>
                    <a:pt x="51" y="842"/>
                  </a:cubicBezTo>
                  <a:lnTo>
                    <a:pt x="534" y="842"/>
                  </a:lnTo>
                  <a:lnTo>
                    <a:pt x="503" y="931"/>
                  </a:lnTo>
                  <a:close/>
                  <a:moveTo>
                    <a:pt x="1406" y="240"/>
                  </a:moveTo>
                  <a:lnTo>
                    <a:pt x="1285" y="240"/>
                  </a:lnTo>
                  <a:lnTo>
                    <a:pt x="1355" y="48"/>
                  </a:lnTo>
                  <a:cubicBezTo>
                    <a:pt x="1361" y="31"/>
                    <a:pt x="1361" y="15"/>
                    <a:pt x="1359" y="0"/>
                  </a:cubicBezTo>
                  <a:cubicBezTo>
                    <a:pt x="1418" y="20"/>
                    <a:pt x="1465" y="69"/>
                    <a:pt x="1444" y="137"/>
                  </a:cubicBezTo>
                  <a:lnTo>
                    <a:pt x="1406" y="240"/>
                  </a:lnTo>
                  <a:close/>
                </a:path>
              </a:pathLst>
            </a:custGeom>
            <a:solidFill>
              <a:srgbClr val="BAD0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202">
              <a:extLst>
                <a:ext uri="{FF2B5EF4-FFF2-40B4-BE49-F238E27FC236}">
                  <a16:creationId xmlns:a16="http://schemas.microsoft.com/office/drawing/2014/main" id="{0FA66281-F4BB-4475-BDB3-B0994BD7996D}"/>
                </a:ext>
              </a:extLst>
            </p:cNvPr>
            <p:cNvSpPr>
              <a:spLocks noEditPoints="1"/>
            </p:cNvSpPr>
            <p:nvPr userDrawn="1"/>
          </p:nvSpPr>
          <p:spPr bwMode="auto">
            <a:xfrm>
              <a:off x="7031038" y="3119438"/>
              <a:ext cx="739775" cy="566738"/>
            </a:xfrm>
            <a:custGeom>
              <a:avLst/>
              <a:gdLst>
                <a:gd name="T0" fmla="*/ 68 w 903"/>
                <a:gd name="T1" fmla="*/ 691 h 691"/>
                <a:gd name="T2" fmla="*/ 0 w 903"/>
                <a:gd name="T3" fmla="*/ 691 h 691"/>
                <a:gd name="T4" fmla="*/ 31 w 903"/>
                <a:gd name="T5" fmla="*/ 602 h 691"/>
                <a:gd name="T6" fmla="*/ 99 w 903"/>
                <a:gd name="T7" fmla="*/ 602 h 691"/>
                <a:gd name="T8" fmla="*/ 68 w 903"/>
                <a:gd name="T9" fmla="*/ 691 h 691"/>
                <a:gd name="T10" fmla="*/ 882 w 903"/>
                <a:gd name="T11" fmla="*/ 57 h 691"/>
                <a:gd name="T12" fmla="*/ 761 w 903"/>
                <a:gd name="T13" fmla="*/ 57 h 691"/>
                <a:gd name="T14" fmla="*/ 782 w 903"/>
                <a:gd name="T15" fmla="*/ 0 h 691"/>
                <a:gd name="T16" fmla="*/ 903 w 903"/>
                <a:gd name="T17" fmla="*/ 0 h 691"/>
                <a:gd name="T18" fmla="*/ 882 w 903"/>
                <a:gd name="T19" fmla="*/ 57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3" h="691">
                  <a:moveTo>
                    <a:pt x="68" y="691"/>
                  </a:moveTo>
                  <a:lnTo>
                    <a:pt x="0" y="691"/>
                  </a:lnTo>
                  <a:lnTo>
                    <a:pt x="31" y="602"/>
                  </a:lnTo>
                  <a:lnTo>
                    <a:pt x="99" y="602"/>
                  </a:lnTo>
                  <a:lnTo>
                    <a:pt x="68" y="691"/>
                  </a:lnTo>
                  <a:close/>
                  <a:moveTo>
                    <a:pt x="882" y="57"/>
                  </a:moveTo>
                  <a:lnTo>
                    <a:pt x="761" y="57"/>
                  </a:lnTo>
                  <a:lnTo>
                    <a:pt x="782" y="0"/>
                  </a:lnTo>
                  <a:lnTo>
                    <a:pt x="903" y="0"/>
                  </a:lnTo>
                  <a:lnTo>
                    <a:pt x="882" y="57"/>
                  </a:lnTo>
                  <a:close/>
                </a:path>
              </a:pathLst>
            </a:custGeom>
            <a:solidFill>
              <a:srgbClr val="7EA1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203">
              <a:extLst>
                <a:ext uri="{FF2B5EF4-FFF2-40B4-BE49-F238E27FC236}">
                  <a16:creationId xmlns:a16="http://schemas.microsoft.com/office/drawing/2014/main" id="{7D82E718-CF1F-4B1D-A315-DF0A5BBBC3E0}"/>
                </a:ext>
              </a:extLst>
            </p:cNvPr>
            <p:cNvSpPr>
              <a:spLocks noEditPoints="1"/>
            </p:cNvSpPr>
            <p:nvPr userDrawn="1"/>
          </p:nvSpPr>
          <p:spPr bwMode="auto">
            <a:xfrm>
              <a:off x="7086600" y="3167063"/>
              <a:ext cx="666750" cy="519113"/>
            </a:xfrm>
            <a:custGeom>
              <a:avLst/>
              <a:gdLst>
                <a:gd name="T0" fmla="*/ 345 w 814"/>
                <a:gd name="T1" fmla="*/ 634 h 634"/>
                <a:gd name="T2" fmla="*/ 0 w 814"/>
                <a:gd name="T3" fmla="*/ 634 h 634"/>
                <a:gd name="T4" fmla="*/ 31 w 814"/>
                <a:gd name="T5" fmla="*/ 545 h 634"/>
                <a:gd name="T6" fmla="*/ 370 w 814"/>
                <a:gd name="T7" fmla="*/ 545 h 634"/>
                <a:gd name="T8" fmla="*/ 371 w 814"/>
                <a:gd name="T9" fmla="*/ 545 h 634"/>
                <a:gd name="T10" fmla="*/ 345 w 814"/>
                <a:gd name="T11" fmla="*/ 634 h 634"/>
                <a:gd name="T12" fmla="*/ 631 w 814"/>
                <a:gd name="T13" fmla="*/ 499 h 634"/>
                <a:gd name="T14" fmla="*/ 476 w 814"/>
                <a:gd name="T15" fmla="*/ 499 h 634"/>
                <a:gd name="T16" fmla="*/ 547 w 814"/>
                <a:gd name="T17" fmla="*/ 397 h 634"/>
                <a:gd name="T18" fmla="*/ 693 w 814"/>
                <a:gd name="T19" fmla="*/ 0 h 634"/>
                <a:gd name="T20" fmla="*/ 814 w 814"/>
                <a:gd name="T21" fmla="*/ 0 h 634"/>
                <a:gd name="T22" fmla="*/ 636 w 814"/>
                <a:gd name="T23" fmla="*/ 486 h 634"/>
                <a:gd name="T24" fmla="*/ 631 w 814"/>
                <a:gd name="T25" fmla="*/ 499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4" h="634">
                  <a:moveTo>
                    <a:pt x="345" y="634"/>
                  </a:moveTo>
                  <a:lnTo>
                    <a:pt x="0" y="634"/>
                  </a:lnTo>
                  <a:lnTo>
                    <a:pt x="31" y="545"/>
                  </a:lnTo>
                  <a:lnTo>
                    <a:pt x="370" y="545"/>
                  </a:lnTo>
                  <a:lnTo>
                    <a:pt x="371" y="545"/>
                  </a:lnTo>
                  <a:lnTo>
                    <a:pt x="345" y="634"/>
                  </a:lnTo>
                  <a:moveTo>
                    <a:pt x="631" y="499"/>
                  </a:moveTo>
                  <a:lnTo>
                    <a:pt x="476" y="499"/>
                  </a:lnTo>
                  <a:cubicBezTo>
                    <a:pt x="509" y="468"/>
                    <a:pt x="535" y="429"/>
                    <a:pt x="547" y="397"/>
                  </a:cubicBezTo>
                  <a:lnTo>
                    <a:pt x="693" y="0"/>
                  </a:lnTo>
                  <a:lnTo>
                    <a:pt x="814" y="0"/>
                  </a:lnTo>
                  <a:lnTo>
                    <a:pt x="636" y="486"/>
                  </a:lnTo>
                  <a:cubicBezTo>
                    <a:pt x="635" y="490"/>
                    <a:pt x="633" y="494"/>
                    <a:pt x="631" y="499"/>
                  </a:cubicBezTo>
                </a:path>
              </a:pathLst>
            </a:custGeom>
            <a:solidFill>
              <a:srgbClr val="84B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204">
              <a:extLst>
                <a:ext uri="{FF2B5EF4-FFF2-40B4-BE49-F238E27FC236}">
                  <a16:creationId xmlns:a16="http://schemas.microsoft.com/office/drawing/2014/main" id="{57D07B10-5BA0-4697-8F4D-8A525AD2175F}"/>
                </a:ext>
              </a:extLst>
            </p:cNvPr>
            <p:cNvSpPr>
              <a:spLocks/>
            </p:cNvSpPr>
            <p:nvPr userDrawn="1"/>
          </p:nvSpPr>
          <p:spPr bwMode="auto">
            <a:xfrm>
              <a:off x="7369175" y="3576638"/>
              <a:ext cx="234950" cy="109538"/>
            </a:xfrm>
            <a:custGeom>
              <a:avLst/>
              <a:gdLst>
                <a:gd name="T0" fmla="*/ 114 w 286"/>
                <a:gd name="T1" fmla="*/ 135 h 135"/>
                <a:gd name="T2" fmla="*/ 0 w 286"/>
                <a:gd name="T3" fmla="*/ 135 h 135"/>
                <a:gd name="T4" fmla="*/ 26 w 286"/>
                <a:gd name="T5" fmla="*/ 46 h 135"/>
                <a:gd name="T6" fmla="*/ 131 w 286"/>
                <a:gd name="T7" fmla="*/ 0 h 135"/>
                <a:gd name="T8" fmla="*/ 286 w 286"/>
                <a:gd name="T9" fmla="*/ 0 h 135"/>
                <a:gd name="T10" fmla="*/ 114 w 286"/>
                <a:gd name="T11" fmla="*/ 135 h 135"/>
              </a:gdLst>
              <a:ahLst/>
              <a:cxnLst>
                <a:cxn ang="0">
                  <a:pos x="T0" y="T1"/>
                </a:cxn>
                <a:cxn ang="0">
                  <a:pos x="T2" y="T3"/>
                </a:cxn>
                <a:cxn ang="0">
                  <a:pos x="T4" y="T5"/>
                </a:cxn>
                <a:cxn ang="0">
                  <a:pos x="T6" y="T7"/>
                </a:cxn>
                <a:cxn ang="0">
                  <a:pos x="T8" y="T9"/>
                </a:cxn>
                <a:cxn ang="0">
                  <a:pos x="T10" y="T11"/>
                </a:cxn>
              </a:cxnLst>
              <a:rect l="0" t="0" r="r" b="b"/>
              <a:pathLst>
                <a:path w="286" h="135">
                  <a:moveTo>
                    <a:pt x="114" y="135"/>
                  </a:moveTo>
                  <a:lnTo>
                    <a:pt x="0" y="135"/>
                  </a:lnTo>
                  <a:lnTo>
                    <a:pt x="26" y="46"/>
                  </a:lnTo>
                  <a:cubicBezTo>
                    <a:pt x="64" y="46"/>
                    <a:pt x="101" y="26"/>
                    <a:pt x="131" y="0"/>
                  </a:cubicBezTo>
                  <a:lnTo>
                    <a:pt x="286" y="0"/>
                  </a:lnTo>
                  <a:cubicBezTo>
                    <a:pt x="258" y="58"/>
                    <a:pt x="190" y="135"/>
                    <a:pt x="114" y="135"/>
                  </a:cubicBezTo>
                  <a:close/>
                </a:path>
              </a:pathLst>
            </a:custGeom>
            <a:solidFill>
              <a:srgbClr val="5A8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06">
              <a:extLst>
                <a:ext uri="{FF2B5EF4-FFF2-40B4-BE49-F238E27FC236}">
                  <a16:creationId xmlns:a16="http://schemas.microsoft.com/office/drawing/2014/main" id="{C424A378-C54D-42F5-ACEF-BE10A2867907}"/>
                </a:ext>
              </a:extLst>
            </p:cNvPr>
            <p:cNvSpPr>
              <a:spLocks/>
            </p:cNvSpPr>
            <p:nvPr userDrawn="1"/>
          </p:nvSpPr>
          <p:spPr bwMode="auto">
            <a:xfrm>
              <a:off x="6538913" y="2841625"/>
              <a:ext cx="1212850" cy="771525"/>
            </a:xfrm>
            <a:custGeom>
              <a:avLst/>
              <a:gdLst>
                <a:gd name="T0" fmla="*/ 1452 w 1480"/>
                <a:gd name="T1" fmla="*/ 148 h 942"/>
                <a:gd name="T2" fmla="*/ 1215 w 1480"/>
                <a:gd name="T3" fmla="*/ 794 h 942"/>
                <a:gd name="T4" fmla="*/ 1038 w 1480"/>
                <a:gd name="T5" fmla="*/ 942 h 942"/>
                <a:gd name="T6" fmla="*/ 148 w 1480"/>
                <a:gd name="T7" fmla="*/ 942 h 942"/>
                <a:gd name="T8" fmla="*/ 0 w 1480"/>
                <a:gd name="T9" fmla="*/ 794 h 942"/>
                <a:gd name="T10" fmla="*/ 71 w 1480"/>
                <a:gd name="T11" fmla="*/ 600 h 942"/>
                <a:gd name="T12" fmla="*/ 190 w 1480"/>
                <a:gd name="T13" fmla="*/ 274 h 942"/>
                <a:gd name="T14" fmla="*/ 236 w 1480"/>
                <a:gd name="T15" fmla="*/ 148 h 942"/>
                <a:gd name="T16" fmla="*/ 384 w 1480"/>
                <a:gd name="T17" fmla="*/ 0 h 942"/>
                <a:gd name="T18" fmla="*/ 1304 w 1480"/>
                <a:gd name="T19" fmla="*/ 0 h 942"/>
                <a:gd name="T20" fmla="*/ 1452 w 1480"/>
                <a:gd name="T21" fmla="*/ 14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0" h="942">
                  <a:moveTo>
                    <a:pt x="1452" y="148"/>
                  </a:moveTo>
                  <a:lnTo>
                    <a:pt x="1215" y="794"/>
                  </a:lnTo>
                  <a:cubicBezTo>
                    <a:pt x="1192" y="854"/>
                    <a:pt x="1120" y="942"/>
                    <a:pt x="1038" y="942"/>
                  </a:cubicBezTo>
                  <a:lnTo>
                    <a:pt x="148" y="942"/>
                  </a:lnTo>
                  <a:cubicBezTo>
                    <a:pt x="66" y="942"/>
                    <a:pt x="0" y="876"/>
                    <a:pt x="0" y="794"/>
                  </a:cubicBezTo>
                  <a:lnTo>
                    <a:pt x="71" y="600"/>
                  </a:lnTo>
                  <a:lnTo>
                    <a:pt x="190" y="274"/>
                  </a:lnTo>
                  <a:lnTo>
                    <a:pt x="236" y="148"/>
                  </a:lnTo>
                  <a:cubicBezTo>
                    <a:pt x="267" y="58"/>
                    <a:pt x="303" y="0"/>
                    <a:pt x="384" y="0"/>
                  </a:cubicBezTo>
                  <a:lnTo>
                    <a:pt x="1304" y="0"/>
                  </a:lnTo>
                  <a:cubicBezTo>
                    <a:pt x="1386" y="0"/>
                    <a:pt x="1480" y="57"/>
                    <a:pt x="1452" y="148"/>
                  </a:cubicBezTo>
                  <a:close/>
                </a:path>
              </a:pathLst>
            </a:custGeom>
            <a:solidFill>
              <a:srgbClr val="303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07">
              <a:extLst>
                <a:ext uri="{FF2B5EF4-FFF2-40B4-BE49-F238E27FC236}">
                  <a16:creationId xmlns:a16="http://schemas.microsoft.com/office/drawing/2014/main" id="{8BA34320-BC85-4703-8216-391121D08FD3}"/>
                </a:ext>
              </a:extLst>
            </p:cNvPr>
            <p:cNvSpPr>
              <a:spLocks/>
            </p:cNvSpPr>
            <p:nvPr userDrawn="1"/>
          </p:nvSpPr>
          <p:spPr bwMode="auto">
            <a:xfrm>
              <a:off x="6597651" y="3065463"/>
              <a:ext cx="206375" cy="273050"/>
            </a:xfrm>
            <a:custGeom>
              <a:avLst/>
              <a:gdLst>
                <a:gd name="T0" fmla="*/ 128 w 253"/>
                <a:gd name="T1" fmla="*/ 333 h 333"/>
                <a:gd name="T2" fmla="*/ 16 w 253"/>
                <a:gd name="T3" fmla="*/ 333 h 333"/>
                <a:gd name="T4" fmla="*/ 0 w 253"/>
                <a:gd name="T5" fmla="*/ 326 h 333"/>
                <a:gd name="T6" fmla="*/ 119 w 253"/>
                <a:gd name="T7" fmla="*/ 0 h 333"/>
                <a:gd name="T8" fmla="*/ 227 w 253"/>
                <a:gd name="T9" fmla="*/ 0 h 333"/>
                <a:gd name="T10" fmla="*/ 248 w 253"/>
                <a:gd name="T11" fmla="*/ 30 h 333"/>
                <a:gd name="T12" fmla="*/ 167 w 253"/>
                <a:gd name="T13" fmla="*/ 303 h 333"/>
                <a:gd name="T14" fmla="*/ 128 w 253"/>
                <a:gd name="T15" fmla="*/ 333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333">
                  <a:moveTo>
                    <a:pt x="128" y="333"/>
                  </a:moveTo>
                  <a:lnTo>
                    <a:pt x="16" y="333"/>
                  </a:lnTo>
                  <a:cubicBezTo>
                    <a:pt x="9" y="333"/>
                    <a:pt x="4" y="330"/>
                    <a:pt x="0" y="326"/>
                  </a:cubicBezTo>
                  <a:lnTo>
                    <a:pt x="119" y="0"/>
                  </a:lnTo>
                  <a:lnTo>
                    <a:pt x="227" y="0"/>
                  </a:lnTo>
                  <a:cubicBezTo>
                    <a:pt x="243" y="0"/>
                    <a:pt x="253" y="13"/>
                    <a:pt x="248" y="30"/>
                  </a:cubicBezTo>
                  <a:lnTo>
                    <a:pt x="167" y="303"/>
                  </a:lnTo>
                  <a:cubicBezTo>
                    <a:pt x="162" y="320"/>
                    <a:pt x="144" y="333"/>
                    <a:pt x="128" y="333"/>
                  </a:cubicBezTo>
                </a:path>
              </a:pathLst>
            </a:custGeom>
            <a:solidFill>
              <a:srgbClr val="2B3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08">
              <a:extLst>
                <a:ext uri="{FF2B5EF4-FFF2-40B4-BE49-F238E27FC236}">
                  <a16:creationId xmlns:a16="http://schemas.microsoft.com/office/drawing/2014/main" id="{E16A87E0-4BDA-43A2-BDAE-FB0CF5FA8008}"/>
                </a:ext>
              </a:extLst>
            </p:cNvPr>
            <p:cNvSpPr>
              <a:spLocks/>
            </p:cNvSpPr>
            <p:nvPr userDrawn="1"/>
          </p:nvSpPr>
          <p:spPr bwMode="auto">
            <a:xfrm>
              <a:off x="6829426" y="2894013"/>
              <a:ext cx="266700" cy="444500"/>
            </a:xfrm>
            <a:custGeom>
              <a:avLst/>
              <a:gdLst>
                <a:gd name="T0" fmla="*/ 138 w 325"/>
                <a:gd name="T1" fmla="*/ 543 h 543"/>
                <a:gd name="T2" fmla="*/ 26 w 325"/>
                <a:gd name="T3" fmla="*/ 543 h 543"/>
                <a:gd name="T4" fmla="*/ 5 w 325"/>
                <a:gd name="T5" fmla="*/ 513 h 543"/>
                <a:gd name="T6" fmla="*/ 149 w 325"/>
                <a:gd name="T7" fmla="*/ 30 h 543"/>
                <a:gd name="T8" fmla="*/ 187 w 325"/>
                <a:gd name="T9" fmla="*/ 0 h 543"/>
                <a:gd name="T10" fmla="*/ 299 w 325"/>
                <a:gd name="T11" fmla="*/ 0 h 543"/>
                <a:gd name="T12" fmla="*/ 320 w 325"/>
                <a:gd name="T13" fmla="*/ 30 h 543"/>
                <a:gd name="T14" fmla="*/ 176 w 325"/>
                <a:gd name="T15" fmla="*/ 513 h 543"/>
                <a:gd name="T16" fmla="*/ 138 w 325"/>
                <a:gd name="T17"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5" h="543">
                  <a:moveTo>
                    <a:pt x="138" y="543"/>
                  </a:moveTo>
                  <a:lnTo>
                    <a:pt x="26" y="543"/>
                  </a:lnTo>
                  <a:cubicBezTo>
                    <a:pt x="9" y="543"/>
                    <a:pt x="0" y="530"/>
                    <a:pt x="5" y="513"/>
                  </a:cubicBezTo>
                  <a:lnTo>
                    <a:pt x="149" y="30"/>
                  </a:lnTo>
                  <a:cubicBezTo>
                    <a:pt x="154" y="14"/>
                    <a:pt x="171" y="0"/>
                    <a:pt x="187" y="0"/>
                  </a:cubicBezTo>
                  <a:lnTo>
                    <a:pt x="299" y="0"/>
                  </a:lnTo>
                  <a:cubicBezTo>
                    <a:pt x="315" y="0"/>
                    <a:pt x="325" y="14"/>
                    <a:pt x="320" y="30"/>
                  </a:cubicBezTo>
                  <a:lnTo>
                    <a:pt x="176" y="513"/>
                  </a:lnTo>
                  <a:cubicBezTo>
                    <a:pt x="171" y="530"/>
                    <a:pt x="154" y="543"/>
                    <a:pt x="138" y="543"/>
                  </a:cubicBezTo>
                </a:path>
              </a:pathLst>
            </a:custGeom>
            <a:solidFill>
              <a:srgbClr val="2B3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209">
              <a:extLst>
                <a:ext uri="{FF2B5EF4-FFF2-40B4-BE49-F238E27FC236}">
                  <a16:creationId xmlns:a16="http://schemas.microsoft.com/office/drawing/2014/main" id="{B1386FD1-225C-447D-8315-A12CF468684F}"/>
                </a:ext>
              </a:extLst>
            </p:cNvPr>
            <p:cNvSpPr>
              <a:spLocks/>
            </p:cNvSpPr>
            <p:nvPr userDrawn="1"/>
          </p:nvSpPr>
          <p:spPr bwMode="auto">
            <a:xfrm>
              <a:off x="7270751" y="2841625"/>
              <a:ext cx="284163" cy="496888"/>
            </a:xfrm>
            <a:custGeom>
              <a:avLst/>
              <a:gdLst>
                <a:gd name="T0" fmla="*/ 137 w 347"/>
                <a:gd name="T1" fmla="*/ 607 h 607"/>
                <a:gd name="T2" fmla="*/ 25 w 347"/>
                <a:gd name="T3" fmla="*/ 607 h 607"/>
                <a:gd name="T4" fmla="*/ 5 w 347"/>
                <a:gd name="T5" fmla="*/ 577 h 607"/>
                <a:gd name="T6" fmla="*/ 176 w 347"/>
                <a:gd name="T7" fmla="*/ 0 h 607"/>
                <a:gd name="T8" fmla="*/ 347 w 347"/>
                <a:gd name="T9" fmla="*/ 0 h 607"/>
                <a:gd name="T10" fmla="*/ 176 w 347"/>
                <a:gd name="T11" fmla="*/ 577 h 607"/>
                <a:gd name="T12" fmla="*/ 137 w 347"/>
                <a:gd name="T13" fmla="*/ 607 h 607"/>
              </a:gdLst>
              <a:ahLst/>
              <a:cxnLst>
                <a:cxn ang="0">
                  <a:pos x="T0" y="T1"/>
                </a:cxn>
                <a:cxn ang="0">
                  <a:pos x="T2" y="T3"/>
                </a:cxn>
                <a:cxn ang="0">
                  <a:pos x="T4" y="T5"/>
                </a:cxn>
                <a:cxn ang="0">
                  <a:pos x="T6" y="T7"/>
                </a:cxn>
                <a:cxn ang="0">
                  <a:pos x="T8" y="T9"/>
                </a:cxn>
                <a:cxn ang="0">
                  <a:pos x="T10" y="T11"/>
                </a:cxn>
                <a:cxn ang="0">
                  <a:pos x="T12" y="T13"/>
                </a:cxn>
              </a:cxnLst>
              <a:rect l="0" t="0" r="r" b="b"/>
              <a:pathLst>
                <a:path w="347" h="607">
                  <a:moveTo>
                    <a:pt x="137" y="607"/>
                  </a:moveTo>
                  <a:lnTo>
                    <a:pt x="25" y="607"/>
                  </a:lnTo>
                  <a:cubicBezTo>
                    <a:pt x="9" y="607"/>
                    <a:pt x="0" y="594"/>
                    <a:pt x="5" y="577"/>
                  </a:cubicBezTo>
                  <a:lnTo>
                    <a:pt x="176" y="0"/>
                  </a:lnTo>
                  <a:lnTo>
                    <a:pt x="347" y="0"/>
                  </a:lnTo>
                  <a:lnTo>
                    <a:pt x="176" y="577"/>
                  </a:lnTo>
                  <a:cubicBezTo>
                    <a:pt x="171" y="594"/>
                    <a:pt x="154" y="607"/>
                    <a:pt x="137" y="607"/>
                  </a:cubicBezTo>
                  <a:close/>
                </a:path>
              </a:pathLst>
            </a:custGeom>
            <a:solidFill>
              <a:srgbClr val="2B3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10">
              <a:extLst>
                <a:ext uri="{FF2B5EF4-FFF2-40B4-BE49-F238E27FC236}">
                  <a16:creationId xmlns:a16="http://schemas.microsoft.com/office/drawing/2014/main" id="{321B056C-4F9A-411E-805E-CA2A76B0BEC6}"/>
                </a:ext>
              </a:extLst>
            </p:cNvPr>
            <p:cNvSpPr>
              <a:spLocks/>
            </p:cNvSpPr>
            <p:nvPr userDrawn="1"/>
          </p:nvSpPr>
          <p:spPr bwMode="auto">
            <a:xfrm>
              <a:off x="7043738" y="2984500"/>
              <a:ext cx="238125" cy="354013"/>
            </a:xfrm>
            <a:custGeom>
              <a:avLst/>
              <a:gdLst>
                <a:gd name="T0" fmla="*/ 137 w 291"/>
                <a:gd name="T1" fmla="*/ 432 h 432"/>
                <a:gd name="T2" fmla="*/ 25 w 291"/>
                <a:gd name="T3" fmla="*/ 432 h 432"/>
                <a:gd name="T4" fmla="*/ 4 w 291"/>
                <a:gd name="T5" fmla="*/ 402 h 432"/>
                <a:gd name="T6" fmla="*/ 115 w 291"/>
                <a:gd name="T7" fmla="*/ 30 h 432"/>
                <a:gd name="T8" fmla="*/ 154 w 291"/>
                <a:gd name="T9" fmla="*/ 0 h 432"/>
                <a:gd name="T10" fmla="*/ 266 w 291"/>
                <a:gd name="T11" fmla="*/ 0 h 432"/>
                <a:gd name="T12" fmla="*/ 286 w 291"/>
                <a:gd name="T13" fmla="*/ 30 h 432"/>
                <a:gd name="T14" fmla="*/ 176 w 291"/>
                <a:gd name="T15" fmla="*/ 402 h 432"/>
                <a:gd name="T16" fmla="*/ 137 w 291"/>
                <a:gd name="T17"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432">
                  <a:moveTo>
                    <a:pt x="137" y="432"/>
                  </a:moveTo>
                  <a:lnTo>
                    <a:pt x="25" y="432"/>
                  </a:lnTo>
                  <a:cubicBezTo>
                    <a:pt x="9" y="432"/>
                    <a:pt x="0" y="419"/>
                    <a:pt x="4" y="402"/>
                  </a:cubicBezTo>
                  <a:lnTo>
                    <a:pt x="115" y="30"/>
                  </a:lnTo>
                  <a:cubicBezTo>
                    <a:pt x="120" y="14"/>
                    <a:pt x="137" y="0"/>
                    <a:pt x="154" y="0"/>
                  </a:cubicBezTo>
                  <a:lnTo>
                    <a:pt x="266" y="0"/>
                  </a:lnTo>
                  <a:cubicBezTo>
                    <a:pt x="282" y="0"/>
                    <a:pt x="291" y="14"/>
                    <a:pt x="286" y="30"/>
                  </a:cubicBezTo>
                  <a:lnTo>
                    <a:pt x="176" y="402"/>
                  </a:lnTo>
                  <a:cubicBezTo>
                    <a:pt x="171" y="419"/>
                    <a:pt x="154" y="432"/>
                    <a:pt x="137" y="432"/>
                  </a:cubicBezTo>
                </a:path>
              </a:pathLst>
            </a:custGeom>
            <a:solidFill>
              <a:srgbClr val="2B3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11">
              <a:extLst>
                <a:ext uri="{FF2B5EF4-FFF2-40B4-BE49-F238E27FC236}">
                  <a16:creationId xmlns:a16="http://schemas.microsoft.com/office/drawing/2014/main" id="{17DCE9FD-78DA-4AEB-8213-02C9946EC830}"/>
                </a:ext>
              </a:extLst>
            </p:cNvPr>
            <p:cNvSpPr>
              <a:spLocks/>
            </p:cNvSpPr>
            <p:nvPr userDrawn="1"/>
          </p:nvSpPr>
          <p:spPr bwMode="auto">
            <a:xfrm>
              <a:off x="7008813" y="2838450"/>
              <a:ext cx="7938" cy="3175"/>
            </a:xfrm>
            <a:custGeom>
              <a:avLst/>
              <a:gdLst>
                <a:gd name="T0" fmla="*/ 5 w 5"/>
                <a:gd name="T1" fmla="*/ 2 h 2"/>
                <a:gd name="T2" fmla="*/ 0 w 5"/>
                <a:gd name="T3" fmla="*/ 2 h 2"/>
                <a:gd name="T4" fmla="*/ 5 w 5"/>
                <a:gd name="T5" fmla="*/ 0 h 2"/>
                <a:gd name="T6" fmla="*/ 5 w 5"/>
                <a:gd name="T7" fmla="*/ 2 h 2"/>
              </a:gdLst>
              <a:ahLst/>
              <a:cxnLst>
                <a:cxn ang="0">
                  <a:pos x="T0" y="T1"/>
                </a:cxn>
                <a:cxn ang="0">
                  <a:pos x="T2" y="T3"/>
                </a:cxn>
                <a:cxn ang="0">
                  <a:pos x="T4" y="T5"/>
                </a:cxn>
                <a:cxn ang="0">
                  <a:pos x="T6" y="T7"/>
                </a:cxn>
              </a:cxnLst>
              <a:rect l="0" t="0" r="r" b="b"/>
              <a:pathLst>
                <a:path w="5" h="2">
                  <a:moveTo>
                    <a:pt x="5" y="2"/>
                  </a:moveTo>
                  <a:lnTo>
                    <a:pt x="0" y="2"/>
                  </a:lnTo>
                  <a:lnTo>
                    <a:pt x="5" y="0"/>
                  </a:lnTo>
                  <a:lnTo>
                    <a:pt x="5" y="2"/>
                  </a:lnTo>
                  <a:close/>
                </a:path>
              </a:pathLst>
            </a:custGeom>
            <a:solidFill>
              <a:srgbClr val="2A54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12">
              <a:extLst>
                <a:ext uri="{FF2B5EF4-FFF2-40B4-BE49-F238E27FC236}">
                  <a16:creationId xmlns:a16="http://schemas.microsoft.com/office/drawing/2014/main" id="{286FA7F4-407B-47FA-BF6D-D3122DC845E4}"/>
                </a:ext>
              </a:extLst>
            </p:cNvPr>
            <p:cNvSpPr>
              <a:spLocks/>
            </p:cNvSpPr>
            <p:nvPr userDrawn="1"/>
          </p:nvSpPr>
          <p:spPr bwMode="auto">
            <a:xfrm>
              <a:off x="6821488" y="2841625"/>
              <a:ext cx="219075" cy="90488"/>
            </a:xfrm>
            <a:custGeom>
              <a:avLst/>
              <a:gdLst>
                <a:gd name="T0" fmla="*/ 3 w 266"/>
                <a:gd name="T1" fmla="*/ 111 h 111"/>
                <a:gd name="T2" fmla="*/ 0 w 266"/>
                <a:gd name="T3" fmla="*/ 96 h 111"/>
                <a:gd name="T4" fmla="*/ 228 w 266"/>
                <a:gd name="T5" fmla="*/ 0 h 111"/>
                <a:gd name="T6" fmla="*/ 238 w 266"/>
                <a:gd name="T7" fmla="*/ 0 h 111"/>
                <a:gd name="T8" fmla="*/ 266 w 266"/>
                <a:gd name="T9" fmla="*/ 0 h 111"/>
                <a:gd name="T10" fmla="*/ 238 w 266"/>
                <a:gd name="T11" fmla="*/ 0 h 111"/>
                <a:gd name="T12" fmla="*/ 241 w 266"/>
                <a:gd name="T13" fmla="*/ 11 h 111"/>
                <a:gd name="T14" fmla="*/ 3 w 266"/>
                <a:gd name="T15" fmla="*/ 111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111">
                  <a:moveTo>
                    <a:pt x="3" y="111"/>
                  </a:moveTo>
                  <a:cubicBezTo>
                    <a:pt x="3" y="105"/>
                    <a:pt x="2" y="100"/>
                    <a:pt x="0" y="96"/>
                  </a:cubicBezTo>
                  <a:lnTo>
                    <a:pt x="228" y="0"/>
                  </a:lnTo>
                  <a:lnTo>
                    <a:pt x="238" y="0"/>
                  </a:lnTo>
                  <a:lnTo>
                    <a:pt x="266" y="0"/>
                  </a:lnTo>
                  <a:lnTo>
                    <a:pt x="238" y="0"/>
                  </a:lnTo>
                  <a:cubicBezTo>
                    <a:pt x="238" y="4"/>
                    <a:pt x="239" y="8"/>
                    <a:pt x="241" y="11"/>
                  </a:cubicBezTo>
                  <a:lnTo>
                    <a:pt x="3" y="111"/>
                  </a:lnTo>
                </a:path>
              </a:pathLst>
            </a:custGeom>
            <a:solidFill>
              <a:srgbClr val="2B3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213">
              <a:extLst>
                <a:ext uri="{FF2B5EF4-FFF2-40B4-BE49-F238E27FC236}">
                  <a16:creationId xmlns:a16="http://schemas.microsoft.com/office/drawing/2014/main" id="{9D6843B9-D80A-46F8-9638-363F5D11B9D2}"/>
                </a:ext>
              </a:extLst>
            </p:cNvPr>
            <p:cNvSpPr>
              <a:spLocks/>
            </p:cNvSpPr>
            <p:nvPr userDrawn="1"/>
          </p:nvSpPr>
          <p:spPr bwMode="auto">
            <a:xfrm>
              <a:off x="7070726" y="2836863"/>
              <a:ext cx="15875" cy="4763"/>
            </a:xfrm>
            <a:custGeom>
              <a:avLst/>
              <a:gdLst>
                <a:gd name="T0" fmla="*/ 19 w 19"/>
                <a:gd name="T1" fmla="*/ 6 h 6"/>
                <a:gd name="T2" fmla="*/ 0 w 19"/>
                <a:gd name="T3" fmla="*/ 6 h 6"/>
                <a:gd name="T4" fmla="*/ 4 w 19"/>
                <a:gd name="T5" fmla="*/ 0 h 6"/>
                <a:gd name="T6" fmla="*/ 19 w 19"/>
                <a:gd name="T7" fmla="*/ 6 h 6"/>
              </a:gdLst>
              <a:ahLst/>
              <a:cxnLst>
                <a:cxn ang="0">
                  <a:pos x="T0" y="T1"/>
                </a:cxn>
                <a:cxn ang="0">
                  <a:pos x="T2" y="T3"/>
                </a:cxn>
                <a:cxn ang="0">
                  <a:pos x="T4" y="T5"/>
                </a:cxn>
                <a:cxn ang="0">
                  <a:pos x="T6" y="T7"/>
                </a:cxn>
              </a:cxnLst>
              <a:rect l="0" t="0" r="r" b="b"/>
              <a:pathLst>
                <a:path w="19" h="6">
                  <a:moveTo>
                    <a:pt x="19" y="6"/>
                  </a:moveTo>
                  <a:lnTo>
                    <a:pt x="0" y="6"/>
                  </a:lnTo>
                  <a:cubicBezTo>
                    <a:pt x="2" y="4"/>
                    <a:pt x="3" y="2"/>
                    <a:pt x="4" y="0"/>
                  </a:cubicBezTo>
                  <a:lnTo>
                    <a:pt x="19" y="6"/>
                  </a:lnTo>
                  <a:close/>
                </a:path>
              </a:pathLst>
            </a:custGeom>
            <a:solidFill>
              <a:srgbClr val="2A54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214">
              <a:extLst>
                <a:ext uri="{FF2B5EF4-FFF2-40B4-BE49-F238E27FC236}">
                  <a16:creationId xmlns:a16="http://schemas.microsoft.com/office/drawing/2014/main" id="{47D434FA-199F-4FB7-97DE-D069D9AB9379}"/>
                </a:ext>
              </a:extLst>
            </p:cNvPr>
            <p:cNvSpPr>
              <a:spLocks noEditPoints="1"/>
            </p:cNvSpPr>
            <p:nvPr userDrawn="1"/>
          </p:nvSpPr>
          <p:spPr bwMode="auto">
            <a:xfrm>
              <a:off x="7054851" y="2841625"/>
              <a:ext cx="300038" cy="63500"/>
            </a:xfrm>
            <a:custGeom>
              <a:avLst/>
              <a:gdLst>
                <a:gd name="T0" fmla="*/ 191 w 367"/>
                <a:gd name="T1" fmla="*/ 78 h 78"/>
                <a:gd name="T2" fmla="*/ 15 w 367"/>
                <a:gd name="T3" fmla="*/ 7 h 78"/>
                <a:gd name="T4" fmla="*/ 20 w 367"/>
                <a:gd name="T5" fmla="*/ 0 h 78"/>
                <a:gd name="T6" fmla="*/ 0 w 367"/>
                <a:gd name="T7" fmla="*/ 0 h 78"/>
                <a:gd name="T8" fmla="*/ 20 w 367"/>
                <a:gd name="T9" fmla="*/ 0 h 78"/>
                <a:gd name="T10" fmla="*/ 20 w 367"/>
                <a:gd name="T11" fmla="*/ 0 h 78"/>
                <a:gd name="T12" fmla="*/ 39 w 367"/>
                <a:gd name="T13" fmla="*/ 0 h 78"/>
                <a:gd name="T14" fmla="*/ 200 w 367"/>
                <a:gd name="T15" fmla="*/ 65 h 78"/>
                <a:gd name="T16" fmla="*/ 200 w 367"/>
                <a:gd name="T17" fmla="*/ 65 h 78"/>
                <a:gd name="T18" fmla="*/ 191 w 367"/>
                <a:gd name="T19" fmla="*/ 78 h 78"/>
                <a:gd name="T20" fmla="*/ 261 w 367"/>
                <a:gd name="T21" fmla="*/ 68 h 78"/>
                <a:gd name="T22" fmla="*/ 255 w 367"/>
                <a:gd name="T23" fmla="*/ 55 h 78"/>
                <a:gd name="T24" fmla="*/ 255 w 367"/>
                <a:gd name="T25" fmla="*/ 55 h 78"/>
                <a:gd name="T26" fmla="*/ 340 w 367"/>
                <a:gd name="T27" fmla="*/ 0 h 78"/>
                <a:gd name="T28" fmla="*/ 367 w 367"/>
                <a:gd name="T29" fmla="*/ 0 h 78"/>
                <a:gd name="T30" fmla="*/ 261 w 367"/>
                <a:gd name="T31"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7" h="78">
                  <a:moveTo>
                    <a:pt x="191" y="78"/>
                  </a:moveTo>
                  <a:lnTo>
                    <a:pt x="15" y="7"/>
                  </a:lnTo>
                  <a:cubicBezTo>
                    <a:pt x="17" y="5"/>
                    <a:pt x="19" y="3"/>
                    <a:pt x="20" y="0"/>
                  </a:cubicBezTo>
                  <a:lnTo>
                    <a:pt x="0" y="0"/>
                  </a:lnTo>
                  <a:lnTo>
                    <a:pt x="20" y="0"/>
                  </a:lnTo>
                  <a:lnTo>
                    <a:pt x="20" y="0"/>
                  </a:lnTo>
                  <a:lnTo>
                    <a:pt x="39" y="0"/>
                  </a:lnTo>
                  <a:lnTo>
                    <a:pt x="200" y="65"/>
                  </a:lnTo>
                  <a:lnTo>
                    <a:pt x="200" y="65"/>
                  </a:lnTo>
                  <a:cubicBezTo>
                    <a:pt x="196" y="69"/>
                    <a:pt x="194" y="73"/>
                    <a:pt x="191" y="78"/>
                  </a:cubicBezTo>
                  <a:close/>
                  <a:moveTo>
                    <a:pt x="261" y="68"/>
                  </a:moveTo>
                  <a:cubicBezTo>
                    <a:pt x="260" y="63"/>
                    <a:pt x="258" y="58"/>
                    <a:pt x="255" y="55"/>
                  </a:cubicBezTo>
                  <a:lnTo>
                    <a:pt x="255" y="55"/>
                  </a:lnTo>
                  <a:lnTo>
                    <a:pt x="340" y="0"/>
                  </a:lnTo>
                  <a:lnTo>
                    <a:pt x="367" y="0"/>
                  </a:lnTo>
                  <a:lnTo>
                    <a:pt x="261" y="68"/>
                  </a:lnTo>
                </a:path>
              </a:pathLst>
            </a:custGeom>
            <a:solidFill>
              <a:srgbClr val="2B3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215">
              <a:extLst>
                <a:ext uri="{FF2B5EF4-FFF2-40B4-BE49-F238E27FC236}">
                  <a16:creationId xmlns:a16="http://schemas.microsoft.com/office/drawing/2014/main" id="{DD8C45D3-466F-433C-9AE3-29192C81FE4E}"/>
                </a:ext>
              </a:extLst>
            </p:cNvPr>
            <p:cNvSpPr>
              <a:spLocks/>
            </p:cNvSpPr>
            <p:nvPr userDrawn="1"/>
          </p:nvSpPr>
          <p:spPr bwMode="auto">
            <a:xfrm>
              <a:off x="6761163" y="2909888"/>
              <a:ext cx="63500" cy="57150"/>
            </a:xfrm>
            <a:custGeom>
              <a:avLst/>
              <a:gdLst>
                <a:gd name="T0" fmla="*/ 30 w 78"/>
                <a:gd name="T1" fmla="*/ 70 h 70"/>
                <a:gd name="T2" fmla="*/ 6 w 78"/>
                <a:gd name="T3" fmla="*/ 35 h 70"/>
                <a:gd name="T4" fmla="*/ 51 w 78"/>
                <a:gd name="T5" fmla="*/ 0 h 70"/>
                <a:gd name="T6" fmla="*/ 75 w 78"/>
                <a:gd name="T7" fmla="*/ 13 h 70"/>
                <a:gd name="T8" fmla="*/ 78 w 78"/>
                <a:gd name="T9" fmla="*/ 28 h 70"/>
                <a:gd name="T10" fmla="*/ 76 w 78"/>
                <a:gd name="T11" fmla="*/ 35 h 70"/>
                <a:gd name="T12" fmla="*/ 30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30" y="70"/>
                  </a:moveTo>
                  <a:cubicBezTo>
                    <a:pt x="11" y="70"/>
                    <a:pt x="0" y="55"/>
                    <a:pt x="6" y="35"/>
                  </a:cubicBezTo>
                  <a:cubicBezTo>
                    <a:pt x="11" y="16"/>
                    <a:pt x="32" y="0"/>
                    <a:pt x="51" y="0"/>
                  </a:cubicBezTo>
                  <a:cubicBezTo>
                    <a:pt x="62" y="0"/>
                    <a:pt x="71" y="5"/>
                    <a:pt x="75" y="13"/>
                  </a:cubicBezTo>
                  <a:cubicBezTo>
                    <a:pt x="77" y="17"/>
                    <a:pt x="78" y="22"/>
                    <a:pt x="78" y="28"/>
                  </a:cubicBezTo>
                  <a:cubicBezTo>
                    <a:pt x="77" y="30"/>
                    <a:pt x="77" y="33"/>
                    <a:pt x="76" y="35"/>
                  </a:cubicBezTo>
                  <a:cubicBezTo>
                    <a:pt x="70" y="55"/>
                    <a:pt x="50" y="70"/>
                    <a:pt x="30" y="70"/>
                  </a:cubicBezTo>
                </a:path>
              </a:pathLst>
            </a:custGeom>
            <a:solidFill>
              <a:srgbClr val="2B3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216">
              <a:extLst>
                <a:ext uri="{FF2B5EF4-FFF2-40B4-BE49-F238E27FC236}">
                  <a16:creationId xmlns:a16="http://schemas.microsoft.com/office/drawing/2014/main" id="{160E1FBB-ED6A-4C4C-A175-1F6256A0E1E6}"/>
                </a:ext>
              </a:extLst>
            </p:cNvPr>
            <p:cNvSpPr>
              <a:spLocks/>
            </p:cNvSpPr>
            <p:nvPr userDrawn="1"/>
          </p:nvSpPr>
          <p:spPr bwMode="auto">
            <a:xfrm>
              <a:off x="7040563" y="2838450"/>
              <a:ext cx="14288" cy="3175"/>
            </a:xfrm>
            <a:custGeom>
              <a:avLst/>
              <a:gdLst>
                <a:gd name="T0" fmla="*/ 9 w 9"/>
                <a:gd name="T1" fmla="*/ 2 h 2"/>
                <a:gd name="T2" fmla="*/ 0 w 9"/>
                <a:gd name="T3" fmla="*/ 2 h 2"/>
                <a:gd name="T4" fmla="*/ 4 w 9"/>
                <a:gd name="T5" fmla="*/ 0 h 2"/>
                <a:gd name="T6" fmla="*/ 9 w 9"/>
                <a:gd name="T7" fmla="*/ 2 h 2"/>
              </a:gdLst>
              <a:ahLst/>
              <a:cxnLst>
                <a:cxn ang="0">
                  <a:pos x="T0" y="T1"/>
                </a:cxn>
                <a:cxn ang="0">
                  <a:pos x="T2" y="T3"/>
                </a:cxn>
                <a:cxn ang="0">
                  <a:pos x="T4" y="T5"/>
                </a:cxn>
                <a:cxn ang="0">
                  <a:pos x="T6" y="T7"/>
                </a:cxn>
              </a:cxnLst>
              <a:rect l="0" t="0" r="r" b="b"/>
              <a:pathLst>
                <a:path w="9" h="2">
                  <a:moveTo>
                    <a:pt x="9" y="2"/>
                  </a:moveTo>
                  <a:lnTo>
                    <a:pt x="0" y="2"/>
                  </a:lnTo>
                  <a:lnTo>
                    <a:pt x="4" y="0"/>
                  </a:lnTo>
                  <a:lnTo>
                    <a:pt x="9" y="2"/>
                  </a:lnTo>
                  <a:close/>
                </a:path>
              </a:pathLst>
            </a:custGeom>
            <a:solidFill>
              <a:srgbClr val="2A54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217">
              <a:extLst>
                <a:ext uri="{FF2B5EF4-FFF2-40B4-BE49-F238E27FC236}">
                  <a16:creationId xmlns:a16="http://schemas.microsoft.com/office/drawing/2014/main" id="{B45BB1FE-E76E-4B62-A3E9-25FA34F8CE67}"/>
                </a:ext>
              </a:extLst>
            </p:cNvPr>
            <p:cNvSpPr>
              <a:spLocks/>
            </p:cNvSpPr>
            <p:nvPr userDrawn="1"/>
          </p:nvSpPr>
          <p:spPr bwMode="auto">
            <a:xfrm>
              <a:off x="7016751" y="2841625"/>
              <a:ext cx="53975" cy="19050"/>
            </a:xfrm>
            <a:custGeom>
              <a:avLst/>
              <a:gdLst>
                <a:gd name="T0" fmla="*/ 26 w 66"/>
                <a:gd name="T1" fmla="*/ 24 h 24"/>
                <a:gd name="T2" fmla="*/ 3 w 66"/>
                <a:gd name="T3" fmla="*/ 11 h 24"/>
                <a:gd name="T4" fmla="*/ 3 w 66"/>
                <a:gd name="T5" fmla="*/ 11 h 24"/>
                <a:gd name="T6" fmla="*/ 0 w 66"/>
                <a:gd name="T7" fmla="*/ 0 h 24"/>
                <a:gd name="T8" fmla="*/ 28 w 66"/>
                <a:gd name="T9" fmla="*/ 0 h 24"/>
                <a:gd name="T10" fmla="*/ 46 w 66"/>
                <a:gd name="T11" fmla="*/ 0 h 24"/>
                <a:gd name="T12" fmla="*/ 66 w 66"/>
                <a:gd name="T13" fmla="*/ 0 h 24"/>
                <a:gd name="T14" fmla="*/ 61 w 66"/>
                <a:gd name="T15" fmla="*/ 7 h 24"/>
                <a:gd name="T16" fmla="*/ 61 w 66"/>
                <a:gd name="T17" fmla="*/ 7 h 24"/>
                <a:gd name="T18" fmla="*/ 26 w 6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24">
                  <a:moveTo>
                    <a:pt x="26" y="24"/>
                  </a:moveTo>
                  <a:cubicBezTo>
                    <a:pt x="15" y="24"/>
                    <a:pt x="7" y="19"/>
                    <a:pt x="3" y="11"/>
                  </a:cubicBezTo>
                  <a:lnTo>
                    <a:pt x="3" y="11"/>
                  </a:lnTo>
                  <a:cubicBezTo>
                    <a:pt x="1" y="8"/>
                    <a:pt x="0" y="4"/>
                    <a:pt x="0" y="0"/>
                  </a:cubicBezTo>
                  <a:lnTo>
                    <a:pt x="28" y="0"/>
                  </a:lnTo>
                  <a:lnTo>
                    <a:pt x="46" y="0"/>
                  </a:lnTo>
                  <a:lnTo>
                    <a:pt x="66" y="0"/>
                  </a:lnTo>
                  <a:cubicBezTo>
                    <a:pt x="65" y="3"/>
                    <a:pt x="63" y="5"/>
                    <a:pt x="61" y="7"/>
                  </a:cubicBezTo>
                  <a:lnTo>
                    <a:pt x="61" y="7"/>
                  </a:lnTo>
                  <a:cubicBezTo>
                    <a:pt x="52" y="17"/>
                    <a:pt x="39" y="24"/>
                    <a:pt x="26" y="24"/>
                  </a:cubicBezTo>
                </a:path>
              </a:pathLst>
            </a:custGeom>
            <a:solidFill>
              <a:srgbClr val="2B3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218">
              <a:extLst>
                <a:ext uri="{FF2B5EF4-FFF2-40B4-BE49-F238E27FC236}">
                  <a16:creationId xmlns:a16="http://schemas.microsoft.com/office/drawing/2014/main" id="{43082627-0F7F-4BA3-96B6-3F31A46F3228}"/>
                </a:ext>
              </a:extLst>
            </p:cNvPr>
            <p:cNvSpPr>
              <a:spLocks/>
            </p:cNvSpPr>
            <p:nvPr userDrawn="1"/>
          </p:nvSpPr>
          <p:spPr bwMode="auto">
            <a:xfrm>
              <a:off x="7205663" y="2879725"/>
              <a:ext cx="63500" cy="58738"/>
            </a:xfrm>
            <a:custGeom>
              <a:avLst/>
              <a:gdLst>
                <a:gd name="T0" fmla="*/ 30 w 78"/>
                <a:gd name="T1" fmla="*/ 70 h 70"/>
                <a:gd name="T2" fmla="*/ 6 w 78"/>
                <a:gd name="T3" fmla="*/ 35 h 70"/>
                <a:gd name="T4" fmla="*/ 7 w 78"/>
                <a:gd name="T5" fmla="*/ 30 h 70"/>
                <a:gd name="T6" fmla="*/ 16 w 78"/>
                <a:gd name="T7" fmla="*/ 17 h 70"/>
                <a:gd name="T8" fmla="*/ 51 w 78"/>
                <a:gd name="T9" fmla="*/ 0 h 70"/>
                <a:gd name="T10" fmla="*/ 71 w 78"/>
                <a:gd name="T11" fmla="*/ 7 h 70"/>
                <a:gd name="T12" fmla="*/ 77 w 78"/>
                <a:gd name="T13" fmla="*/ 20 h 70"/>
                <a:gd name="T14" fmla="*/ 76 w 78"/>
                <a:gd name="T15" fmla="*/ 35 h 70"/>
                <a:gd name="T16" fmla="*/ 30 w 78"/>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0">
                  <a:moveTo>
                    <a:pt x="30" y="70"/>
                  </a:moveTo>
                  <a:cubicBezTo>
                    <a:pt x="11" y="70"/>
                    <a:pt x="0" y="54"/>
                    <a:pt x="6" y="35"/>
                  </a:cubicBezTo>
                  <a:cubicBezTo>
                    <a:pt x="6" y="33"/>
                    <a:pt x="7" y="31"/>
                    <a:pt x="7" y="30"/>
                  </a:cubicBezTo>
                  <a:cubicBezTo>
                    <a:pt x="10" y="25"/>
                    <a:pt x="12" y="21"/>
                    <a:pt x="16" y="17"/>
                  </a:cubicBezTo>
                  <a:cubicBezTo>
                    <a:pt x="25" y="6"/>
                    <a:pt x="38" y="0"/>
                    <a:pt x="51" y="0"/>
                  </a:cubicBezTo>
                  <a:cubicBezTo>
                    <a:pt x="59" y="0"/>
                    <a:pt x="66" y="2"/>
                    <a:pt x="71" y="7"/>
                  </a:cubicBezTo>
                  <a:cubicBezTo>
                    <a:pt x="74" y="10"/>
                    <a:pt x="76" y="15"/>
                    <a:pt x="77" y="20"/>
                  </a:cubicBezTo>
                  <a:cubicBezTo>
                    <a:pt x="78" y="25"/>
                    <a:pt x="78" y="30"/>
                    <a:pt x="76" y="35"/>
                  </a:cubicBezTo>
                  <a:cubicBezTo>
                    <a:pt x="70" y="54"/>
                    <a:pt x="50" y="70"/>
                    <a:pt x="30" y="70"/>
                  </a:cubicBezTo>
                </a:path>
              </a:pathLst>
            </a:custGeom>
            <a:solidFill>
              <a:srgbClr val="2B3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219">
              <a:extLst>
                <a:ext uri="{FF2B5EF4-FFF2-40B4-BE49-F238E27FC236}">
                  <a16:creationId xmlns:a16="http://schemas.microsoft.com/office/drawing/2014/main" id="{EB967A6B-2B65-40FA-9054-2AE9E0F31780}"/>
                </a:ext>
              </a:extLst>
            </p:cNvPr>
            <p:cNvSpPr>
              <a:spLocks/>
            </p:cNvSpPr>
            <p:nvPr userDrawn="1"/>
          </p:nvSpPr>
          <p:spPr bwMode="auto">
            <a:xfrm>
              <a:off x="6516688" y="2979738"/>
              <a:ext cx="215900" cy="274638"/>
            </a:xfrm>
            <a:custGeom>
              <a:avLst/>
              <a:gdLst>
                <a:gd name="T0" fmla="*/ 176 w 262"/>
                <a:gd name="T1" fmla="*/ 304 h 333"/>
                <a:gd name="T2" fmla="*/ 137 w 262"/>
                <a:gd name="T3" fmla="*/ 333 h 333"/>
                <a:gd name="T4" fmla="*/ 25 w 262"/>
                <a:gd name="T5" fmla="*/ 333 h 333"/>
                <a:gd name="T6" fmla="*/ 5 w 262"/>
                <a:gd name="T7" fmla="*/ 304 h 333"/>
                <a:gd name="T8" fmla="*/ 86 w 262"/>
                <a:gd name="T9" fmla="*/ 30 h 333"/>
                <a:gd name="T10" fmla="*/ 124 w 262"/>
                <a:gd name="T11" fmla="*/ 0 h 333"/>
                <a:gd name="T12" fmla="*/ 236 w 262"/>
                <a:gd name="T13" fmla="*/ 0 h 333"/>
                <a:gd name="T14" fmla="*/ 257 w 262"/>
                <a:gd name="T15" fmla="*/ 30 h 333"/>
                <a:gd name="T16" fmla="*/ 176 w 262"/>
                <a:gd name="T17" fmla="*/ 304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2" h="333">
                  <a:moveTo>
                    <a:pt x="176" y="304"/>
                  </a:moveTo>
                  <a:cubicBezTo>
                    <a:pt x="171" y="320"/>
                    <a:pt x="154" y="333"/>
                    <a:pt x="137" y="333"/>
                  </a:cubicBezTo>
                  <a:lnTo>
                    <a:pt x="25" y="333"/>
                  </a:lnTo>
                  <a:cubicBezTo>
                    <a:pt x="9" y="333"/>
                    <a:pt x="0" y="320"/>
                    <a:pt x="5" y="304"/>
                  </a:cubicBezTo>
                  <a:lnTo>
                    <a:pt x="86" y="30"/>
                  </a:lnTo>
                  <a:cubicBezTo>
                    <a:pt x="91" y="14"/>
                    <a:pt x="108" y="0"/>
                    <a:pt x="124" y="0"/>
                  </a:cubicBezTo>
                  <a:lnTo>
                    <a:pt x="236" y="0"/>
                  </a:lnTo>
                  <a:cubicBezTo>
                    <a:pt x="253" y="0"/>
                    <a:pt x="262" y="14"/>
                    <a:pt x="257" y="30"/>
                  </a:cubicBezTo>
                  <a:lnTo>
                    <a:pt x="176" y="304"/>
                  </a:lnTo>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20">
              <a:extLst>
                <a:ext uri="{FF2B5EF4-FFF2-40B4-BE49-F238E27FC236}">
                  <a16:creationId xmlns:a16="http://schemas.microsoft.com/office/drawing/2014/main" id="{B6E98D5A-233E-48B8-8CD2-91E1EFD1596E}"/>
                </a:ext>
              </a:extLst>
            </p:cNvPr>
            <p:cNvSpPr>
              <a:spLocks/>
            </p:cNvSpPr>
            <p:nvPr userDrawn="1"/>
          </p:nvSpPr>
          <p:spPr bwMode="auto">
            <a:xfrm>
              <a:off x="6756401" y="2809875"/>
              <a:ext cx="266700" cy="444500"/>
            </a:xfrm>
            <a:custGeom>
              <a:avLst/>
              <a:gdLst>
                <a:gd name="T0" fmla="*/ 176 w 325"/>
                <a:gd name="T1" fmla="*/ 513 h 542"/>
                <a:gd name="T2" fmla="*/ 138 w 325"/>
                <a:gd name="T3" fmla="*/ 542 h 542"/>
                <a:gd name="T4" fmla="*/ 26 w 325"/>
                <a:gd name="T5" fmla="*/ 542 h 542"/>
                <a:gd name="T6" fmla="*/ 5 w 325"/>
                <a:gd name="T7" fmla="*/ 513 h 542"/>
                <a:gd name="T8" fmla="*/ 149 w 325"/>
                <a:gd name="T9" fmla="*/ 29 h 542"/>
                <a:gd name="T10" fmla="*/ 187 w 325"/>
                <a:gd name="T11" fmla="*/ 0 h 542"/>
                <a:gd name="T12" fmla="*/ 299 w 325"/>
                <a:gd name="T13" fmla="*/ 0 h 542"/>
                <a:gd name="T14" fmla="*/ 320 w 325"/>
                <a:gd name="T15" fmla="*/ 29 h 542"/>
                <a:gd name="T16" fmla="*/ 176 w 325"/>
                <a:gd name="T17" fmla="*/ 513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5" h="542">
                  <a:moveTo>
                    <a:pt x="176" y="513"/>
                  </a:moveTo>
                  <a:cubicBezTo>
                    <a:pt x="172" y="529"/>
                    <a:pt x="154" y="542"/>
                    <a:pt x="138" y="542"/>
                  </a:cubicBezTo>
                  <a:lnTo>
                    <a:pt x="26" y="542"/>
                  </a:lnTo>
                  <a:cubicBezTo>
                    <a:pt x="10" y="542"/>
                    <a:pt x="0" y="529"/>
                    <a:pt x="5" y="513"/>
                  </a:cubicBezTo>
                  <a:lnTo>
                    <a:pt x="149" y="29"/>
                  </a:lnTo>
                  <a:cubicBezTo>
                    <a:pt x="154" y="13"/>
                    <a:pt x="171" y="0"/>
                    <a:pt x="187" y="0"/>
                  </a:cubicBezTo>
                  <a:lnTo>
                    <a:pt x="299" y="0"/>
                  </a:lnTo>
                  <a:cubicBezTo>
                    <a:pt x="316" y="0"/>
                    <a:pt x="325" y="13"/>
                    <a:pt x="320" y="29"/>
                  </a:cubicBezTo>
                  <a:lnTo>
                    <a:pt x="176" y="513"/>
                  </a:lnTo>
                  <a:close/>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21">
              <a:extLst>
                <a:ext uri="{FF2B5EF4-FFF2-40B4-BE49-F238E27FC236}">
                  <a16:creationId xmlns:a16="http://schemas.microsoft.com/office/drawing/2014/main" id="{D9DA50B9-C734-4F19-9A47-066F333B9DCF}"/>
                </a:ext>
              </a:extLst>
            </p:cNvPr>
            <p:cNvSpPr>
              <a:spLocks/>
            </p:cNvSpPr>
            <p:nvPr userDrawn="1"/>
          </p:nvSpPr>
          <p:spPr bwMode="auto">
            <a:xfrm>
              <a:off x="7197726" y="2724150"/>
              <a:ext cx="290513" cy="530225"/>
            </a:xfrm>
            <a:custGeom>
              <a:avLst/>
              <a:gdLst>
                <a:gd name="T0" fmla="*/ 176 w 355"/>
                <a:gd name="T1" fmla="*/ 616 h 645"/>
                <a:gd name="T2" fmla="*/ 138 w 355"/>
                <a:gd name="T3" fmla="*/ 645 h 645"/>
                <a:gd name="T4" fmla="*/ 26 w 355"/>
                <a:gd name="T5" fmla="*/ 645 h 645"/>
                <a:gd name="T6" fmla="*/ 5 w 355"/>
                <a:gd name="T7" fmla="*/ 616 h 645"/>
                <a:gd name="T8" fmla="*/ 179 w 355"/>
                <a:gd name="T9" fmla="*/ 30 h 645"/>
                <a:gd name="T10" fmla="*/ 217 w 355"/>
                <a:gd name="T11" fmla="*/ 0 h 645"/>
                <a:gd name="T12" fmla="*/ 330 w 355"/>
                <a:gd name="T13" fmla="*/ 0 h 645"/>
                <a:gd name="T14" fmla="*/ 350 w 355"/>
                <a:gd name="T15" fmla="*/ 30 h 645"/>
                <a:gd name="T16" fmla="*/ 176 w 355"/>
                <a:gd name="T17" fmla="*/ 61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5" h="645">
                  <a:moveTo>
                    <a:pt x="176" y="616"/>
                  </a:moveTo>
                  <a:cubicBezTo>
                    <a:pt x="171" y="632"/>
                    <a:pt x="154" y="645"/>
                    <a:pt x="138" y="645"/>
                  </a:cubicBezTo>
                  <a:lnTo>
                    <a:pt x="26" y="645"/>
                  </a:lnTo>
                  <a:cubicBezTo>
                    <a:pt x="9" y="645"/>
                    <a:pt x="0" y="632"/>
                    <a:pt x="5" y="616"/>
                  </a:cubicBezTo>
                  <a:lnTo>
                    <a:pt x="179" y="30"/>
                  </a:lnTo>
                  <a:cubicBezTo>
                    <a:pt x="184" y="13"/>
                    <a:pt x="201" y="0"/>
                    <a:pt x="217" y="0"/>
                  </a:cubicBezTo>
                  <a:lnTo>
                    <a:pt x="330" y="0"/>
                  </a:lnTo>
                  <a:cubicBezTo>
                    <a:pt x="346" y="0"/>
                    <a:pt x="355" y="13"/>
                    <a:pt x="350" y="30"/>
                  </a:cubicBezTo>
                  <a:lnTo>
                    <a:pt x="176" y="616"/>
                  </a:lnTo>
                  <a:close/>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2">
              <a:extLst>
                <a:ext uri="{FF2B5EF4-FFF2-40B4-BE49-F238E27FC236}">
                  <a16:creationId xmlns:a16="http://schemas.microsoft.com/office/drawing/2014/main" id="{0D290F7A-EA4C-401A-A590-41FA82FAF092}"/>
                </a:ext>
              </a:extLst>
            </p:cNvPr>
            <p:cNvSpPr>
              <a:spLocks/>
            </p:cNvSpPr>
            <p:nvPr userDrawn="1"/>
          </p:nvSpPr>
          <p:spPr bwMode="auto">
            <a:xfrm>
              <a:off x="6970713" y="2900363"/>
              <a:ext cx="239713" cy="354013"/>
            </a:xfrm>
            <a:custGeom>
              <a:avLst/>
              <a:gdLst>
                <a:gd name="T0" fmla="*/ 176 w 292"/>
                <a:gd name="T1" fmla="*/ 402 h 431"/>
                <a:gd name="T2" fmla="*/ 138 w 292"/>
                <a:gd name="T3" fmla="*/ 431 h 431"/>
                <a:gd name="T4" fmla="*/ 26 w 292"/>
                <a:gd name="T5" fmla="*/ 431 h 431"/>
                <a:gd name="T6" fmla="*/ 5 w 292"/>
                <a:gd name="T7" fmla="*/ 402 h 431"/>
                <a:gd name="T8" fmla="*/ 115 w 292"/>
                <a:gd name="T9" fmla="*/ 29 h 431"/>
                <a:gd name="T10" fmla="*/ 154 w 292"/>
                <a:gd name="T11" fmla="*/ 0 h 431"/>
                <a:gd name="T12" fmla="*/ 266 w 292"/>
                <a:gd name="T13" fmla="*/ 0 h 431"/>
                <a:gd name="T14" fmla="*/ 287 w 292"/>
                <a:gd name="T15" fmla="*/ 29 h 431"/>
                <a:gd name="T16" fmla="*/ 176 w 292"/>
                <a:gd name="T17" fmla="*/ 402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 h="431">
                  <a:moveTo>
                    <a:pt x="176" y="402"/>
                  </a:moveTo>
                  <a:cubicBezTo>
                    <a:pt x="171" y="418"/>
                    <a:pt x="154" y="431"/>
                    <a:pt x="138" y="431"/>
                  </a:cubicBezTo>
                  <a:lnTo>
                    <a:pt x="26" y="431"/>
                  </a:lnTo>
                  <a:cubicBezTo>
                    <a:pt x="9" y="431"/>
                    <a:pt x="0" y="418"/>
                    <a:pt x="5" y="402"/>
                  </a:cubicBezTo>
                  <a:lnTo>
                    <a:pt x="115" y="29"/>
                  </a:lnTo>
                  <a:cubicBezTo>
                    <a:pt x="120" y="13"/>
                    <a:pt x="137" y="0"/>
                    <a:pt x="154" y="0"/>
                  </a:cubicBezTo>
                  <a:lnTo>
                    <a:pt x="266" y="0"/>
                  </a:lnTo>
                  <a:cubicBezTo>
                    <a:pt x="282" y="0"/>
                    <a:pt x="292" y="13"/>
                    <a:pt x="287" y="29"/>
                  </a:cubicBezTo>
                  <a:lnTo>
                    <a:pt x="176" y="402"/>
                  </a:lnTo>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3">
              <a:extLst>
                <a:ext uri="{FF2B5EF4-FFF2-40B4-BE49-F238E27FC236}">
                  <a16:creationId xmlns:a16="http://schemas.microsoft.com/office/drawing/2014/main" id="{AF9BCC3B-53B2-4302-AC7A-6C8881359E5E}"/>
                </a:ext>
              </a:extLst>
            </p:cNvPr>
            <p:cNvSpPr>
              <a:spLocks/>
            </p:cNvSpPr>
            <p:nvPr userDrawn="1"/>
          </p:nvSpPr>
          <p:spPr bwMode="auto">
            <a:xfrm>
              <a:off x="6718301" y="2422525"/>
              <a:ext cx="1036638" cy="436563"/>
            </a:xfrm>
            <a:custGeom>
              <a:avLst/>
              <a:gdLst>
                <a:gd name="T0" fmla="*/ 3 w 653"/>
                <a:gd name="T1" fmla="*/ 275 h 275"/>
                <a:gd name="T2" fmla="*/ 0 w 653"/>
                <a:gd name="T3" fmla="*/ 268 h 275"/>
                <a:gd name="T4" fmla="*/ 161 w 653"/>
                <a:gd name="T5" fmla="*/ 200 h 275"/>
                <a:gd name="T6" fmla="*/ 281 w 653"/>
                <a:gd name="T7" fmla="*/ 249 h 275"/>
                <a:gd name="T8" fmla="*/ 468 w 653"/>
                <a:gd name="T9" fmla="*/ 129 h 275"/>
                <a:gd name="T10" fmla="*/ 648 w 653"/>
                <a:gd name="T11" fmla="*/ 0 h 275"/>
                <a:gd name="T12" fmla="*/ 653 w 653"/>
                <a:gd name="T13" fmla="*/ 6 h 275"/>
                <a:gd name="T14" fmla="*/ 472 w 653"/>
                <a:gd name="T15" fmla="*/ 136 h 275"/>
                <a:gd name="T16" fmla="*/ 283 w 653"/>
                <a:gd name="T17" fmla="*/ 257 h 275"/>
                <a:gd name="T18" fmla="*/ 161 w 653"/>
                <a:gd name="T19" fmla="*/ 208 h 275"/>
                <a:gd name="T20" fmla="*/ 3 w 653"/>
                <a:gd name="T21"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3" h="275">
                  <a:moveTo>
                    <a:pt x="3" y="275"/>
                  </a:moveTo>
                  <a:lnTo>
                    <a:pt x="0" y="268"/>
                  </a:lnTo>
                  <a:lnTo>
                    <a:pt x="161" y="200"/>
                  </a:lnTo>
                  <a:lnTo>
                    <a:pt x="281" y="249"/>
                  </a:lnTo>
                  <a:lnTo>
                    <a:pt x="468" y="129"/>
                  </a:lnTo>
                  <a:lnTo>
                    <a:pt x="648" y="0"/>
                  </a:lnTo>
                  <a:lnTo>
                    <a:pt x="653" y="6"/>
                  </a:lnTo>
                  <a:lnTo>
                    <a:pt x="472" y="136"/>
                  </a:lnTo>
                  <a:lnTo>
                    <a:pt x="283" y="257"/>
                  </a:lnTo>
                  <a:lnTo>
                    <a:pt x="161" y="208"/>
                  </a:lnTo>
                  <a:lnTo>
                    <a:pt x="3" y="275"/>
                  </a:ln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4">
              <a:extLst>
                <a:ext uri="{FF2B5EF4-FFF2-40B4-BE49-F238E27FC236}">
                  <a16:creationId xmlns:a16="http://schemas.microsoft.com/office/drawing/2014/main" id="{697BC0C5-3F14-4F1C-8784-3F36D8174B9F}"/>
                </a:ext>
              </a:extLst>
            </p:cNvPr>
            <p:cNvSpPr>
              <a:spLocks/>
            </p:cNvSpPr>
            <p:nvPr userDrawn="1"/>
          </p:nvSpPr>
          <p:spPr bwMode="auto">
            <a:xfrm>
              <a:off x="6688138" y="2824163"/>
              <a:ext cx="66675" cy="57150"/>
            </a:xfrm>
            <a:custGeom>
              <a:avLst/>
              <a:gdLst>
                <a:gd name="T0" fmla="*/ 76 w 82"/>
                <a:gd name="T1" fmla="*/ 36 h 71"/>
                <a:gd name="T2" fmla="*/ 31 w 82"/>
                <a:gd name="T3" fmla="*/ 71 h 71"/>
                <a:gd name="T4" fmla="*/ 6 w 82"/>
                <a:gd name="T5" fmla="*/ 36 h 71"/>
                <a:gd name="T6" fmla="*/ 52 w 82"/>
                <a:gd name="T7" fmla="*/ 0 h 71"/>
                <a:gd name="T8" fmla="*/ 76 w 82"/>
                <a:gd name="T9" fmla="*/ 36 h 71"/>
              </a:gdLst>
              <a:ahLst/>
              <a:cxnLst>
                <a:cxn ang="0">
                  <a:pos x="T0" y="T1"/>
                </a:cxn>
                <a:cxn ang="0">
                  <a:pos x="T2" y="T3"/>
                </a:cxn>
                <a:cxn ang="0">
                  <a:pos x="T4" y="T5"/>
                </a:cxn>
                <a:cxn ang="0">
                  <a:pos x="T6" y="T7"/>
                </a:cxn>
                <a:cxn ang="0">
                  <a:pos x="T8" y="T9"/>
                </a:cxn>
              </a:cxnLst>
              <a:rect l="0" t="0" r="r" b="b"/>
              <a:pathLst>
                <a:path w="82" h="71">
                  <a:moveTo>
                    <a:pt x="76" y="36"/>
                  </a:moveTo>
                  <a:cubicBezTo>
                    <a:pt x="71" y="55"/>
                    <a:pt x="50" y="71"/>
                    <a:pt x="31" y="71"/>
                  </a:cubicBezTo>
                  <a:cubicBezTo>
                    <a:pt x="11" y="71"/>
                    <a:pt x="0" y="55"/>
                    <a:pt x="6" y="36"/>
                  </a:cubicBezTo>
                  <a:cubicBezTo>
                    <a:pt x="12" y="16"/>
                    <a:pt x="32" y="0"/>
                    <a:pt x="52" y="0"/>
                  </a:cubicBezTo>
                  <a:cubicBezTo>
                    <a:pt x="71" y="0"/>
                    <a:pt x="82" y="16"/>
                    <a:pt x="76" y="36"/>
                  </a:cubicBezTo>
                  <a:close/>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25">
              <a:extLst>
                <a:ext uri="{FF2B5EF4-FFF2-40B4-BE49-F238E27FC236}">
                  <a16:creationId xmlns:a16="http://schemas.microsoft.com/office/drawing/2014/main" id="{303A0742-621E-439C-94A0-C0FA7ED7B4DB}"/>
                </a:ext>
              </a:extLst>
            </p:cNvPr>
            <p:cNvSpPr>
              <a:spLocks/>
            </p:cNvSpPr>
            <p:nvPr userDrawn="1"/>
          </p:nvSpPr>
          <p:spPr bwMode="auto">
            <a:xfrm>
              <a:off x="6940551" y="2717800"/>
              <a:ext cx="66675" cy="57150"/>
            </a:xfrm>
            <a:custGeom>
              <a:avLst/>
              <a:gdLst>
                <a:gd name="T0" fmla="*/ 76 w 82"/>
                <a:gd name="T1" fmla="*/ 35 h 70"/>
                <a:gd name="T2" fmla="*/ 30 w 82"/>
                <a:gd name="T3" fmla="*/ 70 h 70"/>
                <a:gd name="T4" fmla="*/ 6 w 82"/>
                <a:gd name="T5" fmla="*/ 35 h 70"/>
                <a:gd name="T6" fmla="*/ 51 w 82"/>
                <a:gd name="T7" fmla="*/ 0 h 70"/>
                <a:gd name="T8" fmla="*/ 76 w 82"/>
                <a:gd name="T9" fmla="*/ 35 h 70"/>
              </a:gdLst>
              <a:ahLst/>
              <a:cxnLst>
                <a:cxn ang="0">
                  <a:pos x="T0" y="T1"/>
                </a:cxn>
                <a:cxn ang="0">
                  <a:pos x="T2" y="T3"/>
                </a:cxn>
                <a:cxn ang="0">
                  <a:pos x="T4" y="T5"/>
                </a:cxn>
                <a:cxn ang="0">
                  <a:pos x="T6" y="T7"/>
                </a:cxn>
                <a:cxn ang="0">
                  <a:pos x="T8" y="T9"/>
                </a:cxn>
              </a:cxnLst>
              <a:rect l="0" t="0" r="r" b="b"/>
              <a:pathLst>
                <a:path w="82" h="70">
                  <a:moveTo>
                    <a:pt x="76" y="35"/>
                  </a:moveTo>
                  <a:cubicBezTo>
                    <a:pt x="70" y="55"/>
                    <a:pt x="50" y="70"/>
                    <a:pt x="30" y="70"/>
                  </a:cubicBezTo>
                  <a:cubicBezTo>
                    <a:pt x="11" y="70"/>
                    <a:pt x="0" y="55"/>
                    <a:pt x="6" y="35"/>
                  </a:cubicBezTo>
                  <a:cubicBezTo>
                    <a:pt x="11" y="16"/>
                    <a:pt x="32" y="0"/>
                    <a:pt x="51" y="0"/>
                  </a:cubicBezTo>
                  <a:cubicBezTo>
                    <a:pt x="71" y="0"/>
                    <a:pt x="82" y="16"/>
                    <a:pt x="76" y="35"/>
                  </a:cubicBezTo>
                  <a:close/>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26">
              <a:extLst>
                <a:ext uri="{FF2B5EF4-FFF2-40B4-BE49-F238E27FC236}">
                  <a16:creationId xmlns:a16="http://schemas.microsoft.com/office/drawing/2014/main" id="{D660D33C-9640-4AEE-916A-6A671734F760}"/>
                </a:ext>
              </a:extLst>
            </p:cNvPr>
            <p:cNvSpPr>
              <a:spLocks/>
            </p:cNvSpPr>
            <p:nvPr userDrawn="1"/>
          </p:nvSpPr>
          <p:spPr bwMode="auto">
            <a:xfrm>
              <a:off x="7132638" y="2795588"/>
              <a:ext cx="66675" cy="57150"/>
            </a:xfrm>
            <a:custGeom>
              <a:avLst/>
              <a:gdLst>
                <a:gd name="T0" fmla="*/ 76 w 82"/>
                <a:gd name="T1" fmla="*/ 35 h 71"/>
                <a:gd name="T2" fmla="*/ 31 w 82"/>
                <a:gd name="T3" fmla="*/ 71 h 71"/>
                <a:gd name="T4" fmla="*/ 6 w 82"/>
                <a:gd name="T5" fmla="*/ 35 h 71"/>
                <a:gd name="T6" fmla="*/ 52 w 82"/>
                <a:gd name="T7" fmla="*/ 0 h 71"/>
                <a:gd name="T8" fmla="*/ 76 w 82"/>
                <a:gd name="T9" fmla="*/ 35 h 71"/>
              </a:gdLst>
              <a:ahLst/>
              <a:cxnLst>
                <a:cxn ang="0">
                  <a:pos x="T0" y="T1"/>
                </a:cxn>
                <a:cxn ang="0">
                  <a:pos x="T2" y="T3"/>
                </a:cxn>
                <a:cxn ang="0">
                  <a:pos x="T4" y="T5"/>
                </a:cxn>
                <a:cxn ang="0">
                  <a:pos x="T6" y="T7"/>
                </a:cxn>
                <a:cxn ang="0">
                  <a:pos x="T8" y="T9"/>
                </a:cxn>
              </a:cxnLst>
              <a:rect l="0" t="0" r="r" b="b"/>
              <a:pathLst>
                <a:path w="82" h="71">
                  <a:moveTo>
                    <a:pt x="76" y="35"/>
                  </a:moveTo>
                  <a:cubicBezTo>
                    <a:pt x="71" y="55"/>
                    <a:pt x="50" y="71"/>
                    <a:pt x="31" y="71"/>
                  </a:cubicBezTo>
                  <a:cubicBezTo>
                    <a:pt x="11" y="71"/>
                    <a:pt x="0" y="55"/>
                    <a:pt x="6" y="35"/>
                  </a:cubicBezTo>
                  <a:cubicBezTo>
                    <a:pt x="12" y="16"/>
                    <a:pt x="32" y="0"/>
                    <a:pt x="52" y="0"/>
                  </a:cubicBezTo>
                  <a:cubicBezTo>
                    <a:pt x="71" y="0"/>
                    <a:pt x="82" y="16"/>
                    <a:pt x="76" y="35"/>
                  </a:cubicBezTo>
                  <a:close/>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27">
              <a:extLst>
                <a:ext uri="{FF2B5EF4-FFF2-40B4-BE49-F238E27FC236}">
                  <a16:creationId xmlns:a16="http://schemas.microsoft.com/office/drawing/2014/main" id="{0E3D60E8-E053-42E7-995C-E295B2275657}"/>
                </a:ext>
              </a:extLst>
            </p:cNvPr>
            <p:cNvSpPr>
              <a:spLocks/>
            </p:cNvSpPr>
            <p:nvPr userDrawn="1"/>
          </p:nvSpPr>
          <p:spPr bwMode="auto">
            <a:xfrm>
              <a:off x="7431088" y="2603500"/>
              <a:ext cx="66675" cy="58738"/>
            </a:xfrm>
            <a:custGeom>
              <a:avLst/>
              <a:gdLst>
                <a:gd name="T0" fmla="*/ 76 w 82"/>
                <a:gd name="T1" fmla="*/ 35 h 71"/>
                <a:gd name="T2" fmla="*/ 30 w 82"/>
                <a:gd name="T3" fmla="*/ 71 h 71"/>
                <a:gd name="T4" fmla="*/ 6 w 82"/>
                <a:gd name="T5" fmla="*/ 35 h 71"/>
                <a:gd name="T6" fmla="*/ 51 w 82"/>
                <a:gd name="T7" fmla="*/ 0 h 71"/>
                <a:gd name="T8" fmla="*/ 76 w 82"/>
                <a:gd name="T9" fmla="*/ 35 h 71"/>
              </a:gdLst>
              <a:ahLst/>
              <a:cxnLst>
                <a:cxn ang="0">
                  <a:pos x="T0" y="T1"/>
                </a:cxn>
                <a:cxn ang="0">
                  <a:pos x="T2" y="T3"/>
                </a:cxn>
                <a:cxn ang="0">
                  <a:pos x="T4" y="T5"/>
                </a:cxn>
                <a:cxn ang="0">
                  <a:pos x="T6" y="T7"/>
                </a:cxn>
                <a:cxn ang="0">
                  <a:pos x="T8" y="T9"/>
                </a:cxn>
              </a:cxnLst>
              <a:rect l="0" t="0" r="r" b="b"/>
              <a:pathLst>
                <a:path w="82" h="71">
                  <a:moveTo>
                    <a:pt x="76" y="35"/>
                  </a:moveTo>
                  <a:cubicBezTo>
                    <a:pt x="70" y="55"/>
                    <a:pt x="50" y="71"/>
                    <a:pt x="30" y="71"/>
                  </a:cubicBezTo>
                  <a:cubicBezTo>
                    <a:pt x="11" y="71"/>
                    <a:pt x="0" y="55"/>
                    <a:pt x="6" y="35"/>
                  </a:cubicBezTo>
                  <a:cubicBezTo>
                    <a:pt x="11" y="16"/>
                    <a:pt x="32" y="0"/>
                    <a:pt x="51" y="0"/>
                  </a:cubicBezTo>
                  <a:cubicBezTo>
                    <a:pt x="71" y="0"/>
                    <a:pt x="82" y="16"/>
                    <a:pt x="76" y="35"/>
                  </a:cubicBezTo>
                  <a:close/>
                </a:path>
              </a:pathLst>
            </a:custGeom>
            <a:solidFill>
              <a:srgbClr val="90DA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28">
              <a:extLst>
                <a:ext uri="{FF2B5EF4-FFF2-40B4-BE49-F238E27FC236}">
                  <a16:creationId xmlns:a16="http://schemas.microsoft.com/office/drawing/2014/main" id="{D6102071-34F5-4CA1-BDB4-05D9DA842AA5}"/>
                </a:ext>
              </a:extLst>
            </p:cNvPr>
            <p:cNvSpPr>
              <a:spLocks/>
            </p:cNvSpPr>
            <p:nvPr userDrawn="1"/>
          </p:nvSpPr>
          <p:spPr bwMode="auto">
            <a:xfrm>
              <a:off x="7686676" y="2381250"/>
              <a:ext cx="104775" cy="115888"/>
            </a:xfrm>
            <a:custGeom>
              <a:avLst/>
              <a:gdLst>
                <a:gd name="T0" fmla="*/ 0 w 127"/>
                <a:gd name="T1" fmla="*/ 20 h 141"/>
                <a:gd name="T2" fmla="*/ 86 w 127"/>
                <a:gd name="T3" fmla="*/ 141 h 141"/>
                <a:gd name="T4" fmla="*/ 127 w 127"/>
                <a:gd name="T5" fmla="*/ 0 h 141"/>
                <a:gd name="T6" fmla="*/ 0 w 127"/>
                <a:gd name="T7" fmla="*/ 20 h 141"/>
              </a:gdLst>
              <a:ahLst/>
              <a:cxnLst>
                <a:cxn ang="0">
                  <a:pos x="T0" y="T1"/>
                </a:cxn>
                <a:cxn ang="0">
                  <a:pos x="T2" y="T3"/>
                </a:cxn>
                <a:cxn ang="0">
                  <a:pos x="T4" y="T5"/>
                </a:cxn>
                <a:cxn ang="0">
                  <a:pos x="T6" y="T7"/>
                </a:cxn>
              </a:cxnLst>
              <a:rect l="0" t="0" r="r" b="b"/>
              <a:pathLst>
                <a:path w="127" h="141">
                  <a:moveTo>
                    <a:pt x="0" y="20"/>
                  </a:moveTo>
                  <a:lnTo>
                    <a:pt x="86" y="141"/>
                  </a:lnTo>
                  <a:lnTo>
                    <a:pt x="127" y="0"/>
                  </a:lnTo>
                  <a:lnTo>
                    <a:pt x="0" y="20"/>
                  </a:lnTo>
                  <a:close/>
                </a:path>
              </a:pathLst>
            </a:custGeom>
            <a:solidFill>
              <a:srgbClr val="D628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29">
              <a:extLst>
                <a:ext uri="{FF2B5EF4-FFF2-40B4-BE49-F238E27FC236}">
                  <a16:creationId xmlns:a16="http://schemas.microsoft.com/office/drawing/2014/main" id="{8A8E8E98-EAF3-4689-9720-F00793EFA747}"/>
                </a:ext>
              </a:extLst>
            </p:cNvPr>
            <p:cNvSpPr>
              <a:spLocks/>
            </p:cNvSpPr>
            <p:nvPr userDrawn="1"/>
          </p:nvSpPr>
          <p:spPr bwMode="auto">
            <a:xfrm>
              <a:off x="6662738" y="4251325"/>
              <a:ext cx="346075" cy="328613"/>
            </a:xfrm>
            <a:custGeom>
              <a:avLst/>
              <a:gdLst>
                <a:gd name="T0" fmla="*/ 81 w 424"/>
                <a:gd name="T1" fmla="*/ 127 h 401"/>
                <a:gd name="T2" fmla="*/ 162 w 424"/>
                <a:gd name="T3" fmla="*/ 110 h 401"/>
                <a:gd name="T4" fmla="*/ 213 w 424"/>
                <a:gd name="T5" fmla="*/ 22 h 401"/>
                <a:gd name="T6" fmla="*/ 260 w 424"/>
                <a:gd name="T7" fmla="*/ 35 h 401"/>
                <a:gd name="T8" fmla="*/ 279 w 424"/>
                <a:gd name="T9" fmla="*/ 108 h 401"/>
                <a:gd name="T10" fmla="*/ 404 w 424"/>
                <a:gd name="T11" fmla="*/ 141 h 401"/>
                <a:gd name="T12" fmla="*/ 398 w 424"/>
                <a:gd name="T13" fmla="*/ 202 h 401"/>
                <a:gd name="T14" fmla="*/ 400 w 424"/>
                <a:gd name="T15" fmla="*/ 255 h 401"/>
                <a:gd name="T16" fmla="*/ 353 w 424"/>
                <a:gd name="T17" fmla="*/ 295 h 401"/>
                <a:gd name="T18" fmla="*/ 340 w 424"/>
                <a:gd name="T19" fmla="*/ 339 h 401"/>
                <a:gd name="T20" fmla="*/ 297 w 424"/>
                <a:gd name="T21" fmla="*/ 363 h 401"/>
                <a:gd name="T22" fmla="*/ 276 w 424"/>
                <a:gd name="T23" fmla="*/ 398 h 401"/>
                <a:gd name="T24" fmla="*/ 106 w 424"/>
                <a:gd name="T25" fmla="*/ 363 h 401"/>
                <a:gd name="T26" fmla="*/ 40 w 424"/>
                <a:gd name="T27" fmla="*/ 298 h 401"/>
                <a:gd name="T28" fmla="*/ 7 w 424"/>
                <a:gd name="T29" fmla="*/ 249 h 401"/>
                <a:gd name="T30" fmla="*/ 81 w 424"/>
                <a:gd name="T31" fmla="*/ 12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4" h="401">
                  <a:moveTo>
                    <a:pt x="81" y="127"/>
                  </a:moveTo>
                  <a:cubicBezTo>
                    <a:pt x="81" y="127"/>
                    <a:pt x="145" y="125"/>
                    <a:pt x="162" y="110"/>
                  </a:cubicBezTo>
                  <a:cubicBezTo>
                    <a:pt x="180" y="95"/>
                    <a:pt x="206" y="45"/>
                    <a:pt x="213" y="22"/>
                  </a:cubicBezTo>
                  <a:cubicBezTo>
                    <a:pt x="220" y="0"/>
                    <a:pt x="251" y="0"/>
                    <a:pt x="260" y="35"/>
                  </a:cubicBezTo>
                  <a:cubicBezTo>
                    <a:pt x="269" y="70"/>
                    <a:pt x="255" y="91"/>
                    <a:pt x="279" y="108"/>
                  </a:cubicBezTo>
                  <a:cubicBezTo>
                    <a:pt x="303" y="124"/>
                    <a:pt x="384" y="102"/>
                    <a:pt x="404" y="141"/>
                  </a:cubicBezTo>
                  <a:cubicBezTo>
                    <a:pt x="424" y="180"/>
                    <a:pt x="396" y="179"/>
                    <a:pt x="398" y="202"/>
                  </a:cubicBezTo>
                  <a:cubicBezTo>
                    <a:pt x="399" y="225"/>
                    <a:pt x="415" y="228"/>
                    <a:pt x="400" y="255"/>
                  </a:cubicBezTo>
                  <a:cubicBezTo>
                    <a:pt x="385" y="283"/>
                    <a:pt x="358" y="277"/>
                    <a:pt x="353" y="295"/>
                  </a:cubicBezTo>
                  <a:cubicBezTo>
                    <a:pt x="348" y="314"/>
                    <a:pt x="353" y="327"/>
                    <a:pt x="340" y="339"/>
                  </a:cubicBezTo>
                  <a:cubicBezTo>
                    <a:pt x="328" y="352"/>
                    <a:pt x="295" y="342"/>
                    <a:pt x="297" y="363"/>
                  </a:cubicBezTo>
                  <a:cubicBezTo>
                    <a:pt x="299" y="384"/>
                    <a:pt x="310" y="396"/>
                    <a:pt x="276" y="398"/>
                  </a:cubicBezTo>
                  <a:cubicBezTo>
                    <a:pt x="242" y="401"/>
                    <a:pt x="129" y="379"/>
                    <a:pt x="106" y="363"/>
                  </a:cubicBezTo>
                  <a:cubicBezTo>
                    <a:pt x="83" y="347"/>
                    <a:pt x="62" y="307"/>
                    <a:pt x="40" y="298"/>
                  </a:cubicBezTo>
                  <a:cubicBezTo>
                    <a:pt x="18" y="289"/>
                    <a:pt x="0" y="283"/>
                    <a:pt x="7" y="249"/>
                  </a:cubicBezTo>
                  <a:cubicBezTo>
                    <a:pt x="15" y="215"/>
                    <a:pt x="81" y="127"/>
                    <a:pt x="81" y="127"/>
                  </a:cubicBezTo>
                </a:path>
              </a:pathLst>
            </a:custGeom>
            <a:solidFill>
              <a:srgbClr val="A0D3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30">
              <a:extLst>
                <a:ext uri="{FF2B5EF4-FFF2-40B4-BE49-F238E27FC236}">
                  <a16:creationId xmlns:a16="http://schemas.microsoft.com/office/drawing/2014/main" id="{61C2F9C7-040D-4B34-8A87-E2422F275C71}"/>
                </a:ext>
              </a:extLst>
            </p:cNvPr>
            <p:cNvSpPr>
              <a:spLocks/>
            </p:cNvSpPr>
            <p:nvPr userDrawn="1"/>
          </p:nvSpPr>
          <p:spPr bwMode="auto">
            <a:xfrm>
              <a:off x="6550026" y="4310063"/>
              <a:ext cx="209550" cy="222250"/>
            </a:xfrm>
            <a:custGeom>
              <a:avLst/>
              <a:gdLst>
                <a:gd name="T0" fmla="*/ 20 w 255"/>
                <a:gd name="T1" fmla="*/ 226 h 270"/>
                <a:gd name="T2" fmla="*/ 109 w 255"/>
                <a:gd name="T3" fmla="*/ 34 h 270"/>
                <a:gd name="T4" fmla="*/ 151 w 255"/>
                <a:gd name="T5" fmla="*/ 3 h 270"/>
                <a:gd name="T6" fmla="*/ 243 w 255"/>
                <a:gd name="T7" fmla="*/ 23 h 270"/>
                <a:gd name="T8" fmla="*/ 175 w 255"/>
                <a:gd name="T9" fmla="*/ 217 h 270"/>
                <a:gd name="T10" fmla="*/ 132 w 255"/>
                <a:gd name="T11" fmla="*/ 251 h 270"/>
                <a:gd name="T12" fmla="*/ 20 w 255"/>
                <a:gd name="T13" fmla="*/ 226 h 270"/>
              </a:gdLst>
              <a:ahLst/>
              <a:cxnLst>
                <a:cxn ang="0">
                  <a:pos x="T0" y="T1"/>
                </a:cxn>
                <a:cxn ang="0">
                  <a:pos x="T2" y="T3"/>
                </a:cxn>
                <a:cxn ang="0">
                  <a:pos x="T4" y="T5"/>
                </a:cxn>
                <a:cxn ang="0">
                  <a:pos x="T6" y="T7"/>
                </a:cxn>
                <a:cxn ang="0">
                  <a:pos x="T8" y="T9"/>
                </a:cxn>
                <a:cxn ang="0">
                  <a:pos x="T10" y="T11"/>
                </a:cxn>
                <a:cxn ang="0">
                  <a:pos x="T12" y="T13"/>
                </a:cxn>
              </a:cxnLst>
              <a:rect l="0" t="0" r="r" b="b"/>
              <a:pathLst>
                <a:path w="255" h="270">
                  <a:moveTo>
                    <a:pt x="20" y="226"/>
                  </a:moveTo>
                  <a:lnTo>
                    <a:pt x="109" y="34"/>
                  </a:lnTo>
                  <a:cubicBezTo>
                    <a:pt x="109" y="34"/>
                    <a:pt x="111" y="2"/>
                    <a:pt x="151" y="3"/>
                  </a:cubicBezTo>
                  <a:cubicBezTo>
                    <a:pt x="191" y="5"/>
                    <a:pt x="230" y="0"/>
                    <a:pt x="243" y="23"/>
                  </a:cubicBezTo>
                  <a:cubicBezTo>
                    <a:pt x="255" y="47"/>
                    <a:pt x="175" y="217"/>
                    <a:pt x="175" y="217"/>
                  </a:cubicBezTo>
                  <a:cubicBezTo>
                    <a:pt x="175" y="217"/>
                    <a:pt x="166" y="251"/>
                    <a:pt x="132" y="251"/>
                  </a:cubicBezTo>
                  <a:cubicBezTo>
                    <a:pt x="98" y="251"/>
                    <a:pt x="0" y="270"/>
                    <a:pt x="20" y="226"/>
                  </a:cubicBezTo>
                </a:path>
              </a:pathLst>
            </a:custGeom>
            <a:solidFill>
              <a:srgbClr val="649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ADEBDBFA-C094-41AC-B336-28DB63C6557F}"/>
              </a:ext>
            </a:extLst>
          </p:cNvPr>
          <p:cNvGrpSpPr/>
          <p:nvPr userDrawn="1"/>
        </p:nvGrpSpPr>
        <p:grpSpPr>
          <a:xfrm>
            <a:off x="239166" y="264235"/>
            <a:ext cx="3408496" cy="783999"/>
            <a:chOff x="239166" y="264235"/>
            <a:chExt cx="3408496" cy="783999"/>
          </a:xfrm>
        </p:grpSpPr>
        <p:sp>
          <p:nvSpPr>
            <p:cNvPr id="542" name="Rectangle 9">
              <a:extLst>
                <a:ext uri="{FF2B5EF4-FFF2-40B4-BE49-F238E27FC236}">
                  <a16:creationId xmlns:a16="http://schemas.microsoft.com/office/drawing/2014/main" id="{F7C6E4F8-22CE-4731-8F1F-AAF16E37F7E3}"/>
                </a:ext>
              </a:extLst>
            </p:cNvPr>
            <p:cNvSpPr/>
            <p:nvPr userDrawn="1"/>
          </p:nvSpPr>
          <p:spPr>
            <a:xfrm>
              <a:off x="239166" y="264235"/>
              <a:ext cx="3408496" cy="783999"/>
            </a:xfrm>
            <a:prstGeom prst="roundRect">
              <a:avLst>
                <a:gd name="adj" fmla="val 50000"/>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17"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9F958F">
                    <a:lumMod val="50000"/>
                  </a:srgbClr>
                </a:solidFill>
                <a:effectLst/>
                <a:uLnTx/>
                <a:uFillTx/>
                <a:latin typeface="Arial" panose="020B0604020202020204" pitchFamily="34" charset="0"/>
                <a:ea typeface="+mn-ea"/>
                <a:cs typeface="Arial" panose="020B0604020202020204" pitchFamily="34" charset="0"/>
              </a:endParaRPr>
            </a:p>
          </p:txBody>
        </p:sp>
        <p:grpSp>
          <p:nvGrpSpPr>
            <p:cNvPr id="567" name="Group 14">
              <a:extLst>
                <a:ext uri="{FF2B5EF4-FFF2-40B4-BE49-F238E27FC236}">
                  <a16:creationId xmlns:a16="http://schemas.microsoft.com/office/drawing/2014/main" id="{EB9BBDF5-4C66-456D-B0B0-A7DE4F97BD09}"/>
                </a:ext>
              </a:extLst>
            </p:cNvPr>
            <p:cNvGrpSpPr>
              <a:grpSpLocks noChangeAspect="1"/>
            </p:cNvGrpSpPr>
            <p:nvPr userDrawn="1"/>
          </p:nvGrpSpPr>
          <p:grpSpPr>
            <a:xfrm>
              <a:off x="808239" y="449726"/>
              <a:ext cx="2232234" cy="467083"/>
              <a:chOff x="728664" y="4465638"/>
              <a:chExt cx="5354636" cy="1193800"/>
            </a:xfrm>
          </p:grpSpPr>
          <p:sp>
            <p:nvSpPr>
              <p:cNvPr id="568" name="Freeform 11">
                <a:extLst>
                  <a:ext uri="{FF2B5EF4-FFF2-40B4-BE49-F238E27FC236}">
                    <a16:creationId xmlns:a16="http://schemas.microsoft.com/office/drawing/2014/main" id="{00C88DAF-67FF-406D-BC14-A574EDB71BF0}"/>
                  </a:ext>
                </a:extLst>
              </p:cNvPr>
              <p:cNvSpPr>
                <a:spLocks/>
              </p:cNvSpPr>
              <p:nvPr userDrawn="1"/>
            </p:nvSpPr>
            <p:spPr bwMode="auto">
              <a:xfrm>
                <a:off x="5464172" y="4830764"/>
                <a:ext cx="619125" cy="503237"/>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9" name="Freeform 12">
                <a:extLst>
                  <a:ext uri="{FF2B5EF4-FFF2-40B4-BE49-F238E27FC236}">
                    <a16:creationId xmlns:a16="http://schemas.microsoft.com/office/drawing/2014/main" id="{565F17AD-5FDB-4A8A-815F-4CB1D72DA81D}"/>
                  </a:ext>
                </a:extLst>
              </p:cNvPr>
              <p:cNvSpPr>
                <a:spLocks noEditPoints="1"/>
              </p:cNvSpPr>
              <p:nvPr userDrawn="1"/>
            </p:nvSpPr>
            <p:spPr bwMode="auto">
              <a:xfrm>
                <a:off x="728664" y="4483100"/>
                <a:ext cx="4352922"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0" name="Freeform 13">
                <a:extLst>
                  <a:ext uri="{FF2B5EF4-FFF2-40B4-BE49-F238E27FC236}">
                    <a16:creationId xmlns:a16="http://schemas.microsoft.com/office/drawing/2014/main" id="{5F7AAA82-A0B4-409E-8D72-1EEE3F5A7A7C}"/>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1" name="Freeform 14">
                <a:extLst>
                  <a:ext uri="{FF2B5EF4-FFF2-40B4-BE49-F238E27FC236}">
                    <a16:creationId xmlns:a16="http://schemas.microsoft.com/office/drawing/2014/main" id="{1BB87B36-6EB9-4BE8-8E75-B7D0721D5A1D}"/>
                  </a:ext>
                </a:extLst>
              </p:cNvPr>
              <p:cNvSpPr>
                <a:spLocks/>
              </p:cNvSpPr>
              <p:nvPr userDrawn="1"/>
            </p:nvSpPr>
            <p:spPr bwMode="auto">
              <a:xfrm>
                <a:off x="4870452" y="4564062"/>
                <a:ext cx="112712"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2" name="Freeform 15">
                <a:extLst>
                  <a:ext uri="{FF2B5EF4-FFF2-40B4-BE49-F238E27FC236}">
                    <a16:creationId xmlns:a16="http://schemas.microsoft.com/office/drawing/2014/main" id="{AAB3FA8A-E4B5-4C15-A1F8-2CEF11EA54B5}"/>
                  </a:ext>
                </a:extLst>
              </p:cNvPr>
              <p:cNvSpPr>
                <a:spLocks/>
              </p:cNvSpPr>
              <p:nvPr userDrawn="1"/>
            </p:nvSpPr>
            <p:spPr bwMode="auto">
              <a:xfrm>
                <a:off x="5143499" y="4465638"/>
                <a:ext cx="939801"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554" name="Rectangle 553">
            <a:extLst>
              <a:ext uri="{FF2B5EF4-FFF2-40B4-BE49-F238E27FC236}">
                <a16:creationId xmlns:a16="http://schemas.microsoft.com/office/drawing/2014/main" id="{AD608B0A-80E5-4CB3-9E99-3FD5676C6BCB}"/>
              </a:ext>
            </a:extLst>
          </p:cNvPr>
          <p:cNvSpPr/>
          <p:nvPr userDrawn="1"/>
        </p:nvSpPr>
        <p:spPr>
          <a:xfrm>
            <a:off x="59635" y="6520069"/>
            <a:ext cx="12062791" cy="2788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8357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_New">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fr-FR"/>
              <a:t>Modifiez le style du titre</a:t>
            </a:r>
            <a:endParaRPr lang="en-GB"/>
          </a:p>
        </p:txBody>
      </p:sp>
    </p:spTree>
    <p:extLst>
      <p:ext uri="{BB962C8B-B14F-4D97-AF65-F5344CB8AC3E}">
        <p14:creationId xmlns:p14="http://schemas.microsoft.com/office/powerpoint/2010/main" val="379621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E1AC05D-D903-42CD-BE64-423E52287AC1}"/>
              </a:ext>
            </a:extLst>
          </p:cNvPr>
          <p:cNvSpPr/>
          <p:nvPr userDrawn="1"/>
        </p:nvSpPr>
        <p:spPr>
          <a:xfrm>
            <a:off x="3792000" y="0"/>
            <a:ext cx="8400000" cy="6858000"/>
          </a:xfrm>
          <a:prstGeom prst="rect">
            <a:avLst/>
          </a:prstGeom>
          <a:solidFill>
            <a:srgbClr val="050E1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descr="A person wearing a suit and tie&#10;&#10;Description automatically generated">
            <a:extLst>
              <a:ext uri="{FF2B5EF4-FFF2-40B4-BE49-F238E27FC236}">
                <a16:creationId xmlns:a16="http://schemas.microsoft.com/office/drawing/2014/main" id="{02CC37DA-D582-4F74-B252-36D91393B6F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1728000"/>
            <a:ext cx="8376000" cy="5130000"/>
          </a:xfrm>
          <a:prstGeom prst="rect">
            <a:avLst/>
          </a:prstGeom>
        </p:spPr>
      </p:pic>
      <p:grpSp>
        <p:nvGrpSpPr>
          <p:cNvPr id="2" name="Groupe 1">
            <a:extLst>
              <a:ext uri="{FF2B5EF4-FFF2-40B4-BE49-F238E27FC236}">
                <a16:creationId xmlns:a16="http://schemas.microsoft.com/office/drawing/2014/main" id="{8B5F77E1-A90A-4D54-B022-9C5E9B57DFA9}"/>
              </a:ext>
            </a:extLst>
          </p:cNvPr>
          <p:cNvGrpSpPr/>
          <p:nvPr userDrawn="1"/>
        </p:nvGrpSpPr>
        <p:grpSpPr>
          <a:xfrm>
            <a:off x="0" y="-27000"/>
            <a:ext cx="12216000" cy="5130000"/>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2">
                <a:lumMod val="60000"/>
                <a:lumOff val="40000"/>
              </a:schemeClr>
            </a:solidFill>
            <a:ln w="9525" cap="flat">
              <a:noFill/>
              <a:prstDash val="solid"/>
              <a:miter/>
            </a:ln>
          </p:spPr>
          <p:txBody>
            <a:bodyPr rtlCol="0" anchor="ctr"/>
            <a:lstStyle/>
            <a:p>
              <a:endParaRPr lang="en-US">
                <a:solidFill>
                  <a:prstClr val="black"/>
                </a:solidFill>
              </a:endParaRPr>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4"/>
            </a:solidFill>
            <a:ln w="9525" cap="flat">
              <a:noFill/>
              <a:prstDash val="solid"/>
              <a:miter/>
            </a:ln>
          </p:spPr>
          <p:txBody>
            <a:bodyPr rtlCol="0" anchor="ctr"/>
            <a:lstStyle/>
            <a:p>
              <a:endParaRPr lang="en-US">
                <a:solidFill>
                  <a:prstClr val="black"/>
                </a:solidFill>
              </a:endParaRPr>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3" name="think-cell Slide" r:id="rId5" imgW="270" imgH="270" progId="TCLayout.ActiveDocument.1">
                  <p:embed/>
                </p:oleObj>
              </mc:Choice>
              <mc:Fallback>
                <p:oleObj name="think-cell Slide" r:id="rId5" imgW="270" imgH="270" progId="TCLayout.ActiveDocument.1">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a:t>Click to insert presenter, location, </a:t>
            </a:r>
            <a:br>
              <a:rPr lang="en-US"/>
            </a:br>
            <a:r>
              <a:rPr lang="en-US"/>
              <a:t>and date</a:t>
            </a:r>
          </a:p>
        </p:txBody>
      </p:sp>
      <p:grpSp>
        <p:nvGrpSpPr>
          <p:cNvPr id="15" name="Group 14"/>
          <p:cNvGrpSpPr>
            <a:grpSpLocks noChangeAspect="1"/>
          </p:cNvGrpSpPr>
          <p:nvPr userDrawn="1"/>
        </p:nvGrpSpPr>
        <p:grpSpPr>
          <a:xfrm>
            <a:off x="336000" y="621000"/>
            <a:ext cx="3024000" cy="674192"/>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3" name="Group 32">
            <a:extLst>
              <a:ext uri="{FF2B5EF4-FFF2-40B4-BE49-F238E27FC236}">
                <a16:creationId xmlns:a16="http://schemas.microsoft.com/office/drawing/2014/main" id="{58D6AF6B-AD13-435A-8996-C93087837DEF}"/>
              </a:ext>
            </a:extLst>
          </p:cNvPr>
          <p:cNvGrpSpPr/>
          <p:nvPr userDrawn="1"/>
        </p:nvGrpSpPr>
        <p:grpSpPr>
          <a:xfrm>
            <a:off x="6456000" y="5480520"/>
            <a:ext cx="5328000" cy="1044480"/>
            <a:chOff x="6456000" y="5480520"/>
            <a:chExt cx="5328000" cy="1044480"/>
          </a:xfrm>
        </p:grpSpPr>
        <p:pic>
          <p:nvPicPr>
            <p:cNvPr id="6" name="Graphic 5">
              <a:extLst>
                <a:ext uri="{FF2B5EF4-FFF2-40B4-BE49-F238E27FC236}">
                  <a16:creationId xmlns:a16="http://schemas.microsoft.com/office/drawing/2014/main" id="{03EE8ECF-8F3A-4A01-B271-B84B374E48A7}"/>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17440" y="5541960"/>
              <a:ext cx="1040128" cy="924886"/>
            </a:xfrm>
            <a:prstGeom prst="rect">
              <a:avLst/>
            </a:prstGeom>
          </p:spPr>
        </p:pic>
        <p:pic>
          <p:nvPicPr>
            <p:cNvPr id="8" name="Graphic 7">
              <a:extLst>
                <a:ext uri="{FF2B5EF4-FFF2-40B4-BE49-F238E27FC236}">
                  <a16:creationId xmlns:a16="http://schemas.microsoft.com/office/drawing/2014/main" id="{3C463197-8F33-48A3-AD12-0E22865B0B04}"/>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873524" y="5603400"/>
              <a:ext cx="1338406" cy="845520"/>
            </a:xfrm>
            <a:prstGeom prst="rect">
              <a:avLst/>
            </a:prstGeom>
          </p:spPr>
        </p:pic>
        <p:grpSp>
          <p:nvGrpSpPr>
            <p:cNvPr id="26" name="Group 25">
              <a:extLst>
                <a:ext uri="{FF2B5EF4-FFF2-40B4-BE49-F238E27FC236}">
                  <a16:creationId xmlns:a16="http://schemas.microsoft.com/office/drawing/2014/main" id="{5334CF0C-EB9B-4C2C-8EED-6B10421678E3}"/>
                </a:ext>
              </a:extLst>
            </p:cNvPr>
            <p:cNvGrpSpPr/>
            <p:nvPr userDrawn="1"/>
          </p:nvGrpSpPr>
          <p:grpSpPr>
            <a:xfrm>
              <a:off x="9527886" y="5480520"/>
              <a:ext cx="860159" cy="980775"/>
              <a:chOff x="-2832000" y="3717015"/>
              <a:chExt cx="2057400" cy="2345897"/>
            </a:xfrm>
          </p:grpSpPr>
          <p:sp>
            <p:nvSpPr>
              <p:cNvPr id="12" name="Freeform: Shape 11">
                <a:extLst>
                  <a:ext uri="{FF2B5EF4-FFF2-40B4-BE49-F238E27FC236}">
                    <a16:creationId xmlns:a16="http://schemas.microsoft.com/office/drawing/2014/main" id="{E0347835-0838-44B7-A38E-0F74E1C07CD9}"/>
                  </a:ext>
                </a:extLst>
              </p:cNvPr>
              <p:cNvSpPr/>
              <p:nvPr/>
            </p:nvSpPr>
            <p:spPr>
              <a:xfrm>
                <a:off x="-2500816" y="4031325"/>
                <a:ext cx="1143000" cy="1323975"/>
              </a:xfrm>
              <a:custGeom>
                <a:avLst/>
                <a:gdLst>
                  <a:gd name="connsiteX0" fmla="*/ 403670 w 1143000"/>
                  <a:gd name="connsiteY0" fmla="*/ 1230535 h 1323975"/>
                  <a:gd name="connsiteX1" fmla="*/ 399860 w 1143000"/>
                  <a:gd name="connsiteY1" fmla="*/ 1311402 h 1323975"/>
                  <a:gd name="connsiteX2" fmla="*/ 318992 w 1143000"/>
                  <a:gd name="connsiteY2" fmla="*/ 1307592 h 1323975"/>
                  <a:gd name="connsiteX3" fmla="*/ 256699 w 1143000"/>
                  <a:gd name="connsiteY3" fmla="*/ 1245108 h 1323975"/>
                  <a:gd name="connsiteX4" fmla="*/ 189928 w 1143000"/>
                  <a:gd name="connsiteY4" fmla="*/ 1178624 h 1323975"/>
                  <a:gd name="connsiteX5" fmla="*/ 48958 w 1143000"/>
                  <a:gd name="connsiteY5" fmla="*/ 957072 h 1323975"/>
                  <a:gd name="connsiteX6" fmla="*/ 0 w 1143000"/>
                  <a:gd name="connsiteY6" fmla="*/ 699611 h 1323975"/>
                  <a:gd name="connsiteX7" fmla="*/ 204883 w 1143000"/>
                  <a:gd name="connsiteY7" fmla="*/ 204978 h 1323975"/>
                  <a:gd name="connsiteX8" fmla="*/ 699516 w 1143000"/>
                  <a:gd name="connsiteY8" fmla="*/ 0 h 1323975"/>
                  <a:gd name="connsiteX9" fmla="*/ 926497 w 1143000"/>
                  <a:gd name="connsiteY9" fmla="*/ 37719 h 1323975"/>
                  <a:gd name="connsiteX10" fmla="*/ 1128808 w 1143000"/>
                  <a:gd name="connsiteY10" fmla="*/ 147256 h 1323975"/>
                  <a:gd name="connsiteX11" fmla="*/ 1138904 w 1143000"/>
                  <a:gd name="connsiteY11" fmla="*/ 227648 h 1323975"/>
                  <a:gd name="connsiteX12" fmla="*/ 1058513 w 1143000"/>
                  <a:gd name="connsiteY12" fmla="*/ 237744 h 1323975"/>
                  <a:gd name="connsiteX13" fmla="*/ 889349 w 1143000"/>
                  <a:gd name="connsiteY13" fmla="*/ 146114 h 1323975"/>
                  <a:gd name="connsiteX14" fmla="*/ 699516 w 1143000"/>
                  <a:gd name="connsiteY14" fmla="*/ 114681 h 1323975"/>
                  <a:gd name="connsiteX15" fmla="*/ 285941 w 1143000"/>
                  <a:gd name="connsiteY15" fmla="*/ 285941 h 1323975"/>
                  <a:gd name="connsiteX16" fmla="*/ 114586 w 1143000"/>
                  <a:gd name="connsiteY16" fmla="*/ 699516 h 1323975"/>
                  <a:gd name="connsiteX17" fmla="*/ 155448 w 1143000"/>
                  <a:gd name="connsiteY17" fmla="*/ 914876 h 1323975"/>
                  <a:gd name="connsiteX18" fmla="*/ 273177 w 1143000"/>
                  <a:gd name="connsiteY18" fmla="*/ 1100138 h 1323975"/>
                  <a:gd name="connsiteX19" fmla="*/ 335947 w 1143000"/>
                  <a:gd name="connsiteY19" fmla="*/ 1162622 h 1323975"/>
                  <a:gd name="connsiteX20" fmla="*/ 403670 w 1143000"/>
                  <a:gd name="connsiteY20" fmla="*/ 1230535 h 132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3000" h="1323975">
                    <a:moveTo>
                      <a:pt x="403670" y="1230535"/>
                    </a:moveTo>
                    <a:cubicBezTo>
                      <a:pt x="424910" y="1253871"/>
                      <a:pt x="423196" y="1290161"/>
                      <a:pt x="399860" y="1311402"/>
                    </a:cubicBezTo>
                    <a:cubicBezTo>
                      <a:pt x="376523" y="1332643"/>
                      <a:pt x="340328" y="1330928"/>
                      <a:pt x="318992" y="1307592"/>
                    </a:cubicBezTo>
                    <a:cubicBezTo>
                      <a:pt x="299561" y="1286256"/>
                      <a:pt x="278511" y="1265968"/>
                      <a:pt x="256699" y="1245108"/>
                    </a:cubicBezTo>
                    <a:cubicBezTo>
                      <a:pt x="234887" y="1224153"/>
                      <a:pt x="212408" y="1202627"/>
                      <a:pt x="189928" y="1178624"/>
                    </a:cubicBezTo>
                    <a:cubicBezTo>
                      <a:pt x="129826" y="1114711"/>
                      <a:pt x="81724" y="1039749"/>
                      <a:pt x="48958" y="957072"/>
                    </a:cubicBezTo>
                    <a:cubicBezTo>
                      <a:pt x="17335" y="877348"/>
                      <a:pt x="0" y="790480"/>
                      <a:pt x="0" y="699611"/>
                    </a:cubicBezTo>
                    <a:cubicBezTo>
                      <a:pt x="0" y="506444"/>
                      <a:pt x="78296" y="331565"/>
                      <a:pt x="204883" y="204978"/>
                    </a:cubicBezTo>
                    <a:cubicBezTo>
                      <a:pt x="331470" y="78296"/>
                      <a:pt x="506349" y="0"/>
                      <a:pt x="699516" y="0"/>
                    </a:cubicBezTo>
                    <a:cubicBezTo>
                      <a:pt x="778859" y="0"/>
                      <a:pt x="855250" y="13240"/>
                      <a:pt x="926497" y="37719"/>
                    </a:cubicBezTo>
                    <a:cubicBezTo>
                      <a:pt x="1000315" y="63055"/>
                      <a:pt x="1068515" y="100298"/>
                      <a:pt x="1128808" y="147256"/>
                    </a:cubicBezTo>
                    <a:cubicBezTo>
                      <a:pt x="1153763" y="166688"/>
                      <a:pt x="1158335" y="202692"/>
                      <a:pt x="1138904" y="227648"/>
                    </a:cubicBezTo>
                    <a:cubicBezTo>
                      <a:pt x="1119473" y="252603"/>
                      <a:pt x="1083469" y="257175"/>
                      <a:pt x="1058513" y="237744"/>
                    </a:cubicBezTo>
                    <a:cubicBezTo>
                      <a:pt x="1008031" y="198501"/>
                      <a:pt x="950976" y="167259"/>
                      <a:pt x="889349" y="146114"/>
                    </a:cubicBezTo>
                    <a:cubicBezTo>
                      <a:pt x="829913" y="125730"/>
                      <a:pt x="766096" y="114681"/>
                      <a:pt x="699516" y="114681"/>
                    </a:cubicBezTo>
                    <a:cubicBezTo>
                      <a:pt x="537972" y="114681"/>
                      <a:pt x="391763" y="180118"/>
                      <a:pt x="285941" y="285941"/>
                    </a:cubicBezTo>
                    <a:cubicBezTo>
                      <a:pt x="180118" y="391763"/>
                      <a:pt x="114586" y="538067"/>
                      <a:pt x="114586" y="699516"/>
                    </a:cubicBezTo>
                    <a:cubicBezTo>
                      <a:pt x="114586" y="775621"/>
                      <a:pt x="129064" y="848297"/>
                      <a:pt x="155448" y="914876"/>
                    </a:cubicBezTo>
                    <a:cubicBezTo>
                      <a:pt x="182880" y="984218"/>
                      <a:pt x="223171" y="1046988"/>
                      <a:pt x="273177" y="1100138"/>
                    </a:cubicBezTo>
                    <a:cubicBezTo>
                      <a:pt x="294132" y="1122426"/>
                      <a:pt x="315373" y="1142810"/>
                      <a:pt x="335947" y="1162622"/>
                    </a:cubicBezTo>
                    <a:cubicBezTo>
                      <a:pt x="359759" y="1185482"/>
                      <a:pt x="382714" y="1207484"/>
                      <a:pt x="403670" y="1230535"/>
                    </a:cubicBezTo>
                    <a:close/>
                  </a:path>
                </a:pathLst>
              </a:custGeom>
              <a:solidFill>
                <a:schemeClr val="accent2">
                  <a:lumMod val="60000"/>
                  <a:lumOff val="40000"/>
                </a:schemeClr>
              </a:solidFill>
              <a:ln w="9525" cap="flat">
                <a:noFill/>
                <a:prstDash val="solid"/>
                <a:miter/>
              </a:ln>
            </p:spPr>
            <p:txBody>
              <a:bodyPr rtlCol="0" anchor="ctr"/>
              <a:lstStyle/>
              <a:p>
                <a:endParaRPr lang="en-US">
                  <a:solidFill>
                    <a:prstClr val="black"/>
                  </a:solidFill>
                </a:endParaRPr>
              </a:p>
            </p:txBody>
          </p:sp>
          <p:sp>
            <p:nvSpPr>
              <p:cNvPr id="22" name="Freeform: Shape 21">
                <a:extLst>
                  <a:ext uri="{FF2B5EF4-FFF2-40B4-BE49-F238E27FC236}">
                    <a16:creationId xmlns:a16="http://schemas.microsoft.com/office/drawing/2014/main" id="{9695CA73-A5B8-48CA-8C4C-F593640D8004}"/>
                  </a:ext>
                </a:extLst>
              </p:cNvPr>
              <p:cNvSpPr/>
              <p:nvPr/>
            </p:nvSpPr>
            <p:spPr>
              <a:xfrm>
                <a:off x="-1977250" y="4244720"/>
                <a:ext cx="714375" cy="1114425"/>
              </a:xfrm>
              <a:custGeom>
                <a:avLst/>
                <a:gdLst>
                  <a:gd name="connsiteX0" fmla="*/ 354449 w 714375"/>
                  <a:gd name="connsiteY0" fmla="*/ 122457 h 1114425"/>
                  <a:gd name="connsiteX1" fmla="*/ 347877 w 714375"/>
                  <a:gd name="connsiteY1" fmla="*/ 23873 h 1114425"/>
                  <a:gd name="connsiteX2" fmla="*/ 446461 w 714375"/>
                  <a:gd name="connsiteY2" fmla="*/ 17301 h 1114425"/>
                  <a:gd name="connsiteX3" fmla="*/ 696778 w 714375"/>
                  <a:gd name="connsiteY3" fmla="*/ 421447 h 1114425"/>
                  <a:gd name="connsiteX4" fmla="*/ 650200 w 714375"/>
                  <a:gd name="connsiteY4" fmla="*/ 880647 h 1114425"/>
                  <a:gd name="connsiteX5" fmla="*/ 558475 w 714375"/>
                  <a:gd name="connsiteY5" fmla="*/ 917604 h 1114425"/>
                  <a:gd name="connsiteX6" fmla="*/ 549045 w 714375"/>
                  <a:gd name="connsiteY6" fmla="*/ 912746 h 1114425"/>
                  <a:gd name="connsiteX7" fmla="*/ 493705 w 714375"/>
                  <a:gd name="connsiteY7" fmla="*/ 1072671 h 1114425"/>
                  <a:gd name="connsiteX8" fmla="*/ 401407 w 714375"/>
                  <a:gd name="connsiteY8" fmla="*/ 1108580 h 1114425"/>
                  <a:gd name="connsiteX9" fmla="*/ 365593 w 714375"/>
                  <a:gd name="connsiteY9" fmla="*/ 1016283 h 1114425"/>
                  <a:gd name="connsiteX10" fmla="*/ 418457 w 714375"/>
                  <a:gd name="connsiteY10" fmla="*/ 591468 h 1114425"/>
                  <a:gd name="connsiteX11" fmla="*/ 188524 w 714375"/>
                  <a:gd name="connsiteY11" fmla="*/ 240376 h 1114425"/>
                  <a:gd name="connsiteX12" fmla="*/ 176522 w 714375"/>
                  <a:gd name="connsiteY12" fmla="*/ 142364 h 1114425"/>
                  <a:gd name="connsiteX13" fmla="*/ 274534 w 714375"/>
                  <a:gd name="connsiteY13" fmla="*/ 130363 h 1114425"/>
                  <a:gd name="connsiteX14" fmla="*/ 554855 w 714375"/>
                  <a:gd name="connsiteY14" fmla="*/ 560226 h 1114425"/>
                  <a:gd name="connsiteX15" fmla="*/ 570000 w 714375"/>
                  <a:gd name="connsiteY15" fmla="*/ 653857 h 1114425"/>
                  <a:gd name="connsiteX16" fmla="*/ 560475 w 714375"/>
                  <a:gd name="connsiteY16" fmla="*/ 453070 h 1114425"/>
                  <a:gd name="connsiteX17" fmla="*/ 354449 w 714375"/>
                  <a:gd name="connsiteY17" fmla="*/ 122457 h 1114425"/>
                  <a:gd name="connsiteX18" fmla="*/ 354449 w 714375"/>
                  <a:gd name="connsiteY18" fmla="*/ 122457 h 1114425"/>
                  <a:gd name="connsiteX19" fmla="*/ 100608 w 714375"/>
                  <a:gd name="connsiteY19" fmla="*/ 413922 h 1114425"/>
                  <a:gd name="connsiteX20" fmla="*/ 180904 w 714375"/>
                  <a:gd name="connsiteY20" fmla="*/ 506219 h 1114425"/>
                  <a:gd name="connsiteX21" fmla="*/ 221004 w 714375"/>
                  <a:gd name="connsiteY21" fmla="*/ 665477 h 1114425"/>
                  <a:gd name="connsiteX22" fmla="*/ 147376 w 714375"/>
                  <a:gd name="connsiteY22" fmla="*/ 822544 h 1114425"/>
                  <a:gd name="connsiteX23" fmla="*/ 30123 w 714375"/>
                  <a:gd name="connsiteY23" fmla="*/ 919604 h 1114425"/>
                  <a:gd name="connsiteX24" fmla="*/ 9454 w 714375"/>
                  <a:gd name="connsiteY24" fmla="*/ 1006948 h 1114425"/>
                  <a:gd name="connsiteX25" fmla="*/ 96798 w 714375"/>
                  <a:gd name="connsiteY25" fmla="*/ 1027618 h 1114425"/>
                  <a:gd name="connsiteX26" fmla="*/ 242911 w 714375"/>
                  <a:gd name="connsiteY26" fmla="*/ 906174 h 1114425"/>
                  <a:gd name="connsiteX27" fmla="*/ 347305 w 714375"/>
                  <a:gd name="connsiteY27" fmla="*/ 677955 h 1114425"/>
                  <a:gd name="connsiteX28" fmla="*/ 288822 w 714375"/>
                  <a:gd name="connsiteY28" fmla="*/ 439544 h 1114425"/>
                  <a:gd name="connsiteX29" fmla="*/ 184142 w 714375"/>
                  <a:gd name="connsiteY29" fmla="*/ 318386 h 1114425"/>
                  <a:gd name="connsiteX30" fmla="*/ 94512 w 714375"/>
                  <a:gd name="connsiteY30" fmla="*/ 324387 h 1114425"/>
                  <a:gd name="connsiteX31" fmla="*/ 100608 w 714375"/>
                  <a:gd name="connsiteY31" fmla="*/ 413922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4375" h="1114425">
                    <a:moveTo>
                      <a:pt x="354449" y="122457"/>
                    </a:moveTo>
                    <a:cubicBezTo>
                      <a:pt x="325398" y="97025"/>
                      <a:pt x="322445" y="52924"/>
                      <a:pt x="347877" y="23873"/>
                    </a:cubicBezTo>
                    <a:cubicBezTo>
                      <a:pt x="373309" y="-5178"/>
                      <a:pt x="417409" y="-8131"/>
                      <a:pt x="446461" y="17301"/>
                    </a:cubicBezTo>
                    <a:cubicBezTo>
                      <a:pt x="547616" y="105883"/>
                      <a:pt x="654868" y="244186"/>
                      <a:pt x="696778" y="421447"/>
                    </a:cubicBezTo>
                    <a:cubicBezTo>
                      <a:pt x="728401" y="555082"/>
                      <a:pt x="722971" y="709864"/>
                      <a:pt x="650200" y="880647"/>
                    </a:cubicBezTo>
                    <a:cubicBezTo>
                      <a:pt x="635056" y="916175"/>
                      <a:pt x="594003" y="932749"/>
                      <a:pt x="558475" y="917604"/>
                    </a:cubicBezTo>
                    <a:cubicBezTo>
                      <a:pt x="555141" y="916175"/>
                      <a:pt x="551998" y="914556"/>
                      <a:pt x="549045" y="912746"/>
                    </a:cubicBezTo>
                    <a:cubicBezTo>
                      <a:pt x="536281" y="964372"/>
                      <a:pt x="518089" y="1017712"/>
                      <a:pt x="493705" y="1072671"/>
                    </a:cubicBezTo>
                    <a:cubicBezTo>
                      <a:pt x="478179" y="1108009"/>
                      <a:pt x="436840" y="1124106"/>
                      <a:pt x="401407" y="1108580"/>
                    </a:cubicBezTo>
                    <a:cubicBezTo>
                      <a:pt x="366070" y="1092959"/>
                      <a:pt x="349972" y="1051716"/>
                      <a:pt x="365593" y="1016283"/>
                    </a:cubicBezTo>
                    <a:cubicBezTo>
                      <a:pt x="437317" y="854453"/>
                      <a:pt x="446175" y="711959"/>
                      <a:pt x="418457" y="591468"/>
                    </a:cubicBezTo>
                    <a:cubicBezTo>
                      <a:pt x="383119" y="438211"/>
                      <a:pt x="288441" y="318672"/>
                      <a:pt x="188524" y="240376"/>
                    </a:cubicBezTo>
                    <a:cubicBezTo>
                      <a:pt x="158139" y="216659"/>
                      <a:pt x="152710" y="172749"/>
                      <a:pt x="176522" y="142364"/>
                    </a:cubicBezTo>
                    <a:cubicBezTo>
                      <a:pt x="200239" y="111979"/>
                      <a:pt x="244150" y="106550"/>
                      <a:pt x="274534" y="130363"/>
                    </a:cubicBezTo>
                    <a:cubicBezTo>
                      <a:pt x="396073" y="225613"/>
                      <a:pt x="511326" y="371726"/>
                      <a:pt x="554855" y="560226"/>
                    </a:cubicBezTo>
                    <a:cubicBezTo>
                      <a:pt x="561808" y="590420"/>
                      <a:pt x="566952" y="621662"/>
                      <a:pt x="570000" y="653857"/>
                    </a:cubicBezTo>
                    <a:cubicBezTo>
                      <a:pt x="579715" y="581562"/>
                      <a:pt x="575048" y="514411"/>
                      <a:pt x="560475" y="453070"/>
                    </a:cubicBezTo>
                    <a:cubicBezTo>
                      <a:pt x="526280" y="309052"/>
                      <a:pt x="437888" y="195514"/>
                      <a:pt x="354449" y="122457"/>
                    </a:cubicBezTo>
                    <a:lnTo>
                      <a:pt x="354449" y="122457"/>
                    </a:lnTo>
                    <a:close/>
                    <a:moveTo>
                      <a:pt x="100608" y="413922"/>
                    </a:moveTo>
                    <a:cubicBezTo>
                      <a:pt x="134517" y="443545"/>
                      <a:pt x="161282" y="474501"/>
                      <a:pt x="180904" y="506219"/>
                    </a:cubicBezTo>
                    <a:cubicBezTo>
                      <a:pt x="213098" y="558226"/>
                      <a:pt x="226338" y="612518"/>
                      <a:pt x="221004" y="665477"/>
                    </a:cubicBezTo>
                    <a:cubicBezTo>
                      <a:pt x="215575" y="719103"/>
                      <a:pt x="190905" y="772729"/>
                      <a:pt x="147376" y="822544"/>
                    </a:cubicBezTo>
                    <a:cubicBezTo>
                      <a:pt x="117181" y="857215"/>
                      <a:pt x="78034" y="889981"/>
                      <a:pt x="30123" y="919604"/>
                    </a:cubicBezTo>
                    <a:cubicBezTo>
                      <a:pt x="310" y="937988"/>
                      <a:pt x="-8930" y="977135"/>
                      <a:pt x="9454" y="1006948"/>
                    </a:cubicBezTo>
                    <a:cubicBezTo>
                      <a:pt x="27837" y="1036762"/>
                      <a:pt x="66985" y="1046001"/>
                      <a:pt x="96798" y="1027618"/>
                    </a:cubicBezTo>
                    <a:cubicBezTo>
                      <a:pt x="155853" y="991042"/>
                      <a:pt x="204621" y="950084"/>
                      <a:pt x="242911" y="906174"/>
                    </a:cubicBezTo>
                    <a:cubicBezTo>
                      <a:pt x="304252" y="835879"/>
                      <a:pt x="339304" y="757870"/>
                      <a:pt x="347305" y="677955"/>
                    </a:cubicBezTo>
                    <a:cubicBezTo>
                      <a:pt x="355497" y="597278"/>
                      <a:pt x="336161" y="515935"/>
                      <a:pt x="288822" y="439544"/>
                    </a:cubicBezTo>
                    <a:cubicBezTo>
                      <a:pt x="262533" y="397063"/>
                      <a:pt x="227671" y="356296"/>
                      <a:pt x="184142" y="318386"/>
                    </a:cubicBezTo>
                    <a:cubicBezTo>
                      <a:pt x="157758" y="295336"/>
                      <a:pt x="117658" y="298003"/>
                      <a:pt x="94512" y="324387"/>
                    </a:cubicBezTo>
                    <a:cubicBezTo>
                      <a:pt x="71557" y="350771"/>
                      <a:pt x="74224" y="390871"/>
                      <a:pt x="100608" y="413922"/>
                    </a:cubicBezTo>
                    <a:close/>
                  </a:path>
                </a:pathLst>
              </a:custGeom>
              <a:solidFill>
                <a:srgbClr val="0095DA"/>
              </a:solidFill>
              <a:ln w="9525" cap="flat">
                <a:noFill/>
                <a:prstDash val="solid"/>
                <a:miter/>
              </a:ln>
            </p:spPr>
            <p:txBody>
              <a:bodyPr rtlCol="0" anchor="ctr"/>
              <a:lstStyle/>
              <a:p>
                <a:endParaRPr lang="en-US">
                  <a:solidFill>
                    <a:prstClr val="black"/>
                  </a:solidFill>
                </a:endParaRPr>
              </a:p>
            </p:txBody>
          </p:sp>
          <p:sp>
            <p:nvSpPr>
              <p:cNvPr id="23" name="Freeform: Shape 22">
                <a:extLst>
                  <a:ext uri="{FF2B5EF4-FFF2-40B4-BE49-F238E27FC236}">
                    <a16:creationId xmlns:a16="http://schemas.microsoft.com/office/drawing/2014/main" id="{D486699D-65AC-477D-B2BD-E0B5018FF174}"/>
                  </a:ext>
                </a:extLst>
              </p:cNvPr>
              <p:cNvSpPr/>
              <p:nvPr/>
            </p:nvSpPr>
            <p:spPr>
              <a:xfrm>
                <a:off x="-2092359" y="4280615"/>
                <a:ext cx="981075" cy="1381125"/>
              </a:xfrm>
              <a:custGeom>
                <a:avLst/>
                <a:gdLst>
                  <a:gd name="connsiteX0" fmla="*/ 578619 w 981075"/>
                  <a:gd name="connsiteY0" fmla="*/ 1386153 h 1381125"/>
                  <a:gd name="connsiteX1" fmla="*/ 717017 w 981075"/>
                  <a:gd name="connsiteY1" fmla="*/ 1016202 h 1381125"/>
                  <a:gd name="connsiteX2" fmla="*/ 874466 w 981075"/>
                  <a:gd name="connsiteY2" fmla="*/ 62559 h 1381125"/>
                  <a:gd name="connsiteX3" fmla="*/ 738734 w 981075"/>
                  <a:gd name="connsiteY3" fmla="*/ 119614 h 1381125"/>
                  <a:gd name="connsiteX4" fmla="*/ 599955 w 981075"/>
                  <a:gd name="connsiteY4" fmla="*/ 766742 h 1381125"/>
                  <a:gd name="connsiteX5" fmla="*/ 710159 w 981075"/>
                  <a:gd name="connsiteY5" fmla="*/ 233056 h 1381125"/>
                  <a:gd name="connsiteX6" fmla="*/ 446984 w 981075"/>
                  <a:gd name="connsiteY6" fmla="*/ 373264 h 1381125"/>
                  <a:gd name="connsiteX7" fmla="*/ 250673 w 981075"/>
                  <a:gd name="connsiteY7" fmla="*/ 800080 h 1381125"/>
                  <a:gd name="connsiteX8" fmla="*/ 3023 w 981075"/>
                  <a:gd name="connsiteY8" fmla="*/ 1341385 h 1381125"/>
                  <a:gd name="connsiteX9" fmla="*/ 3023 w 981075"/>
                  <a:gd name="connsiteY9" fmla="*/ 1386343 h 1381125"/>
                  <a:gd name="connsiteX10" fmla="*/ 578619 w 981075"/>
                  <a:gd name="connsiteY10" fmla="*/ 1386343 h 138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1075" h="1381125">
                    <a:moveTo>
                      <a:pt x="578619" y="1386153"/>
                    </a:moveTo>
                    <a:cubicBezTo>
                      <a:pt x="579667" y="1246707"/>
                      <a:pt x="595097" y="1128787"/>
                      <a:pt x="717017" y="1016202"/>
                    </a:cubicBezTo>
                    <a:cubicBezTo>
                      <a:pt x="976574" y="776553"/>
                      <a:pt x="1094684" y="410793"/>
                      <a:pt x="874466" y="62559"/>
                    </a:cubicBezTo>
                    <a:cubicBezTo>
                      <a:pt x="809410" y="-40311"/>
                      <a:pt x="661868" y="-12879"/>
                      <a:pt x="738734" y="119614"/>
                    </a:cubicBezTo>
                    <a:cubicBezTo>
                      <a:pt x="990766" y="553668"/>
                      <a:pt x="661010" y="788078"/>
                      <a:pt x="599955" y="766742"/>
                    </a:cubicBezTo>
                    <a:cubicBezTo>
                      <a:pt x="501181" y="732166"/>
                      <a:pt x="588811" y="399172"/>
                      <a:pt x="710159" y="233056"/>
                    </a:cubicBezTo>
                    <a:cubicBezTo>
                      <a:pt x="642151" y="207244"/>
                      <a:pt x="507372" y="220674"/>
                      <a:pt x="446984" y="373264"/>
                    </a:cubicBezTo>
                    <a:cubicBezTo>
                      <a:pt x="364402" y="582243"/>
                      <a:pt x="424600" y="671778"/>
                      <a:pt x="250673" y="800080"/>
                    </a:cubicBezTo>
                    <a:cubicBezTo>
                      <a:pt x="127134" y="891234"/>
                      <a:pt x="-23266" y="961719"/>
                      <a:pt x="3023" y="1341385"/>
                    </a:cubicBezTo>
                    <a:lnTo>
                      <a:pt x="3023" y="1386343"/>
                    </a:lnTo>
                    <a:lnTo>
                      <a:pt x="578619" y="1386343"/>
                    </a:lnTo>
                    <a:close/>
                  </a:path>
                </a:pathLst>
              </a:custGeom>
              <a:solidFill>
                <a:schemeClr val="accent2">
                  <a:lumMod val="60000"/>
                  <a:lumOff val="40000"/>
                </a:schemeClr>
              </a:solidFill>
              <a:ln w="9525" cap="flat">
                <a:noFill/>
                <a:prstDash val="solid"/>
                <a:miter/>
              </a:ln>
            </p:spPr>
            <p:txBody>
              <a:bodyPr rtlCol="0" anchor="ctr"/>
              <a:lstStyle/>
              <a:p>
                <a:endParaRPr lang="en-US">
                  <a:solidFill>
                    <a:prstClr val="black"/>
                  </a:solidFill>
                </a:endParaRPr>
              </a:p>
            </p:txBody>
          </p:sp>
          <p:sp>
            <p:nvSpPr>
              <p:cNvPr id="24" name="Freeform: Shape 23">
                <a:extLst>
                  <a:ext uri="{FF2B5EF4-FFF2-40B4-BE49-F238E27FC236}">
                    <a16:creationId xmlns:a16="http://schemas.microsoft.com/office/drawing/2014/main" id="{36600F86-E83F-4ECE-9E0D-438726AAB62A}"/>
                  </a:ext>
                </a:extLst>
              </p:cNvPr>
              <p:cNvSpPr/>
              <p:nvPr/>
            </p:nvSpPr>
            <p:spPr>
              <a:xfrm>
                <a:off x="-2116197" y="5700962"/>
                <a:ext cx="628650" cy="361950"/>
              </a:xfrm>
              <a:custGeom>
                <a:avLst/>
                <a:gdLst>
                  <a:gd name="connsiteX0" fmla="*/ 51149 w 628650"/>
                  <a:gd name="connsiteY0" fmla="*/ 235744 h 361950"/>
                  <a:gd name="connsiteX1" fmla="*/ 578739 w 628650"/>
                  <a:gd name="connsiteY1" fmla="*/ 235744 h 361950"/>
                  <a:gd name="connsiteX2" fmla="*/ 629889 w 628650"/>
                  <a:gd name="connsiteY2" fmla="*/ 184595 h 361950"/>
                  <a:gd name="connsiteX3" fmla="*/ 629889 w 628650"/>
                  <a:gd name="connsiteY3" fmla="*/ 184595 h 361950"/>
                  <a:gd name="connsiteX4" fmla="*/ 578739 w 628650"/>
                  <a:gd name="connsiteY4" fmla="*/ 133445 h 361950"/>
                  <a:gd name="connsiteX5" fmla="*/ 51149 w 628650"/>
                  <a:gd name="connsiteY5" fmla="*/ 133445 h 361950"/>
                  <a:gd name="connsiteX6" fmla="*/ 0 w 628650"/>
                  <a:gd name="connsiteY6" fmla="*/ 184595 h 361950"/>
                  <a:gd name="connsiteX7" fmla="*/ 0 w 628650"/>
                  <a:gd name="connsiteY7" fmla="*/ 184595 h 361950"/>
                  <a:gd name="connsiteX8" fmla="*/ 51149 w 628650"/>
                  <a:gd name="connsiteY8" fmla="*/ 235744 h 361950"/>
                  <a:gd name="connsiteX9" fmla="*/ 51149 w 628650"/>
                  <a:gd name="connsiteY9" fmla="*/ 235744 h 361950"/>
                  <a:gd name="connsiteX10" fmla="*/ 51149 w 628650"/>
                  <a:gd name="connsiteY10" fmla="*/ 102299 h 361950"/>
                  <a:gd name="connsiteX11" fmla="*/ 578739 w 628650"/>
                  <a:gd name="connsiteY11" fmla="*/ 102299 h 361950"/>
                  <a:gd name="connsiteX12" fmla="*/ 629889 w 628650"/>
                  <a:gd name="connsiteY12" fmla="*/ 51149 h 361950"/>
                  <a:gd name="connsiteX13" fmla="*/ 629889 w 628650"/>
                  <a:gd name="connsiteY13" fmla="*/ 51149 h 361950"/>
                  <a:gd name="connsiteX14" fmla="*/ 578739 w 628650"/>
                  <a:gd name="connsiteY14" fmla="*/ 0 h 361950"/>
                  <a:gd name="connsiteX15" fmla="*/ 51149 w 628650"/>
                  <a:gd name="connsiteY15" fmla="*/ 0 h 361950"/>
                  <a:gd name="connsiteX16" fmla="*/ 0 w 628650"/>
                  <a:gd name="connsiteY16" fmla="*/ 51149 h 361950"/>
                  <a:gd name="connsiteX17" fmla="*/ 0 w 628650"/>
                  <a:gd name="connsiteY17" fmla="*/ 51149 h 361950"/>
                  <a:gd name="connsiteX18" fmla="*/ 51149 w 628650"/>
                  <a:gd name="connsiteY18" fmla="*/ 102299 h 361950"/>
                  <a:gd name="connsiteX19" fmla="*/ 51149 w 628650"/>
                  <a:gd name="connsiteY19" fmla="*/ 102299 h 361950"/>
                  <a:gd name="connsiteX20" fmla="*/ 188310 w 628650"/>
                  <a:gd name="connsiteY20" fmla="*/ 264224 h 361950"/>
                  <a:gd name="connsiteX21" fmla="*/ 441103 w 628650"/>
                  <a:gd name="connsiteY21" fmla="*/ 264224 h 361950"/>
                  <a:gd name="connsiteX22" fmla="*/ 492252 w 628650"/>
                  <a:gd name="connsiteY22" fmla="*/ 315373 h 361950"/>
                  <a:gd name="connsiteX23" fmla="*/ 492252 w 628650"/>
                  <a:gd name="connsiteY23" fmla="*/ 315373 h 361950"/>
                  <a:gd name="connsiteX24" fmla="*/ 441103 w 628650"/>
                  <a:gd name="connsiteY24" fmla="*/ 366522 h 361950"/>
                  <a:gd name="connsiteX25" fmla="*/ 188310 w 628650"/>
                  <a:gd name="connsiteY25" fmla="*/ 366522 h 361950"/>
                  <a:gd name="connsiteX26" fmla="*/ 137160 w 628650"/>
                  <a:gd name="connsiteY26" fmla="*/ 315373 h 361950"/>
                  <a:gd name="connsiteX27" fmla="*/ 137160 w 628650"/>
                  <a:gd name="connsiteY27" fmla="*/ 315373 h 361950"/>
                  <a:gd name="connsiteX28" fmla="*/ 188310 w 628650"/>
                  <a:gd name="connsiteY28" fmla="*/ 264224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8650" h="361950">
                    <a:moveTo>
                      <a:pt x="51149" y="235744"/>
                    </a:moveTo>
                    <a:lnTo>
                      <a:pt x="578739" y="235744"/>
                    </a:lnTo>
                    <a:cubicBezTo>
                      <a:pt x="606933" y="235744"/>
                      <a:pt x="629889" y="212693"/>
                      <a:pt x="629889" y="184595"/>
                    </a:cubicBezTo>
                    <a:lnTo>
                      <a:pt x="629889" y="184595"/>
                    </a:lnTo>
                    <a:cubicBezTo>
                      <a:pt x="629889" y="156401"/>
                      <a:pt x="606838" y="133445"/>
                      <a:pt x="578739" y="133445"/>
                    </a:cubicBezTo>
                    <a:lnTo>
                      <a:pt x="51149" y="133445"/>
                    </a:lnTo>
                    <a:cubicBezTo>
                      <a:pt x="22956" y="133445"/>
                      <a:pt x="0" y="156496"/>
                      <a:pt x="0" y="184595"/>
                    </a:cubicBezTo>
                    <a:lnTo>
                      <a:pt x="0" y="184595"/>
                    </a:lnTo>
                    <a:cubicBezTo>
                      <a:pt x="-95" y="212693"/>
                      <a:pt x="22956" y="235744"/>
                      <a:pt x="51149" y="235744"/>
                    </a:cubicBezTo>
                    <a:lnTo>
                      <a:pt x="51149" y="235744"/>
                    </a:lnTo>
                    <a:close/>
                    <a:moveTo>
                      <a:pt x="51149" y="102299"/>
                    </a:moveTo>
                    <a:lnTo>
                      <a:pt x="578739" y="102299"/>
                    </a:lnTo>
                    <a:cubicBezTo>
                      <a:pt x="606933" y="102299"/>
                      <a:pt x="629889" y="79248"/>
                      <a:pt x="629889" y="51149"/>
                    </a:cubicBezTo>
                    <a:lnTo>
                      <a:pt x="629889" y="51149"/>
                    </a:lnTo>
                    <a:cubicBezTo>
                      <a:pt x="629889" y="22955"/>
                      <a:pt x="606838" y="0"/>
                      <a:pt x="578739" y="0"/>
                    </a:cubicBezTo>
                    <a:lnTo>
                      <a:pt x="51149" y="0"/>
                    </a:lnTo>
                    <a:cubicBezTo>
                      <a:pt x="22956" y="0"/>
                      <a:pt x="0" y="23051"/>
                      <a:pt x="0" y="51149"/>
                    </a:cubicBezTo>
                    <a:lnTo>
                      <a:pt x="0" y="51149"/>
                    </a:lnTo>
                    <a:cubicBezTo>
                      <a:pt x="-95" y="79248"/>
                      <a:pt x="22956" y="102299"/>
                      <a:pt x="51149" y="102299"/>
                    </a:cubicBezTo>
                    <a:lnTo>
                      <a:pt x="51149" y="102299"/>
                    </a:lnTo>
                    <a:close/>
                    <a:moveTo>
                      <a:pt x="188310" y="264224"/>
                    </a:moveTo>
                    <a:lnTo>
                      <a:pt x="441103" y="264224"/>
                    </a:lnTo>
                    <a:cubicBezTo>
                      <a:pt x="469202" y="264224"/>
                      <a:pt x="492252" y="287274"/>
                      <a:pt x="492252" y="315373"/>
                    </a:cubicBezTo>
                    <a:lnTo>
                      <a:pt x="492252" y="315373"/>
                    </a:lnTo>
                    <a:cubicBezTo>
                      <a:pt x="492252" y="343567"/>
                      <a:pt x="469202" y="366522"/>
                      <a:pt x="441103" y="366522"/>
                    </a:cubicBezTo>
                    <a:lnTo>
                      <a:pt x="188310" y="366522"/>
                    </a:lnTo>
                    <a:cubicBezTo>
                      <a:pt x="160116" y="366522"/>
                      <a:pt x="137160" y="343472"/>
                      <a:pt x="137160" y="315373"/>
                    </a:cubicBezTo>
                    <a:lnTo>
                      <a:pt x="137160" y="315373"/>
                    </a:lnTo>
                    <a:cubicBezTo>
                      <a:pt x="137160" y="287179"/>
                      <a:pt x="160211" y="264224"/>
                      <a:pt x="188310" y="264224"/>
                    </a:cubicBezTo>
                    <a:close/>
                  </a:path>
                </a:pathLst>
              </a:custGeom>
              <a:solidFill>
                <a:schemeClr val="accent2">
                  <a:lumMod val="60000"/>
                  <a:lumOff val="40000"/>
                </a:schemeClr>
              </a:solidFill>
              <a:ln w="9525" cap="flat">
                <a:noFill/>
                <a:prstDash val="solid"/>
                <a:miter/>
              </a:ln>
            </p:spPr>
            <p:txBody>
              <a:bodyPr rtlCol="0" anchor="ctr"/>
              <a:lstStyle/>
              <a:p>
                <a:endParaRPr lang="en-US">
                  <a:solidFill>
                    <a:prstClr val="black"/>
                  </a:solidFill>
                </a:endParaRPr>
              </a:p>
            </p:txBody>
          </p:sp>
          <p:sp>
            <p:nvSpPr>
              <p:cNvPr id="25" name="Freeform: Shape 24">
                <a:extLst>
                  <a:ext uri="{FF2B5EF4-FFF2-40B4-BE49-F238E27FC236}">
                    <a16:creationId xmlns:a16="http://schemas.microsoft.com/office/drawing/2014/main" id="{CC089E10-BCD6-40C5-BDE1-2B716DCBC367}"/>
                  </a:ext>
                </a:extLst>
              </p:cNvPr>
              <p:cNvSpPr/>
              <p:nvPr/>
            </p:nvSpPr>
            <p:spPr>
              <a:xfrm>
                <a:off x="-2832000" y="3717015"/>
                <a:ext cx="2057400" cy="1905000"/>
              </a:xfrm>
              <a:custGeom>
                <a:avLst/>
                <a:gdLst>
                  <a:gd name="connsiteX0" fmla="*/ 1868710 w 2057400"/>
                  <a:gd name="connsiteY0" fmla="*/ 1038591 h 1905000"/>
                  <a:gd name="connsiteX1" fmla="*/ 1845088 w 2057400"/>
                  <a:gd name="connsiteY1" fmla="*/ 1014969 h 1905000"/>
                  <a:gd name="connsiteX2" fmla="*/ 1868710 w 2057400"/>
                  <a:gd name="connsiteY2" fmla="*/ 991347 h 1905000"/>
                  <a:gd name="connsiteX3" fmla="*/ 2037017 w 2057400"/>
                  <a:gd name="connsiteY3" fmla="*/ 991347 h 1905000"/>
                  <a:gd name="connsiteX4" fmla="*/ 2060639 w 2057400"/>
                  <a:gd name="connsiteY4" fmla="*/ 1014969 h 1905000"/>
                  <a:gd name="connsiteX5" fmla="*/ 2037017 w 2057400"/>
                  <a:gd name="connsiteY5" fmla="*/ 1038591 h 1905000"/>
                  <a:gd name="connsiteX6" fmla="*/ 1868710 w 2057400"/>
                  <a:gd name="connsiteY6" fmla="*/ 1038591 h 1905000"/>
                  <a:gd name="connsiteX7" fmla="*/ 1868710 w 2057400"/>
                  <a:gd name="connsiteY7" fmla="*/ 1038591 h 1905000"/>
                  <a:gd name="connsiteX8" fmla="*/ 23622 w 2057400"/>
                  <a:gd name="connsiteY8" fmla="*/ 1038591 h 1905000"/>
                  <a:gd name="connsiteX9" fmla="*/ 0 w 2057400"/>
                  <a:gd name="connsiteY9" fmla="*/ 1014969 h 1905000"/>
                  <a:gd name="connsiteX10" fmla="*/ 23622 w 2057400"/>
                  <a:gd name="connsiteY10" fmla="*/ 991347 h 1905000"/>
                  <a:gd name="connsiteX11" fmla="*/ 191929 w 2057400"/>
                  <a:gd name="connsiteY11" fmla="*/ 991347 h 1905000"/>
                  <a:gd name="connsiteX12" fmla="*/ 215551 w 2057400"/>
                  <a:gd name="connsiteY12" fmla="*/ 1014969 h 1905000"/>
                  <a:gd name="connsiteX13" fmla="*/ 191929 w 2057400"/>
                  <a:gd name="connsiteY13" fmla="*/ 1038591 h 1905000"/>
                  <a:gd name="connsiteX14" fmla="*/ 23622 w 2057400"/>
                  <a:gd name="connsiteY14" fmla="*/ 1038591 h 1905000"/>
                  <a:gd name="connsiteX15" fmla="*/ 23622 w 2057400"/>
                  <a:gd name="connsiteY15" fmla="*/ 1038591 h 1905000"/>
                  <a:gd name="connsiteX16" fmla="*/ 1826324 w 2057400"/>
                  <a:gd name="connsiteY16" fmla="*/ 750364 h 1905000"/>
                  <a:gd name="connsiteX17" fmla="*/ 1796129 w 2057400"/>
                  <a:gd name="connsiteY17" fmla="*/ 736267 h 1905000"/>
                  <a:gd name="connsiteX18" fmla="*/ 1810226 w 2057400"/>
                  <a:gd name="connsiteY18" fmla="*/ 706073 h 1905000"/>
                  <a:gd name="connsiteX19" fmla="*/ 1968246 w 2057400"/>
                  <a:gd name="connsiteY19" fmla="*/ 648542 h 1905000"/>
                  <a:gd name="connsiteX20" fmla="*/ 1998440 w 2057400"/>
                  <a:gd name="connsiteY20" fmla="*/ 662639 h 1905000"/>
                  <a:gd name="connsiteX21" fmla="*/ 1984343 w 2057400"/>
                  <a:gd name="connsiteY21" fmla="*/ 692833 h 1905000"/>
                  <a:gd name="connsiteX22" fmla="*/ 1826324 w 2057400"/>
                  <a:gd name="connsiteY22" fmla="*/ 750364 h 1905000"/>
                  <a:gd name="connsiteX23" fmla="*/ 1826324 w 2057400"/>
                  <a:gd name="connsiteY23" fmla="*/ 750364 h 1905000"/>
                  <a:gd name="connsiteX24" fmla="*/ 92393 w 2057400"/>
                  <a:gd name="connsiteY24" fmla="*/ 1381491 h 1905000"/>
                  <a:gd name="connsiteX25" fmla="*/ 62198 w 2057400"/>
                  <a:gd name="connsiteY25" fmla="*/ 1367394 h 1905000"/>
                  <a:gd name="connsiteX26" fmla="*/ 76295 w 2057400"/>
                  <a:gd name="connsiteY26" fmla="*/ 1337200 h 1905000"/>
                  <a:gd name="connsiteX27" fmla="*/ 234315 w 2057400"/>
                  <a:gd name="connsiteY27" fmla="*/ 1279669 h 1905000"/>
                  <a:gd name="connsiteX28" fmla="*/ 264509 w 2057400"/>
                  <a:gd name="connsiteY28" fmla="*/ 1293766 h 1905000"/>
                  <a:gd name="connsiteX29" fmla="*/ 250412 w 2057400"/>
                  <a:gd name="connsiteY29" fmla="*/ 1323960 h 1905000"/>
                  <a:gd name="connsiteX30" fmla="*/ 92393 w 2057400"/>
                  <a:gd name="connsiteY30" fmla="*/ 1381491 h 1905000"/>
                  <a:gd name="connsiteX31" fmla="*/ 92393 w 2057400"/>
                  <a:gd name="connsiteY31" fmla="*/ 1381491 h 1905000"/>
                  <a:gd name="connsiteX32" fmla="*/ 1687639 w 2057400"/>
                  <a:gd name="connsiteY32" fmla="*/ 494237 h 1905000"/>
                  <a:gd name="connsiteX33" fmla="*/ 1654397 w 2057400"/>
                  <a:gd name="connsiteY33" fmla="*/ 491284 h 1905000"/>
                  <a:gd name="connsiteX34" fmla="*/ 1657350 w 2057400"/>
                  <a:gd name="connsiteY34" fmla="*/ 458042 h 1905000"/>
                  <a:gd name="connsiteX35" fmla="*/ 1786318 w 2057400"/>
                  <a:gd name="connsiteY35" fmla="*/ 349838 h 1905000"/>
                  <a:gd name="connsiteX36" fmla="*/ 1819561 w 2057400"/>
                  <a:gd name="connsiteY36" fmla="*/ 352791 h 1905000"/>
                  <a:gd name="connsiteX37" fmla="*/ 1816608 w 2057400"/>
                  <a:gd name="connsiteY37" fmla="*/ 386033 h 1905000"/>
                  <a:gd name="connsiteX38" fmla="*/ 1687639 w 2057400"/>
                  <a:gd name="connsiteY38" fmla="*/ 494237 h 1905000"/>
                  <a:gd name="connsiteX39" fmla="*/ 1687639 w 2057400"/>
                  <a:gd name="connsiteY39" fmla="*/ 494237 h 1905000"/>
                  <a:gd name="connsiteX40" fmla="*/ 274320 w 2057400"/>
                  <a:gd name="connsiteY40" fmla="*/ 1680195 h 1905000"/>
                  <a:gd name="connsiteX41" fmla="*/ 241078 w 2057400"/>
                  <a:gd name="connsiteY41" fmla="*/ 1677242 h 1905000"/>
                  <a:gd name="connsiteX42" fmla="*/ 244031 w 2057400"/>
                  <a:gd name="connsiteY42" fmla="*/ 1644000 h 1905000"/>
                  <a:gd name="connsiteX43" fmla="*/ 372999 w 2057400"/>
                  <a:gd name="connsiteY43" fmla="*/ 1535796 h 1905000"/>
                  <a:gd name="connsiteX44" fmla="*/ 406241 w 2057400"/>
                  <a:gd name="connsiteY44" fmla="*/ 1538749 h 1905000"/>
                  <a:gd name="connsiteX45" fmla="*/ 403289 w 2057400"/>
                  <a:gd name="connsiteY45" fmla="*/ 1571991 h 1905000"/>
                  <a:gd name="connsiteX46" fmla="*/ 274320 w 2057400"/>
                  <a:gd name="connsiteY46" fmla="*/ 1680195 h 1905000"/>
                  <a:gd name="connsiteX47" fmla="*/ 274320 w 2057400"/>
                  <a:gd name="connsiteY47" fmla="*/ 1680195 h 1905000"/>
                  <a:gd name="connsiteX48" fmla="*/ 1469993 w 2057400"/>
                  <a:gd name="connsiteY48" fmla="*/ 300689 h 1905000"/>
                  <a:gd name="connsiteX49" fmla="*/ 1437799 w 2057400"/>
                  <a:gd name="connsiteY49" fmla="*/ 309262 h 1905000"/>
                  <a:gd name="connsiteX50" fmla="*/ 1429226 w 2057400"/>
                  <a:gd name="connsiteY50" fmla="*/ 277067 h 1905000"/>
                  <a:gd name="connsiteX51" fmla="*/ 1513332 w 2057400"/>
                  <a:gd name="connsiteY51" fmla="*/ 131335 h 1905000"/>
                  <a:gd name="connsiteX52" fmla="*/ 1545527 w 2057400"/>
                  <a:gd name="connsiteY52" fmla="*/ 122762 h 1905000"/>
                  <a:gd name="connsiteX53" fmla="*/ 1554099 w 2057400"/>
                  <a:gd name="connsiteY53" fmla="*/ 154957 h 1905000"/>
                  <a:gd name="connsiteX54" fmla="*/ 1469993 w 2057400"/>
                  <a:gd name="connsiteY54" fmla="*/ 300689 h 1905000"/>
                  <a:gd name="connsiteX55" fmla="*/ 1469993 w 2057400"/>
                  <a:gd name="connsiteY55" fmla="*/ 300689 h 1905000"/>
                  <a:gd name="connsiteX56" fmla="*/ 547402 w 2057400"/>
                  <a:gd name="connsiteY56" fmla="*/ 1898698 h 1905000"/>
                  <a:gd name="connsiteX57" fmla="*/ 515207 w 2057400"/>
                  <a:gd name="connsiteY57" fmla="*/ 1907271 h 1905000"/>
                  <a:gd name="connsiteX58" fmla="*/ 506635 w 2057400"/>
                  <a:gd name="connsiteY58" fmla="*/ 1875076 h 1905000"/>
                  <a:gd name="connsiteX59" fmla="*/ 590741 w 2057400"/>
                  <a:gd name="connsiteY59" fmla="*/ 1729439 h 1905000"/>
                  <a:gd name="connsiteX60" fmla="*/ 622935 w 2057400"/>
                  <a:gd name="connsiteY60" fmla="*/ 1720867 h 1905000"/>
                  <a:gd name="connsiteX61" fmla="*/ 631508 w 2057400"/>
                  <a:gd name="connsiteY61" fmla="*/ 1753061 h 1905000"/>
                  <a:gd name="connsiteX62" fmla="*/ 547402 w 2057400"/>
                  <a:gd name="connsiteY62" fmla="*/ 1898698 h 1905000"/>
                  <a:gd name="connsiteX63" fmla="*/ 547402 w 2057400"/>
                  <a:gd name="connsiteY63" fmla="*/ 1898698 h 1905000"/>
                  <a:gd name="connsiteX64" fmla="*/ 1199198 w 2057400"/>
                  <a:gd name="connsiteY64" fmla="*/ 193342 h 1905000"/>
                  <a:gd name="connsiteX65" fmla="*/ 1171861 w 2057400"/>
                  <a:gd name="connsiteY65" fmla="*/ 212583 h 1905000"/>
                  <a:gd name="connsiteX66" fmla="*/ 1152716 w 2057400"/>
                  <a:gd name="connsiteY66" fmla="*/ 185246 h 1905000"/>
                  <a:gd name="connsiteX67" fmla="*/ 1181957 w 2057400"/>
                  <a:gd name="connsiteY67" fmla="*/ 19606 h 1905000"/>
                  <a:gd name="connsiteX68" fmla="*/ 1209294 w 2057400"/>
                  <a:gd name="connsiteY68" fmla="*/ 366 h 1905000"/>
                  <a:gd name="connsiteX69" fmla="*/ 1228439 w 2057400"/>
                  <a:gd name="connsiteY69" fmla="*/ 27703 h 1905000"/>
                  <a:gd name="connsiteX70" fmla="*/ 1199198 w 2057400"/>
                  <a:gd name="connsiteY70" fmla="*/ 193342 h 1905000"/>
                  <a:gd name="connsiteX71" fmla="*/ 1199198 w 2057400"/>
                  <a:gd name="connsiteY71" fmla="*/ 193342 h 1905000"/>
                  <a:gd name="connsiteX72" fmla="*/ 908018 w 2057400"/>
                  <a:gd name="connsiteY72" fmla="*/ 185246 h 1905000"/>
                  <a:gd name="connsiteX73" fmla="*/ 888778 w 2057400"/>
                  <a:gd name="connsiteY73" fmla="*/ 212583 h 1905000"/>
                  <a:gd name="connsiteX74" fmla="*/ 861441 w 2057400"/>
                  <a:gd name="connsiteY74" fmla="*/ 193342 h 1905000"/>
                  <a:gd name="connsiteX75" fmla="*/ 832295 w 2057400"/>
                  <a:gd name="connsiteY75" fmla="*/ 27703 h 1905000"/>
                  <a:gd name="connsiteX76" fmla="*/ 851535 w 2057400"/>
                  <a:gd name="connsiteY76" fmla="*/ 366 h 1905000"/>
                  <a:gd name="connsiteX77" fmla="*/ 878872 w 2057400"/>
                  <a:gd name="connsiteY77" fmla="*/ 19606 h 1905000"/>
                  <a:gd name="connsiteX78" fmla="*/ 908018 w 2057400"/>
                  <a:gd name="connsiteY78" fmla="*/ 185246 h 1905000"/>
                  <a:gd name="connsiteX79" fmla="*/ 908018 w 2057400"/>
                  <a:gd name="connsiteY79" fmla="*/ 185246 h 1905000"/>
                  <a:gd name="connsiteX80" fmla="*/ 631508 w 2057400"/>
                  <a:gd name="connsiteY80" fmla="*/ 277162 h 1905000"/>
                  <a:gd name="connsiteX81" fmla="*/ 622840 w 2057400"/>
                  <a:gd name="connsiteY81" fmla="*/ 309262 h 1905000"/>
                  <a:gd name="connsiteX82" fmla="*/ 590741 w 2057400"/>
                  <a:gd name="connsiteY82" fmla="*/ 300594 h 1905000"/>
                  <a:gd name="connsiteX83" fmla="*/ 506635 w 2057400"/>
                  <a:gd name="connsiteY83" fmla="*/ 154861 h 1905000"/>
                  <a:gd name="connsiteX84" fmla="*/ 515303 w 2057400"/>
                  <a:gd name="connsiteY84" fmla="*/ 122762 h 1905000"/>
                  <a:gd name="connsiteX85" fmla="*/ 547402 w 2057400"/>
                  <a:gd name="connsiteY85" fmla="*/ 131430 h 1905000"/>
                  <a:gd name="connsiteX86" fmla="*/ 631508 w 2057400"/>
                  <a:gd name="connsiteY86" fmla="*/ 277162 h 1905000"/>
                  <a:gd name="connsiteX87" fmla="*/ 631508 w 2057400"/>
                  <a:gd name="connsiteY87" fmla="*/ 277162 h 1905000"/>
                  <a:gd name="connsiteX88" fmla="*/ 1554099 w 2057400"/>
                  <a:gd name="connsiteY88" fmla="*/ 1874981 h 1905000"/>
                  <a:gd name="connsiteX89" fmla="*/ 1545527 w 2057400"/>
                  <a:gd name="connsiteY89" fmla="*/ 1907176 h 1905000"/>
                  <a:gd name="connsiteX90" fmla="*/ 1513332 w 2057400"/>
                  <a:gd name="connsiteY90" fmla="*/ 1898603 h 1905000"/>
                  <a:gd name="connsiteX91" fmla="*/ 1429226 w 2057400"/>
                  <a:gd name="connsiteY91" fmla="*/ 1752966 h 1905000"/>
                  <a:gd name="connsiteX92" fmla="*/ 1437799 w 2057400"/>
                  <a:gd name="connsiteY92" fmla="*/ 1720771 h 1905000"/>
                  <a:gd name="connsiteX93" fmla="*/ 1469993 w 2057400"/>
                  <a:gd name="connsiteY93" fmla="*/ 1729344 h 1905000"/>
                  <a:gd name="connsiteX94" fmla="*/ 1554099 w 2057400"/>
                  <a:gd name="connsiteY94" fmla="*/ 1874981 h 1905000"/>
                  <a:gd name="connsiteX95" fmla="*/ 1554099 w 2057400"/>
                  <a:gd name="connsiteY95" fmla="*/ 1874981 h 1905000"/>
                  <a:gd name="connsiteX96" fmla="*/ 403289 w 2057400"/>
                  <a:gd name="connsiteY96" fmla="*/ 458042 h 1905000"/>
                  <a:gd name="connsiteX97" fmla="*/ 406241 w 2057400"/>
                  <a:gd name="connsiteY97" fmla="*/ 491284 h 1905000"/>
                  <a:gd name="connsiteX98" fmla="*/ 372999 w 2057400"/>
                  <a:gd name="connsiteY98" fmla="*/ 494237 h 1905000"/>
                  <a:gd name="connsiteX99" fmla="*/ 244031 w 2057400"/>
                  <a:gd name="connsiteY99" fmla="*/ 386033 h 1905000"/>
                  <a:gd name="connsiteX100" fmla="*/ 241078 w 2057400"/>
                  <a:gd name="connsiteY100" fmla="*/ 352791 h 1905000"/>
                  <a:gd name="connsiteX101" fmla="*/ 274320 w 2057400"/>
                  <a:gd name="connsiteY101" fmla="*/ 349838 h 1905000"/>
                  <a:gd name="connsiteX102" fmla="*/ 403289 w 2057400"/>
                  <a:gd name="connsiteY102" fmla="*/ 458042 h 1905000"/>
                  <a:gd name="connsiteX103" fmla="*/ 403289 w 2057400"/>
                  <a:gd name="connsiteY103" fmla="*/ 458042 h 1905000"/>
                  <a:gd name="connsiteX104" fmla="*/ 1816608 w 2057400"/>
                  <a:gd name="connsiteY104" fmla="*/ 1644000 h 1905000"/>
                  <a:gd name="connsiteX105" fmla="*/ 1819561 w 2057400"/>
                  <a:gd name="connsiteY105" fmla="*/ 1677242 h 1905000"/>
                  <a:gd name="connsiteX106" fmla="*/ 1786318 w 2057400"/>
                  <a:gd name="connsiteY106" fmla="*/ 1680195 h 1905000"/>
                  <a:gd name="connsiteX107" fmla="*/ 1657350 w 2057400"/>
                  <a:gd name="connsiteY107" fmla="*/ 1571991 h 1905000"/>
                  <a:gd name="connsiteX108" fmla="*/ 1654397 w 2057400"/>
                  <a:gd name="connsiteY108" fmla="*/ 1538749 h 1905000"/>
                  <a:gd name="connsiteX109" fmla="*/ 1687639 w 2057400"/>
                  <a:gd name="connsiteY109" fmla="*/ 1535796 h 1905000"/>
                  <a:gd name="connsiteX110" fmla="*/ 1816608 w 2057400"/>
                  <a:gd name="connsiteY110" fmla="*/ 1644000 h 1905000"/>
                  <a:gd name="connsiteX111" fmla="*/ 1816608 w 2057400"/>
                  <a:gd name="connsiteY111" fmla="*/ 1644000 h 1905000"/>
                  <a:gd name="connsiteX112" fmla="*/ 250317 w 2057400"/>
                  <a:gd name="connsiteY112" fmla="*/ 706073 h 1905000"/>
                  <a:gd name="connsiteX113" fmla="*/ 264414 w 2057400"/>
                  <a:gd name="connsiteY113" fmla="*/ 736267 h 1905000"/>
                  <a:gd name="connsiteX114" fmla="*/ 234220 w 2057400"/>
                  <a:gd name="connsiteY114" fmla="*/ 750364 h 1905000"/>
                  <a:gd name="connsiteX115" fmla="*/ 76295 w 2057400"/>
                  <a:gd name="connsiteY115" fmla="*/ 692833 h 1905000"/>
                  <a:gd name="connsiteX116" fmla="*/ 62198 w 2057400"/>
                  <a:gd name="connsiteY116" fmla="*/ 662639 h 1905000"/>
                  <a:gd name="connsiteX117" fmla="*/ 92393 w 2057400"/>
                  <a:gd name="connsiteY117" fmla="*/ 648542 h 1905000"/>
                  <a:gd name="connsiteX118" fmla="*/ 250317 w 2057400"/>
                  <a:gd name="connsiteY118" fmla="*/ 706073 h 1905000"/>
                  <a:gd name="connsiteX119" fmla="*/ 250317 w 2057400"/>
                  <a:gd name="connsiteY119" fmla="*/ 706073 h 1905000"/>
                  <a:gd name="connsiteX120" fmla="*/ 1984343 w 2057400"/>
                  <a:gd name="connsiteY120" fmla="*/ 1337200 h 1905000"/>
                  <a:gd name="connsiteX121" fmla="*/ 1998440 w 2057400"/>
                  <a:gd name="connsiteY121" fmla="*/ 1367394 h 1905000"/>
                  <a:gd name="connsiteX122" fmla="*/ 1968246 w 2057400"/>
                  <a:gd name="connsiteY122" fmla="*/ 1381491 h 1905000"/>
                  <a:gd name="connsiteX123" fmla="*/ 1810322 w 2057400"/>
                  <a:gd name="connsiteY123" fmla="*/ 1323960 h 1905000"/>
                  <a:gd name="connsiteX124" fmla="*/ 1796225 w 2057400"/>
                  <a:gd name="connsiteY124" fmla="*/ 1293766 h 1905000"/>
                  <a:gd name="connsiteX125" fmla="*/ 1826419 w 2057400"/>
                  <a:gd name="connsiteY125" fmla="*/ 1279669 h 1905000"/>
                  <a:gd name="connsiteX126" fmla="*/ 1984343 w 2057400"/>
                  <a:gd name="connsiteY126" fmla="*/ 133720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057400" h="1905000">
                    <a:moveTo>
                      <a:pt x="1868710" y="1038591"/>
                    </a:moveTo>
                    <a:cubicBezTo>
                      <a:pt x="1855661" y="1038591"/>
                      <a:pt x="1845088" y="1028018"/>
                      <a:pt x="1845088" y="1014969"/>
                    </a:cubicBezTo>
                    <a:cubicBezTo>
                      <a:pt x="1845088" y="1001920"/>
                      <a:pt x="1855661" y="991347"/>
                      <a:pt x="1868710" y="991347"/>
                    </a:cubicBezTo>
                    <a:lnTo>
                      <a:pt x="2037017" y="991347"/>
                    </a:lnTo>
                    <a:cubicBezTo>
                      <a:pt x="2050066" y="991347"/>
                      <a:pt x="2060639" y="1001920"/>
                      <a:pt x="2060639" y="1014969"/>
                    </a:cubicBezTo>
                    <a:cubicBezTo>
                      <a:pt x="2060639" y="1028018"/>
                      <a:pt x="2050066" y="1038591"/>
                      <a:pt x="2037017" y="1038591"/>
                    </a:cubicBezTo>
                    <a:lnTo>
                      <a:pt x="1868710" y="1038591"/>
                    </a:lnTo>
                    <a:lnTo>
                      <a:pt x="1868710" y="1038591"/>
                    </a:lnTo>
                    <a:close/>
                    <a:moveTo>
                      <a:pt x="23622" y="1038591"/>
                    </a:moveTo>
                    <a:cubicBezTo>
                      <a:pt x="10573" y="1038591"/>
                      <a:pt x="0" y="1028018"/>
                      <a:pt x="0" y="1014969"/>
                    </a:cubicBezTo>
                    <a:cubicBezTo>
                      <a:pt x="0" y="1001920"/>
                      <a:pt x="10573" y="991347"/>
                      <a:pt x="23622" y="991347"/>
                    </a:cubicBezTo>
                    <a:lnTo>
                      <a:pt x="191929" y="991347"/>
                    </a:lnTo>
                    <a:cubicBezTo>
                      <a:pt x="204978" y="991347"/>
                      <a:pt x="215551" y="1001920"/>
                      <a:pt x="215551" y="1014969"/>
                    </a:cubicBezTo>
                    <a:cubicBezTo>
                      <a:pt x="215551" y="1028018"/>
                      <a:pt x="204978" y="1038591"/>
                      <a:pt x="191929" y="1038591"/>
                    </a:cubicBezTo>
                    <a:lnTo>
                      <a:pt x="23622" y="1038591"/>
                    </a:lnTo>
                    <a:lnTo>
                      <a:pt x="23622" y="1038591"/>
                    </a:lnTo>
                    <a:close/>
                    <a:moveTo>
                      <a:pt x="1826324" y="750364"/>
                    </a:moveTo>
                    <a:cubicBezTo>
                      <a:pt x="1814132" y="754841"/>
                      <a:pt x="1800606" y="748459"/>
                      <a:pt x="1796129" y="736267"/>
                    </a:cubicBezTo>
                    <a:cubicBezTo>
                      <a:pt x="1791748" y="724075"/>
                      <a:pt x="1798034" y="710550"/>
                      <a:pt x="1810226" y="706073"/>
                    </a:cubicBezTo>
                    <a:lnTo>
                      <a:pt x="1968246" y="648542"/>
                    </a:lnTo>
                    <a:cubicBezTo>
                      <a:pt x="1980438" y="644065"/>
                      <a:pt x="1993964" y="650447"/>
                      <a:pt x="1998440" y="662639"/>
                    </a:cubicBezTo>
                    <a:cubicBezTo>
                      <a:pt x="2002822" y="674831"/>
                      <a:pt x="1996535" y="688357"/>
                      <a:pt x="1984343" y="692833"/>
                    </a:cubicBezTo>
                    <a:lnTo>
                      <a:pt x="1826324" y="750364"/>
                    </a:lnTo>
                    <a:lnTo>
                      <a:pt x="1826324" y="750364"/>
                    </a:lnTo>
                    <a:close/>
                    <a:moveTo>
                      <a:pt x="92393" y="1381491"/>
                    </a:moveTo>
                    <a:cubicBezTo>
                      <a:pt x="80201" y="1385872"/>
                      <a:pt x="66675" y="1379586"/>
                      <a:pt x="62198" y="1367394"/>
                    </a:cubicBezTo>
                    <a:cubicBezTo>
                      <a:pt x="57722" y="1355202"/>
                      <a:pt x="64103" y="1341676"/>
                      <a:pt x="76295" y="1337200"/>
                    </a:cubicBezTo>
                    <a:lnTo>
                      <a:pt x="234315" y="1279669"/>
                    </a:lnTo>
                    <a:cubicBezTo>
                      <a:pt x="246507" y="1275192"/>
                      <a:pt x="260033" y="1281574"/>
                      <a:pt x="264509" y="1293766"/>
                    </a:cubicBezTo>
                    <a:cubicBezTo>
                      <a:pt x="268986" y="1305958"/>
                      <a:pt x="262604" y="1319483"/>
                      <a:pt x="250412" y="1323960"/>
                    </a:cubicBezTo>
                    <a:lnTo>
                      <a:pt x="92393" y="1381491"/>
                    </a:lnTo>
                    <a:lnTo>
                      <a:pt x="92393" y="1381491"/>
                    </a:lnTo>
                    <a:close/>
                    <a:moveTo>
                      <a:pt x="1687639" y="494237"/>
                    </a:moveTo>
                    <a:cubicBezTo>
                      <a:pt x="1677638" y="502619"/>
                      <a:pt x="1662779" y="501286"/>
                      <a:pt x="1654397" y="491284"/>
                    </a:cubicBezTo>
                    <a:cubicBezTo>
                      <a:pt x="1646015" y="481283"/>
                      <a:pt x="1647349" y="466424"/>
                      <a:pt x="1657350" y="458042"/>
                    </a:cubicBezTo>
                    <a:lnTo>
                      <a:pt x="1786318" y="349838"/>
                    </a:lnTo>
                    <a:cubicBezTo>
                      <a:pt x="1796320" y="341456"/>
                      <a:pt x="1811179" y="342790"/>
                      <a:pt x="1819561" y="352791"/>
                    </a:cubicBezTo>
                    <a:cubicBezTo>
                      <a:pt x="1827943" y="362792"/>
                      <a:pt x="1826609" y="377651"/>
                      <a:pt x="1816608" y="386033"/>
                    </a:cubicBezTo>
                    <a:lnTo>
                      <a:pt x="1687639" y="494237"/>
                    </a:lnTo>
                    <a:lnTo>
                      <a:pt x="1687639" y="494237"/>
                    </a:lnTo>
                    <a:close/>
                    <a:moveTo>
                      <a:pt x="274320" y="1680195"/>
                    </a:moveTo>
                    <a:cubicBezTo>
                      <a:pt x="264319" y="1688577"/>
                      <a:pt x="249460" y="1687243"/>
                      <a:pt x="241078" y="1677242"/>
                    </a:cubicBezTo>
                    <a:cubicBezTo>
                      <a:pt x="232696" y="1667241"/>
                      <a:pt x="234029" y="1652382"/>
                      <a:pt x="244031" y="1644000"/>
                    </a:cubicBezTo>
                    <a:lnTo>
                      <a:pt x="372999" y="1535796"/>
                    </a:lnTo>
                    <a:cubicBezTo>
                      <a:pt x="383000" y="1527414"/>
                      <a:pt x="397859" y="1528747"/>
                      <a:pt x="406241" y="1538749"/>
                    </a:cubicBezTo>
                    <a:cubicBezTo>
                      <a:pt x="414623" y="1548750"/>
                      <a:pt x="413290" y="1563609"/>
                      <a:pt x="403289" y="1571991"/>
                    </a:cubicBezTo>
                    <a:lnTo>
                      <a:pt x="274320" y="1680195"/>
                    </a:lnTo>
                    <a:lnTo>
                      <a:pt x="274320" y="1680195"/>
                    </a:lnTo>
                    <a:close/>
                    <a:moveTo>
                      <a:pt x="1469993" y="300689"/>
                    </a:moveTo>
                    <a:cubicBezTo>
                      <a:pt x="1463421" y="311929"/>
                      <a:pt x="1449038" y="315834"/>
                      <a:pt x="1437799" y="309262"/>
                    </a:cubicBezTo>
                    <a:cubicBezTo>
                      <a:pt x="1426559" y="302689"/>
                      <a:pt x="1422654" y="288307"/>
                      <a:pt x="1429226" y="277067"/>
                    </a:cubicBezTo>
                    <a:lnTo>
                      <a:pt x="1513332" y="131335"/>
                    </a:lnTo>
                    <a:cubicBezTo>
                      <a:pt x="1519809" y="120095"/>
                      <a:pt x="1534287" y="116190"/>
                      <a:pt x="1545527" y="122762"/>
                    </a:cubicBezTo>
                    <a:cubicBezTo>
                      <a:pt x="1556766" y="129239"/>
                      <a:pt x="1560671" y="143717"/>
                      <a:pt x="1554099" y="154957"/>
                    </a:cubicBezTo>
                    <a:lnTo>
                      <a:pt x="1469993" y="300689"/>
                    </a:lnTo>
                    <a:lnTo>
                      <a:pt x="1469993" y="300689"/>
                    </a:lnTo>
                    <a:close/>
                    <a:moveTo>
                      <a:pt x="547402" y="1898698"/>
                    </a:moveTo>
                    <a:cubicBezTo>
                      <a:pt x="540925" y="1909938"/>
                      <a:pt x="526447" y="1913843"/>
                      <a:pt x="515207" y="1907271"/>
                    </a:cubicBezTo>
                    <a:cubicBezTo>
                      <a:pt x="503968" y="1900794"/>
                      <a:pt x="500063" y="1886316"/>
                      <a:pt x="506635" y="1875076"/>
                    </a:cubicBezTo>
                    <a:lnTo>
                      <a:pt x="590741" y="1729439"/>
                    </a:lnTo>
                    <a:cubicBezTo>
                      <a:pt x="597313" y="1718200"/>
                      <a:pt x="611696" y="1714294"/>
                      <a:pt x="622935" y="1720867"/>
                    </a:cubicBezTo>
                    <a:cubicBezTo>
                      <a:pt x="634175" y="1727344"/>
                      <a:pt x="638080" y="1741822"/>
                      <a:pt x="631508" y="1753061"/>
                    </a:cubicBezTo>
                    <a:lnTo>
                      <a:pt x="547402" y="1898698"/>
                    </a:lnTo>
                    <a:lnTo>
                      <a:pt x="547402" y="1898698"/>
                    </a:lnTo>
                    <a:close/>
                    <a:moveTo>
                      <a:pt x="1199198" y="193342"/>
                    </a:moveTo>
                    <a:cubicBezTo>
                      <a:pt x="1196912" y="206201"/>
                      <a:pt x="1184720" y="214774"/>
                      <a:pt x="1171861" y="212583"/>
                    </a:cubicBezTo>
                    <a:cubicBezTo>
                      <a:pt x="1159002" y="210297"/>
                      <a:pt x="1150430" y="198105"/>
                      <a:pt x="1152716" y="185246"/>
                    </a:cubicBezTo>
                    <a:lnTo>
                      <a:pt x="1181957" y="19606"/>
                    </a:lnTo>
                    <a:cubicBezTo>
                      <a:pt x="1184243" y="6748"/>
                      <a:pt x="1196435" y="-1825"/>
                      <a:pt x="1209294" y="366"/>
                    </a:cubicBezTo>
                    <a:cubicBezTo>
                      <a:pt x="1222153" y="2652"/>
                      <a:pt x="1230725" y="14844"/>
                      <a:pt x="1228439" y="27703"/>
                    </a:cubicBezTo>
                    <a:lnTo>
                      <a:pt x="1199198" y="193342"/>
                    </a:lnTo>
                    <a:lnTo>
                      <a:pt x="1199198" y="193342"/>
                    </a:lnTo>
                    <a:close/>
                    <a:moveTo>
                      <a:pt x="908018" y="185246"/>
                    </a:moveTo>
                    <a:cubicBezTo>
                      <a:pt x="910304" y="198105"/>
                      <a:pt x="901637" y="210297"/>
                      <a:pt x="888778" y="212583"/>
                    </a:cubicBezTo>
                    <a:cubicBezTo>
                      <a:pt x="875919" y="214869"/>
                      <a:pt x="863727" y="206201"/>
                      <a:pt x="861441" y="193342"/>
                    </a:cubicBezTo>
                    <a:lnTo>
                      <a:pt x="832295" y="27703"/>
                    </a:lnTo>
                    <a:cubicBezTo>
                      <a:pt x="830009" y="14844"/>
                      <a:pt x="838676" y="2652"/>
                      <a:pt x="851535" y="366"/>
                    </a:cubicBezTo>
                    <a:cubicBezTo>
                      <a:pt x="864394" y="-1920"/>
                      <a:pt x="876586" y="6748"/>
                      <a:pt x="878872" y="19606"/>
                    </a:cubicBezTo>
                    <a:lnTo>
                      <a:pt x="908018" y="185246"/>
                    </a:lnTo>
                    <a:lnTo>
                      <a:pt x="908018" y="185246"/>
                    </a:lnTo>
                    <a:close/>
                    <a:moveTo>
                      <a:pt x="631508" y="277162"/>
                    </a:moveTo>
                    <a:cubicBezTo>
                      <a:pt x="637985" y="288402"/>
                      <a:pt x="634079" y="302785"/>
                      <a:pt x="622840" y="309262"/>
                    </a:cubicBezTo>
                    <a:cubicBezTo>
                      <a:pt x="611600" y="315739"/>
                      <a:pt x="597218" y="311833"/>
                      <a:pt x="590741" y="300594"/>
                    </a:cubicBezTo>
                    <a:lnTo>
                      <a:pt x="506635" y="154861"/>
                    </a:lnTo>
                    <a:cubicBezTo>
                      <a:pt x="500158" y="143622"/>
                      <a:pt x="504063" y="129239"/>
                      <a:pt x="515303" y="122762"/>
                    </a:cubicBezTo>
                    <a:cubicBezTo>
                      <a:pt x="526542" y="116285"/>
                      <a:pt x="540925" y="120190"/>
                      <a:pt x="547402" y="131430"/>
                    </a:cubicBezTo>
                    <a:lnTo>
                      <a:pt x="631508" y="277162"/>
                    </a:lnTo>
                    <a:lnTo>
                      <a:pt x="631508" y="277162"/>
                    </a:lnTo>
                    <a:close/>
                    <a:moveTo>
                      <a:pt x="1554099" y="1874981"/>
                    </a:moveTo>
                    <a:cubicBezTo>
                      <a:pt x="1560576" y="1886221"/>
                      <a:pt x="1556766" y="1900699"/>
                      <a:pt x="1545527" y="1907176"/>
                    </a:cubicBezTo>
                    <a:cubicBezTo>
                      <a:pt x="1534287" y="1913653"/>
                      <a:pt x="1519809" y="1909843"/>
                      <a:pt x="1513332" y="1898603"/>
                    </a:cubicBezTo>
                    <a:lnTo>
                      <a:pt x="1429226" y="1752966"/>
                    </a:lnTo>
                    <a:cubicBezTo>
                      <a:pt x="1422749" y="1741726"/>
                      <a:pt x="1426559" y="1727248"/>
                      <a:pt x="1437799" y="1720771"/>
                    </a:cubicBezTo>
                    <a:cubicBezTo>
                      <a:pt x="1449038" y="1714294"/>
                      <a:pt x="1463516" y="1718104"/>
                      <a:pt x="1469993" y="1729344"/>
                    </a:cubicBezTo>
                    <a:lnTo>
                      <a:pt x="1554099" y="1874981"/>
                    </a:lnTo>
                    <a:lnTo>
                      <a:pt x="1554099" y="1874981"/>
                    </a:lnTo>
                    <a:close/>
                    <a:moveTo>
                      <a:pt x="403289" y="458042"/>
                    </a:moveTo>
                    <a:cubicBezTo>
                      <a:pt x="413290" y="466424"/>
                      <a:pt x="414623" y="481283"/>
                      <a:pt x="406241" y="491284"/>
                    </a:cubicBezTo>
                    <a:cubicBezTo>
                      <a:pt x="397859" y="501286"/>
                      <a:pt x="383000" y="502619"/>
                      <a:pt x="372999" y="494237"/>
                    </a:cubicBezTo>
                    <a:lnTo>
                      <a:pt x="244031" y="386033"/>
                    </a:lnTo>
                    <a:cubicBezTo>
                      <a:pt x="234029" y="377651"/>
                      <a:pt x="232696" y="362792"/>
                      <a:pt x="241078" y="352791"/>
                    </a:cubicBezTo>
                    <a:cubicBezTo>
                      <a:pt x="249460" y="342790"/>
                      <a:pt x="264319" y="341456"/>
                      <a:pt x="274320" y="349838"/>
                    </a:cubicBezTo>
                    <a:lnTo>
                      <a:pt x="403289" y="458042"/>
                    </a:lnTo>
                    <a:lnTo>
                      <a:pt x="403289" y="458042"/>
                    </a:lnTo>
                    <a:close/>
                    <a:moveTo>
                      <a:pt x="1816608" y="1644000"/>
                    </a:moveTo>
                    <a:cubicBezTo>
                      <a:pt x="1826609" y="1652382"/>
                      <a:pt x="1827943" y="1667241"/>
                      <a:pt x="1819561" y="1677242"/>
                    </a:cubicBezTo>
                    <a:cubicBezTo>
                      <a:pt x="1811179" y="1687243"/>
                      <a:pt x="1796320" y="1688577"/>
                      <a:pt x="1786318" y="1680195"/>
                    </a:cubicBezTo>
                    <a:lnTo>
                      <a:pt x="1657350" y="1571991"/>
                    </a:lnTo>
                    <a:cubicBezTo>
                      <a:pt x="1647349" y="1563609"/>
                      <a:pt x="1646015" y="1548750"/>
                      <a:pt x="1654397" y="1538749"/>
                    </a:cubicBezTo>
                    <a:cubicBezTo>
                      <a:pt x="1662779" y="1528747"/>
                      <a:pt x="1677638" y="1527414"/>
                      <a:pt x="1687639" y="1535796"/>
                    </a:cubicBezTo>
                    <a:lnTo>
                      <a:pt x="1816608" y="1644000"/>
                    </a:lnTo>
                    <a:lnTo>
                      <a:pt x="1816608" y="1644000"/>
                    </a:lnTo>
                    <a:close/>
                    <a:moveTo>
                      <a:pt x="250317" y="706073"/>
                    </a:moveTo>
                    <a:cubicBezTo>
                      <a:pt x="262509" y="710550"/>
                      <a:pt x="268891" y="723980"/>
                      <a:pt x="264414" y="736267"/>
                    </a:cubicBezTo>
                    <a:cubicBezTo>
                      <a:pt x="259937" y="748459"/>
                      <a:pt x="246507" y="754841"/>
                      <a:pt x="234220" y="750364"/>
                    </a:cubicBezTo>
                    <a:lnTo>
                      <a:pt x="76295" y="692833"/>
                    </a:lnTo>
                    <a:cubicBezTo>
                      <a:pt x="64103" y="688357"/>
                      <a:pt x="57722" y="674926"/>
                      <a:pt x="62198" y="662639"/>
                    </a:cubicBezTo>
                    <a:cubicBezTo>
                      <a:pt x="66675" y="650447"/>
                      <a:pt x="80105" y="644065"/>
                      <a:pt x="92393" y="648542"/>
                    </a:cubicBezTo>
                    <a:lnTo>
                      <a:pt x="250317" y="706073"/>
                    </a:lnTo>
                    <a:lnTo>
                      <a:pt x="250317" y="706073"/>
                    </a:lnTo>
                    <a:close/>
                    <a:moveTo>
                      <a:pt x="1984343" y="1337200"/>
                    </a:moveTo>
                    <a:cubicBezTo>
                      <a:pt x="1996535" y="1341676"/>
                      <a:pt x="2002917" y="1355107"/>
                      <a:pt x="1998440" y="1367394"/>
                    </a:cubicBezTo>
                    <a:cubicBezTo>
                      <a:pt x="1994059" y="1379586"/>
                      <a:pt x="1980533" y="1385968"/>
                      <a:pt x="1968246" y="1381491"/>
                    </a:cubicBezTo>
                    <a:lnTo>
                      <a:pt x="1810322" y="1323960"/>
                    </a:lnTo>
                    <a:cubicBezTo>
                      <a:pt x="1798130" y="1319483"/>
                      <a:pt x="1791748" y="1306053"/>
                      <a:pt x="1796225" y="1293766"/>
                    </a:cubicBezTo>
                    <a:cubicBezTo>
                      <a:pt x="1800701" y="1281574"/>
                      <a:pt x="1814132" y="1275192"/>
                      <a:pt x="1826419" y="1279669"/>
                    </a:cubicBezTo>
                    <a:lnTo>
                      <a:pt x="1984343" y="1337200"/>
                    </a:lnTo>
                    <a:close/>
                  </a:path>
                </a:pathLst>
              </a:custGeom>
              <a:solidFill>
                <a:srgbClr val="FAA61A"/>
              </a:solidFill>
              <a:ln w="9525" cap="flat">
                <a:noFill/>
                <a:prstDash val="solid"/>
                <a:miter/>
              </a:ln>
            </p:spPr>
            <p:txBody>
              <a:bodyPr rtlCol="0" anchor="ctr"/>
              <a:lstStyle/>
              <a:p>
                <a:endParaRPr lang="en-US">
                  <a:solidFill>
                    <a:prstClr val="black"/>
                  </a:solidFill>
                </a:endParaRPr>
              </a:p>
            </p:txBody>
          </p:sp>
        </p:grpSp>
        <p:pic>
          <p:nvPicPr>
            <p:cNvPr id="27" name="Graphic 26">
              <a:extLst>
                <a:ext uri="{FF2B5EF4-FFF2-40B4-BE49-F238E27FC236}">
                  <a16:creationId xmlns:a16="http://schemas.microsoft.com/office/drawing/2014/main" id="{ABF0B780-2688-4EFA-8DD2-4C05D755FC5D}"/>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704000" y="5541960"/>
              <a:ext cx="842342" cy="921600"/>
            </a:xfrm>
            <a:prstGeom prst="rect">
              <a:avLst/>
            </a:prstGeom>
          </p:spPr>
        </p:pic>
        <p:cxnSp>
          <p:nvCxnSpPr>
            <p:cNvPr id="29" name="Straight Arrow Connector 28">
              <a:extLst>
                <a:ext uri="{FF2B5EF4-FFF2-40B4-BE49-F238E27FC236}">
                  <a16:creationId xmlns:a16="http://schemas.microsoft.com/office/drawing/2014/main" id="{C65418D1-751A-4DCA-8F5C-6968FA765ED4}"/>
                </a:ext>
              </a:extLst>
            </p:cNvPr>
            <p:cNvCxnSpPr>
              <a:cxnSpLocks/>
            </p:cNvCxnSpPr>
            <p:nvPr userDrawn="1"/>
          </p:nvCxnSpPr>
          <p:spPr>
            <a:xfrm>
              <a:off x="6456000" y="6525000"/>
              <a:ext cx="5328000" cy="0"/>
            </a:xfrm>
            <a:prstGeom prst="straightConnector1">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04447381"/>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over1">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087A2BE-83A8-4292-9057-80CDCF1989AD}"/>
              </a:ext>
            </a:extLst>
          </p:cNvPr>
          <p:cNvPicPr>
            <a:picLocks noChangeAspect="1"/>
          </p:cNvPicPr>
          <p:nvPr userDrawn="1"/>
        </p:nvPicPr>
        <p:blipFill>
          <a:blip r:embed="rId2">
            <a:duotone>
              <a:schemeClr val="accent5">
                <a:shade val="45000"/>
                <a:satMod val="135000"/>
              </a:schemeClr>
              <a:prstClr val="white"/>
            </a:duotone>
          </a:blip>
          <a:stretch>
            <a:fillRect/>
          </a:stretch>
        </p:blipFill>
        <p:spPr>
          <a:xfrm flipH="1">
            <a:off x="3166330" y="-9940"/>
            <a:ext cx="9025665" cy="6867939"/>
          </a:xfrm>
          <a:prstGeom prst="rect">
            <a:avLst/>
          </a:prstGeom>
        </p:spPr>
      </p:pic>
      <p:sp>
        <p:nvSpPr>
          <p:cNvPr id="328" name="Rectangle 9">
            <a:extLst>
              <a:ext uri="{FF2B5EF4-FFF2-40B4-BE49-F238E27FC236}">
                <a16:creationId xmlns:a16="http://schemas.microsoft.com/office/drawing/2014/main" id="{C0B95F68-8335-402A-8518-5F487C28DE75}"/>
              </a:ext>
            </a:extLst>
          </p:cNvPr>
          <p:cNvSpPr/>
          <p:nvPr/>
        </p:nvSpPr>
        <p:spPr>
          <a:xfrm>
            <a:off x="6758609" y="256321"/>
            <a:ext cx="5118652" cy="783999"/>
          </a:xfrm>
          <a:prstGeom prst="roundRect">
            <a:avLst>
              <a:gd name="adj" fmla="val 50000"/>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17"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9F958F">
                  <a:lumMod val="50000"/>
                </a:srgbClr>
              </a:solidFill>
              <a:effectLst/>
              <a:uLnTx/>
              <a:uFillTx/>
              <a:latin typeface="Arial" panose="020B0604020202020204" pitchFamily="34" charset="0"/>
              <a:ea typeface="+mn-ea"/>
              <a:cs typeface="Arial" panose="020B0604020202020204" pitchFamily="34" charset="0"/>
            </a:endParaRPr>
          </a:p>
        </p:txBody>
      </p:sp>
      <p:grpSp>
        <p:nvGrpSpPr>
          <p:cNvPr id="329" name="Group 14">
            <a:extLst>
              <a:ext uri="{FF2B5EF4-FFF2-40B4-BE49-F238E27FC236}">
                <a16:creationId xmlns:a16="http://schemas.microsoft.com/office/drawing/2014/main" id="{D2DE37B4-282A-4645-94F2-270DDC6BC5DF}"/>
              </a:ext>
            </a:extLst>
          </p:cNvPr>
          <p:cNvGrpSpPr>
            <a:grpSpLocks noChangeAspect="1"/>
          </p:cNvGrpSpPr>
          <p:nvPr userDrawn="1"/>
        </p:nvGrpSpPr>
        <p:grpSpPr>
          <a:xfrm>
            <a:off x="7174323" y="447113"/>
            <a:ext cx="1908312" cy="449979"/>
            <a:chOff x="728663" y="4465638"/>
            <a:chExt cx="5354637" cy="1193800"/>
          </a:xfrm>
        </p:grpSpPr>
        <p:sp>
          <p:nvSpPr>
            <p:cNvPr id="332" name="Freeform 11">
              <a:extLst>
                <a:ext uri="{FF2B5EF4-FFF2-40B4-BE49-F238E27FC236}">
                  <a16:creationId xmlns:a16="http://schemas.microsoft.com/office/drawing/2014/main" id="{CC21067C-BC89-4502-9DCB-858243BF2FCF}"/>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3" name="Freeform 12">
              <a:extLst>
                <a:ext uri="{FF2B5EF4-FFF2-40B4-BE49-F238E27FC236}">
                  <a16:creationId xmlns:a16="http://schemas.microsoft.com/office/drawing/2014/main" id="{22CAC8B7-2835-462B-9984-8C5EFCDF9367}"/>
                </a:ext>
              </a:extLst>
            </p:cNvPr>
            <p:cNvSpPr>
              <a:spLocks noEditPoints="1"/>
            </p:cNvSpPr>
            <p:nvPr userDrawn="1"/>
          </p:nvSpPr>
          <p:spPr bwMode="auto">
            <a:xfrm>
              <a:off x="728663" y="4483100"/>
              <a:ext cx="4352926"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4" name="Freeform 13">
              <a:extLst>
                <a:ext uri="{FF2B5EF4-FFF2-40B4-BE49-F238E27FC236}">
                  <a16:creationId xmlns:a16="http://schemas.microsoft.com/office/drawing/2014/main" id="{A070C9C1-0601-4B38-8517-A9E518CBB6F4}"/>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5" name="Freeform 14">
              <a:extLst>
                <a:ext uri="{FF2B5EF4-FFF2-40B4-BE49-F238E27FC236}">
                  <a16:creationId xmlns:a16="http://schemas.microsoft.com/office/drawing/2014/main" id="{AF32AE51-E0DA-44EA-A04F-88E05EA3C24D}"/>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6" name="Freeform 15">
              <a:extLst>
                <a:ext uri="{FF2B5EF4-FFF2-40B4-BE49-F238E27FC236}">
                  <a16:creationId xmlns:a16="http://schemas.microsoft.com/office/drawing/2014/main" id="{E33D843D-0354-44DE-87A0-9C933E66652C}"/>
                </a:ext>
              </a:extLst>
            </p:cNvPr>
            <p:cNvSpPr>
              <a:spLocks/>
            </p:cNvSpPr>
            <p:nvPr userDrawn="1"/>
          </p:nvSpPr>
          <p:spPr bwMode="auto">
            <a:xfrm>
              <a:off x="5143498" y="4465638"/>
              <a:ext cx="939801"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331" name="Picture 330" descr="A close up of a logo&#10;&#10;Description automatically generated">
            <a:extLst>
              <a:ext uri="{FF2B5EF4-FFF2-40B4-BE49-F238E27FC236}">
                <a16:creationId xmlns:a16="http://schemas.microsoft.com/office/drawing/2014/main" id="{B7318E30-4C3C-4928-AE45-709B3FAC7FCA}"/>
              </a:ext>
            </a:extLst>
          </p:cNvPr>
          <p:cNvPicPr>
            <a:picLocks noChangeAspect="1"/>
          </p:cNvPicPr>
          <p:nvPr userDrawn="1"/>
        </p:nvPicPr>
        <p:blipFill>
          <a:blip r:embed="rId3" cstate="hqprint">
            <a:biLevel thresh="75000"/>
            <a:extLst>
              <a:ext uri="{28A0092B-C50C-407E-A947-70E740481C1C}">
                <a14:useLocalDpi xmlns:a14="http://schemas.microsoft.com/office/drawing/2010/main" val="0"/>
              </a:ext>
            </a:extLst>
          </a:blip>
          <a:stretch>
            <a:fillRect/>
          </a:stretch>
        </p:blipFill>
        <p:spPr>
          <a:xfrm flipH="1">
            <a:off x="9501726" y="487711"/>
            <a:ext cx="650901" cy="375286"/>
          </a:xfrm>
          <a:prstGeom prst="rect">
            <a:avLst/>
          </a:prstGeom>
        </p:spPr>
      </p:pic>
      <p:pic>
        <p:nvPicPr>
          <p:cNvPr id="3074" name="Picture 2" descr="Image result for citi logo transparent">
            <a:extLst>
              <a:ext uri="{FF2B5EF4-FFF2-40B4-BE49-F238E27FC236}">
                <a16:creationId xmlns:a16="http://schemas.microsoft.com/office/drawing/2014/main" id="{BF2C49F6-5B74-4221-814D-D9D7FCCF4511}"/>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10533391" y="339962"/>
            <a:ext cx="798165" cy="514686"/>
          </a:xfrm>
          <a:prstGeom prst="rect">
            <a:avLst/>
          </a:prstGeom>
          <a:noFill/>
          <a:extLst>
            <a:ext uri="{909E8E84-426E-40DD-AFC4-6F175D3DCCD1}">
              <a14:hiddenFill xmlns:a14="http://schemas.microsoft.com/office/drawing/2010/main">
                <a:solidFill>
                  <a:srgbClr val="FFFFFF"/>
                </a:solidFill>
              </a14:hiddenFill>
            </a:ext>
          </a:extLst>
        </p:spPr>
      </p:pic>
      <p:pic>
        <p:nvPicPr>
          <p:cNvPr id="327" name="Picture 326">
            <a:extLst>
              <a:ext uri="{FF2B5EF4-FFF2-40B4-BE49-F238E27FC236}">
                <a16:creationId xmlns:a16="http://schemas.microsoft.com/office/drawing/2014/main" id="{2D8FF80B-F9E2-4817-AD37-8CB82DA7DD6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05747" y="2080641"/>
            <a:ext cx="6786249" cy="4777359"/>
          </a:xfrm>
          <a:prstGeom prst="rect">
            <a:avLst/>
          </a:prstGeom>
        </p:spPr>
      </p:pic>
    </p:spTree>
    <p:extLst>
      <p:ext uri="{BB962C8B-B14F-4D97-AF65-F5344CB8AC3E}">
        <p14:creationId xmlns:p14="http://schemas.microsoft.com/office/powerpoint/2010/main" val="3483393511"/>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Standard">
    <p:spTree>
      <p:nvGrpSpPr>
        <p:cNvPr id="1" name=""/>
        <p:cNvGrpSpPr/>
        <p:nvPr/>
      </p:nvGrpSpPr>
      <p:grpSpPr>
        <a:xfrm>
          <a:off x="0" y="0"/>
          <a:ext cx="0" cy="0"/>
          <a:chOff x="0" y="0"/>
          <a:chExt cx="0" cy="0"/>
        </a:xfrm>
      </p:grpSpPr>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27039132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lgn="l" rtl="0" eaLnBrk="1" fontAlgn="base" hangingPunct="1">
              <a:spcBef>
                <a:spcPct val="0"/>
              </a:spcBef>
              <a:spcAft>
                <a:spcPct val="20000"/>
              </a:spcAft>
              <a:defRPr lang="en-US" sz="1800" dirty="0" smtClean="0">
                <a:solidFill>
                  <a:schemeClr val="tx1"/>
                </a:solidFill>
                <a:latin typeface="+mn-lt"/>
                <a:ea typeface="+mn-ea"/>
                <a:cs typeface="+mn-cs"/>
              </a:defRPr>
            </a:lvl1pPr>
            <a:lvl2pPr algn="l" rtl="0" eaLnBrk="1" fontAlgn="base" hangingPunct="1">
              <a:spcBef>
                <a:spcPct val="0"/>
              </a:spcBef>
              <a:spcAft>
                <a:spcPct val="20000"/>
              </a:spcAft>
              <a:defRPr lang="en-US" sz="1800" dirty="0" smtClean="0">
                <a:solidFill>
                  <a:schemeClr val="tx1"/>
                </a:solidFill>
                <a:latin typeface="+mn-lt"/>
                <a:ea typeface="+mn-ea"/>
                <a:cs typeface="+mn-cs"/>
              </a:defRPr>
            </a:lvl2pPr>
            <a:lvl3pPr algn="l" rtl="0" eaLnBrk="1" fontAlgn="base" hangingPunct="1">
              <a:spcBef>
                <a:spcPct val="0"/>
              </a:spcBef>
              <a:spcAft>
                <a:spcPct val="20000"/>
              </a:spcAft>
              <a:defRPr lang="en-US" sz="1800" dirty="0" smtClean="0">
                <a:solidFill>
                  <a:schemeClr val="tx1"/>
                </a:solidFill>
                <a:latin typeface="+mn-lt"/>
                <a:ea typeface="+mn-ea"/>
                <a:cs typeface="+mn-cs"/>
              </a:defRPr>
            </a:lvl3pPr>
            <a:lvl4pPr algn="l" rtl="0" eaLnBrk="1" fontAlgn="base" hangingPunct="1">
              <a:spcBef>
                <a:spcPct val="0"/>
              </a:spcBef>
              <a:spcAft>
                <a:spcPct val="20000"/>
              </a:spcAft>
              <a:defRPr lang="en-US" sz="1800" dirty="0" smtClean="0">
                <a:solidFill>
                  <a:schemeClr val="tx1"/>
                </a:solidFill>
                <a:latin typeface="+mn-lt"/>
                <a:ea typeface="+mn-ea"/>
                <a:cs typeface="+mn-cs"/>
              </a:defRPr>
            </a:lvl4pPr>
            <a:lvl5pPr algn="l" rtl="0" eaLnBrk="1" fontAlgn="base" hangingPunct="1">
              <a:spcBef>
                <a:spcPct val="0"/>
              </a:spcBef>
              <a:spcAft>
                <a:spcPct val="20000"/>
              </a:spcAft>
              <a:defRPr lang="en-US" sz="18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03"/>
          <p:cNvSpPr>
            <a:spLocks noGrp="1" noChangeArrowheads="1"/>
          </p:cNvSpPr>
          <p:nvPr>
            <p:ph type="sldNum" sz="quarter" idx="11"/>
          </p:nvPr>
        </p:nvSpPr>
        <p:spPr>
          <a:xfrm>
            <a:off x="11690485" y="6673565"/>
            <a:ext cx="319483" cy="130805"/>
          </a:xfrm>
          <a:prstGeom prst="rect">
            <a:avLst/>
          </a:prstGeom>
          <a:ln/>
        </p:spPr>
        <p:txBody>
          <a:bodyPr/>
          <a:lstStyle>
            <a:lvl1pPr>
              <a:defRPr/>
            </a:lvl1pPr>
          </a:lstStyle>
          <a:p>
            <a:pPr>
              <a:defRPr/>
            </a:pPr>
            <a:fld id="{91F8A226-DADB-40BD-81AF-EB9A3F94B67D}" type="slidenum">
              <a:rPr lang="en-US"/>
              <a:pPr>
                <a:defRPr/>
              </a:pPr>
              <a:t>‹#›</a:t>
            </a:fld>
            <a:endParaRPr lang="en-US"/>
          </a:p>
        </p:txBody>
      </p:sp>
      <p:sp>
        <p:nvSpPr>
          <p:cNvPr id="6" name="Rectangle 101"/>
          <p:cNvSpPr>
            <a:spLocks noGrp="1" noChangeArrowheads="1"/>
          </p:cNvSpPr>
          <p:nvPr>
            <p:ph type="dt" sz="half" idx="2"/>
          </p:nvPr>
        </p:nvSpPr>
        <p:spPr bwMode="auto">
          <a:xfrm>
            <a:off x="9728563" y="6686616"/>
            <a:ext cx="1853837" cy="104644"/>
          </a:xfrm>
          <a:prstGeom prst="rect">
            <a:avLst/>
          </a:prstGeom>
          <a:noFill/>
          <a:ln w="9525">
            <a:noFill/>
            <a:miter lim="800000"/>
            <a:headEnd/>
            <a:tailEnd/>
          </a:ln>
          <a:effectLst/>
        </p:spPr>
        <p:txBody>
          <a:bodyPr vert="horz" wrap="none" lIns="36000" tIns="0" rIns="4572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mn-cs"/>
              </a:defRPr>
            </a:lvl1pPr>
          </a:lstStyle>
          <a:p>
            <a:pPr>
              <a:defRPr/>
            </a:pPr>
            <a:r>
              <a:rPr lang="en-US"/>
              <a:t>© 2014 Capgemini - All rights reserved</a:t>
            </a:r>
          </a:p>
        </p:txBody>
      </p:sp>
    </p:spTree>
    <p:extLst>
      <p:ext uri="{BB962C8B-B14F-4D97-AF65-F5344CB8AC3E}">
        <p14:creationId xmlns:p14="http://schemas.microsoft.com/office/powerpoint/2010/main" val="1887947072"/>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372DAB-732F-4493-8686-DDCBB82DDBE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8EBB28-4991-478B-8FC2-765C22562C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EAEC2B5-D53A-40E5-BBC7-FEE761A9124B}"/>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5" name="Footer Placeholder 4">
            <a:extLst>
              <a:ext uri="{FF2B5EF4-FFF2-40B4-BE49-F238E27FC236}">
                <a16:creationId xmlns:a16="http://schemas.microsoft.com/office/drawing/2014/main" id="{C1389328-8C16-4EBC-85C5-5647290FF0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012BAA-49C7-4685-B40A-328A1F1E61F6}"/>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13558175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2C0B1-E95C-41BE-BF49-2DF5B489D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D3C93B-3DD2-444C-AF46-E359805216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D070F1-C6A9-40A9-A440-C67EDAB51214}"/>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5" name="Footer Placeholder 4">
            <a:extLst>
              <a:ext uri="{FF2B5EF4-FFF2-40B4-BE49-F238E27FC236}">
                <a16:creationId xmlns:a16="http://schemas.microsoft.com/office/drawing/2014/main" id="{736EA55F-8EFC-45F5-A445-8F9B995887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4D291C-C244-4421-9EF0-6BFBFCE1200D}"/>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31478779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D6397-3C9D-4E21-92EA-0E55D4B1C4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E007093-EE16-41FD-B7AE-83A785E99AC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553FE92-B8B9-4F7D-9965-FF1127388141}"/>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5" name="Footer Placeholder 4">
            <a:extLst>
              <a:ext uri="{FF2B5EF4-FFF2-40B4-BE49-F238E27FC236}">
                <a16:creationId xmlns:a16="http://schemas.microsoft.com/office/drawing/2014/main" id="{36F4896F-96A4-494A-A724-0445AF7406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5E5DAB-072D-42C9-BA59-02C725E503B7}"/>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5387625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39EA7-DBBE-483A-BE93-E66253943D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501480-A271-4383-8CC1-FB950F57EE2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4BD319C-CD68-4E00-B33A-98C9E86FF08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18916D-FAC3-40E1-A548-2092E96E56C8}"/>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6" name="Footer Placeholder 5">
            <a:extLst>
              <a:ext uri="{FF2B5EF4-FFF2-40B4-BE49-F238E27FC236}">
                <a16:creationId xmlns:a16="http://schemas.microsoft.com/office/drawing/2014/main" id="{DC2A3771-00C9-47D3-AEEB-72C5E0B150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5FD1C5-891E-47C9-B4AE-2DA2DCE07EC4}"/>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38552134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417950-2E6A-46B0-8C60-7500B2CA121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C96B01-B73F-4FBC-9EFB-31B7544635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10B329-B453-4C85-A011-A87346F77D1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DCC463-E32B-43E2-966B-4A6A3F8C25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0E2BF57-5C87-4F49-BC52-8A9408BA6FA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2A7401A-43D0-4988-A272-1D514BE1C33D}"/>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8" name="Footer Placeholder 7">
            <a:extLst>
              <a:ext uri="{FF2B5EF4-FFF2-40B4-BE49-F238E27FC236}">
                <a16:creationId xmlns:a16="http://schemas.microsoft.com/office/drawing/2014/main" id="{7B1C4945-8949-451C-9C91-E2A9B157EA2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D575033-32E8-4013-9730-EB42D4714FEF}"/>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1427991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Slide 1">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3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1" name="Rectangle 7">
            <a:extLst>
              <a:ext uri="{FF2B5EF4-FFF2-40B4-BE49-F238E27FC236}">
                <a16:creationId xmlns:a16="http://schemas.microsoft.com/office/drawing/2014/main" id="{01EA6515-AC7F-45B6-BCFA-65D30FE6B44F}"/>
              </a:ext>
            </a:extLst>
          </p:cNvPr>
          <p:cNvSpPr>
            <a:spLocks noChangeArrowheads="1"/>
          </p:cNvSpPr>
          <p:nvPr userDrawn="1"/>
        </p:nvSpPr>
        <p:spPr bwMode="auto">
          <a:xfrm>
            <a:off x="1828800" y="574675"/>
            <a:ext cx="8518525" cy="5686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8">
            <a:extLst>
              <a:ext uri="{FF2B5EF4-FFF2-40B4-BE49-F238E27FC236}">
                <a16:creationId xmlns:a16="http://schemas.microsoft.com/office/drawing/2014/main" id="{8CAF002E-7014-4269-BAE5-0DE8163D2C2D}"/>
              </a:ext>
            </a:extLst>
          </p:cNvPr>
          <p:cNvSpPr>
            <a:spLocks/>
          </p:cNvSpPr>
          <p:nvPr userDrawn="1"/>
        </p:nvSpPr>
        <p:spPr bwMode="auto">
          <a:xfrm flipH="1">
            <a:off x="0" y="-2382"/>
            <a:ext cx="12192000" cy="5828507"/>
          </a:xfrm>
          <a:custGeom>
            <a:avLst/>
            <a:gdLst>
              <a:gd name="T0" fmla="*/ 0 w 10400"/>
              <a:gd name="T1" fmla="*/ 0 h 5752"/>
              <a:gd name="T2" fmla="*/ 10400 w 10400"/>
              <a:gd name="T3" fmla="*/ 0 h 5752"/>
              <a:gd name="T4" fmla="*/ 10400 w 10400"/>
              <a:gd name="T5" fmla="*/ 3741 h 5752"/>
              <a:gd name="T6" fmla="*/ 5051 w 10400"/>
              <a:gd name="T7" fmla="*/ 3636 h 5752"/>
              <a:gd name="T8" fmla="*/ 0 w 10400"/>
              <a:gd name="T9" fmla="*/ 5566 h 5752"/>
              <a:gd name="T10" fmla="*/ 0 w 10400"/>
              <a:gd name="T11" fmla="*/ 0 h 5752"/>
            </a:gdLst>
            <a:ahLst/>
            <a:cxnLst>
              <a:cxn ang="0">
                <a:pos x="T0" y="T1"/>
              </a:cxn>
              <a:cxn ang="0">
                <a:pos x="T2" y="T3"/>
              </a:cxn>
              <a:cxn ang="0">
                <a:pos x="T4" y="T5"/>
              </a:cxn>
              <a:cxn ang="0">
                <a:pos x="T6" y="T7"/>
              </a:cxn>
              <a:cxn ang="0">
                <a:pos x="T8" y="T9"/>
              </a:cxn>
              <a:cxn ang="0">
                <a:pos x="T10" y="T11"/>
              </a:cxn>
            </a:cxnLst>
            <a:rect l="0" t="0" r="r" b="b"/>
            <a:pathLst>
              <a:path w="10400" h="5752">
                <a:moveTo>
                  <a:pt x="0" y="0"/>
                </a:moveTo>
                <a:lnTo>
                  <a:pt x="10400" y="0"/>
                </a:lnTo>
                <a:lnTo>
                  <a:pt x="10400" y="3741"/>
                </a:lnTo>
                <a:cubicBezTo>
                  <a:pt x="9891" y="2940"/>
                  <a:pt x="7383" y="2128"/>
                  <a:pt x="5051" y="3636"/>
                </a:cubicBezTo>
                <a:cubicBezTo>
                  <a:pt x="3108" y="4891"/>
                  <a:pt x="1566" y="5752"/>
                  <a:pt x="0" y="5566"/>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7" name="Group 236">
            <a:extLst>
              <a:ext uri="{FF2B5EF4-FFF2-40B4-BE49-F238E27FC236}">
                <a16:creationId xmlns:a16="http://schemas.microsoft.com/office/drawing/2014/main" id="{2A9ED35F-E5CE-4A00-9041-0F9049CB5217}"/>
              </a:ext>
            </a:extLst>
          </p:cNvPr>
          <p:cNvGrpSpPr/>
          <p:nvPr userDrawn="1"/>
        </p:nvGrpSpPr>
        <p:grpSpPr>
          <a:xfrm flipH="1">
            <a:off x="526773" y="1172817"/>
            <a:ext cx="5848697" cy="5088283"/>
            <a:chOff x="4640263" y="1098550"/>
            <a:chExt cx="5768975" cy="4957763"/>
          </a:xfrm>
        </p:grpSpPr>
        <p:sp>
          <p:nvSpPr>
            <p:cNvPr id="238" name="Freeform 1406">
              <a:extLst>
                <a:ext uri="{FF2B5EF4-FFF2-40B4-BE49-F238E27FC236}">
                  <a16:creationId xmlns:a16="http://schemas.microsoft.com/office/drawing/2014/main" id="{7397F2BF-4D01-4D25-ADC6-ADBFC5DE84F3}"/>
                </a:ext>
              </a:extLst>
            </p:cNvPr>
            <p:cNvSpPr>
              <a:spLocks/>
            </p:cNvSpPr>
            <p:nvPr/>
          </p:nvSpPr>
          <p:spPr bwMode="auto">
            <a:xfrm>
              <a:off x="9607550" y="3540125"/>
              <a:ext cx="801688" cy="463550"/>
            </a:xfrm>
            <a:custGeom>
              <a:avLst/>
              <a:gdLst>
                <a:gd name="T0" fmla="*/ 804 w 979"/>
                <a:gd name="T1" fmla="*/ 465 h 565"/>
                <a:gd name="T2" fmla="*/ 174 w 979"/>
                <a:gd name="T3" fmla="*/ 465 h 565"/>
                <a:gd name="T4" fmla="*/ 174 w 979"/>
                <a:gd name="T5" fmla="*/ 101 h 565"/>
                <a:gd name="T6" fmla="*/ 804 w 979"/>
                <a:gd name="T7" fmla="*/ 101 h 565"/>
                <a:gd name="T8" fmla="*/ 804 w 979"/>
                <a:gd name="T9" fmla="*/ 465 h 565"/>
              </a:gdLst>
              <a:ahLst/>
              <a:cxnLst>
                <a:cxn ang="0">
                  <a:pos x="T0" y="T1"/>
                </a:cxn>
                <a:cxn ang="0">
                  <a:pos x="T2" y="T3"/>
                </a:cxn>
                <a:cxn ang="0">
                  <a:pos x="T4" y="T5"/>
                </a:cxn>
                <a:cxn ang="0">
                  <a:pos x="T6" y="T7"/>
                </a:cxn>
                <a:cxn ang="0">
                  <a:pos x="T8" y="T9"/>
                </a:cxn>
              </a:cxnLst>
              <a:rect l="0" t="0" r="r" b="b"/>
              <a:pathLst>
                <a:path w="979" h="565">
                  <a:moveTo>
                    <a:pt x="804" y="465"/>
                  </a:moveTo>
                  <a:cubicBezTo>
                    <a:pt x="630" y="565"/>
                    <a:pt x="348" y="565"/>
                    <a:pt x="174" y="465"/>
                  </a:cubicBezTo>
                  <a:cubicBezTo>
                    <a:pt x="0" y="364"/>
                    <a:pt x="0" y="201"/>
                    <a:pt x="174" y="101"/>
                  </a:cubicBezTo>
                  <a:cubicBezTo>
                    <a:pt x="348" y="0"/>
                    <a:pt x="630" y="0"/>
                    <a:pt x="804" y="101"/>
                  </a:cubicBezTo>
                  <a:cubicBezTo>
                    <a:pt x="979" y="201"/>
                    <a:pt x="979" y="364"/>
                    <a:pt x="804" y="465"/>
                  </a:cubicBezTo>
                  <a:close/>
                </a:path>
              </a:pathLst>
            </a:custGeom>
            <a:solidFill>
              <a:srgbClr val="BCD7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407">
              <a:extLst>
                <a:ext uri="{FF2B5EF4-FFF2-40B4-BE49-F238E27FC236}">
                  <a16:creationId xmlns:a16="http://schemas.microsoft.com/office/drawing/2014/main" id="{9BDBBE29-D872-4E4E-93EB-863296A30C40}"/>
                </a:ext>
              </a:extLst>
            </p:cNvPr>
            <p:cNvSpPr>
              <a:spLocks/>
            </p:cNvSpPr>
            <p:nvPr/>
          </p:nvSpPr>
          <p:spPr bwMode="auto">
            <a:xfrm>
              <a:off x="9053513" y="4048125"/>
              <a:ext cx="930275" cy="538163"/>
            </a:xfrm>
            <a:custGeom>
              <a:avLst/>
              <a:gdLst>
                <a:gd name="T0" fmla="*/ 934 w 1136"/>
                <a:gd name="T1" fmla="*/ 540 h 656"/>
                <a:gd name="T2" fmla="*/ 202 w 1136"/>
                <a:gd name="T3" fmla="*/ 540 h 656"/>
                <a:gd name="T4" fmla="*/ 202 w 1136"/>
                <a:gd name="T5" fmla="*/ 117 h 656"/>
                <a:gd name="T6" fmla="*/ 934 w 1136"/>
                <a:gd name="T7" fmla="*/ 117 h 656"/>
                <a:gd name="T8" fmla="*/ 934 w 1136"/>
                <a:gd name="T9" fmla="*/ 540 h 656"/>
              </a:gdLst>
              <a:ahLst/>
              <a:cxnLst>
                <a:cxn ang="0">
                  <a:pos x="T0" y="T1"/>
                </a:cxn>
                <a:cxn ang="0">
                  <a:pos x="T2" y="T3"/>
                </a:cxn>
                <a:cxn ang="0">
                  <a:pos x="T4" y="T5"/>
                </a:cxn>
                <a:cxn ang="0">
                  <a:pos x="T6" y="T7"/>
                </a:cxn>
                <a:cxn ang="0">
                  <a:pos x="T8" y="T9"/>
                </a:cxn>
              </a:cxnLst>
              <a:rect l="0" t="0" r="r" b="b"/>
              <a:pathLst>
                <a:path w="1136" h="656">
                  <a:moveTo>
                    <a:pt x="934" y="540"/>
                  </a:moveTo>
                  <a:cubicBezTo>
                    <a:pt x="732" y="656"/>
                    <a:pt x="404" y="656"/>
                    <a:pt x="202" y="540"/>
                  </a:cubicBezTo>
                  <a:cubicBezTo>
                    <a:pt x="0" y="423"/>
                    <a:pt x="0" y="234"/>
                    <a:pt x="202" y="117"/>
                  </a:cubicBezTo>
                  <a:cubicBezTo>
                    <a:pt x="404" y="0"/>
                    <a:pt x="732" y="0"/>
                    <a:pt x="934" y="117"/>
                  </a:cubicBezTo>
                  <a:cubicBezTo>
                    <a:pt x="1136" y="234"/>
                    <a:pt x="1136" y="423"/>
                    <a:pt x="934" y="5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408">
              <a:extLst>
                <a:ext uri="{FF2B5EF4-FFF2-40B4-BE49-F238E27FC236}">
                  <a16:creationId xmlns:a16="http://schemas.microsoft.com/office/drawing/2014/main" id="{AF279A32-9D68-403D-BEAD-1AAB365A2947}"/>
                </a:ext>
              </a:extLst>
            </p:cNvPr>
            <p:cNvSpPr>
              <a:spLocks/>
            </p:cNvSpPr>
            <p:nvPr/>
          </p:nvSpPr>
          <p:spPr bwMode="auto">
            <a:xfrm>
              <a:off x="8688388" y="3411538"/>
              <a:ext cx="812800" cy="468313"/>
            </a:xfrm>
            <a:custGeom>
              <a:avLst/>
              <a:gdLst>
                <a:gd name="T0" fmla="*/ 815 w 991"/>
                <a:gd name="T1" fmla="*/ 471 h 572"/>
                <a:gd name="T2" fmla="*/ 176 w 991"/>
                <a:gd name="T3" fmla="*/ 471 h 572"/>
                <a:gd name="T4" fmla="*/ 176 w 991"/>
                <a:gd name="T5" fmla="*/ 102 h 572"/>
                <a:gd name="T6" fmla="*/ 815 w 991"/>
                <a:gd name="T7" fmla="*/ 102 h 572"/>
                <a:gd name="T8" fmla="*/ 815 w 991"/>
                <a:gd name="T9" fmla="*/ 471 h 572"/>
              </a:gdLst>
              <a:ahLst/>
              <a:cxnLst>
                <a:cxn ang="0">
                  <a:pos x="T0" y="T1"/>
                </a:cxn>
                <a:cxn ang="0">
                  <a:pos x="T2" y="T3"/>
                </a:cxn>
                <a:cxn ang="0">
                  <a:pos x="T4" y="T5"/>
                </a:cxn>
                <a:cxn ang="0">
                  <a:pos x="T6" y="T7"/>
                </a:cxn>
                <a:cxn ang="0">
                  <a:pos x="T8" y="T9"/>
                </a:cxn>
              </a:cxnLst>
              <a:rect l="0" t="0" r="r" b="b"/>
              <a:pathLst>
                <a:path w="991" h="572">
                  <a:moveTo>
                    <a:pt x="815" y="471"/>
                  </a:moveTo>
                  <a:cubicBezTo>
                    <a:pt x="638" y="572"/>
                    <a:pt x="353" y="572"/>
                    <a:pt x="176" y="471"/>
                  </a:cubicBezTo>
                  <a:cubicBezTo>
                    <a:pt x="0" y="369"/>
                    <a:pt x="0" y="204"/>
                    <a:pt x="176" y="102"/>
                  </a:cubicBezTo>
                  <a:cubicBezTo>
                    <a:pt x="353" y="0"/>
                    <a:pt x="638" y="0"/>
                    <a:pt x="815" y="102"/>
                  </a:cubicBezTo>
                  <a:cubicBezTo>
                    <a:pt x="991" y="204"/>
                    <a:pt x="991" y="369"/>
                    <a:pt x="815" y="4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409">
              <a:extLst>
                <a:ext uri="{FF2B5EF4-FFF2-40B4-BE49-F238E27FC236}">
                  <a16:creationId xmlns:a16="http://schemas.microsoft.com/office/drawing/2014/main" id="{71C7454F-FC14-430E-AD95-DCBAA94A7DE7}"/>
                </a:ext>
              </a:extLst>
            </p:cNvPr>
            <p:cNvSpPr>
              <a:spLocks noEditPoints="1"/>
            </p:cNvSpPr>
            <p:nvPr/>
          </p:nvSpPr>
          <p:spPr bwMode="auto">
            <a:xfrm>
              <a:off x="6019800" y="3402013"/>
              <a:ext cx="4229100" cy="2362200"/>
            </a:xfrm>
            <a:custGeom>
              <a:avLst/>
              <a:gdLst>
                <a:gd name="T0" fmla="*/ 4890 w 5163"/>
                <a:gd name="T1" fmla="*/ 2881 h 2881"/>
                <a:gd name="T2" fmla="*/ 4860 w 5163"/>
                <a:gd name="T3" fmla="*/ 2873 h 2881"/>
                <a:gd name="T4" fmla="*/ 3524 w 5163"/>
                <a:gd name="T5" fmla="*/ 2101 h 2881"/>
                <a:gd name="T6" fmla="*/ 3524 w 5163"/>
                <a:gd name="T7" fmla="*/ 1995 h 2881"/>
                <a:gd name="T8" fmla="*/ 3657 w 5163"/>
                <a:gd name="T9" fmla="*/ 2072 h 2881"/>
                <a:gd name="T10" fmla="*/ 4869 w 5163"/>
                <a:gd name="T11" fmla="*/ 2772 h 2881"/>
                <a:gd name="T12" fmla="*/ 4869 w 5163"/>
                <a:gd name="T13" fmla="*/ 2586 h 2881"/>
                <a:gd name="T14" fmla="*/ 5017 w 5163"/>
                <a:gd name="T15" fmla="*/ 2671 h 2881"/>
                <a:gd name="T16" fmla="*/ 5017 w 5163"/>
                <a:gd name="T17" fmla="*/ 2590 h 2881"/>
                <a:gd name="T18" fmla="*/ 5124 w 5163"/>
                <a:gd name="T19" fmla="*/ 2652 h 2881"/>
                <a:gd name="T20" fmla="*/ 5124 w 5163"/>
                <a:gd name="T21" fmla="*/ 2755 h 2881"/>
                <a:gd name="T22" fmla="*/ 4919 w 5163"/>
                <a:gd name="T23" fmla="*/ 2873 h 2881"/>
                <a:gd name="T24" fmla="*/ 4890 w 5163"/>
                <a:gd name="T25" fmla="*/ 2881 h 2881"/>
                <a:gd name="T26" fmla="*/ 1204 w 5163"/>
                <a:gd name="T27" fmla="*/ 762 h 2881"/>
                <a:gd name="T28" fmla="*/ 1101 w 5163"/>
                <a:gd name="T29" fmla="*/ 703 h 2881"/>
                <a:gd name="T30" fmla="*/ 1101 w 5163"/>
                <a:gd name="T31" fmla="*/ 596 h 2881"/>
                <a:gd name="T32" fmla="*/ 1209 w 5163"/>
                <a:gd name="T33" fmla="*/ 659 h 2881"/>
                <a:gd name="T34" fmla="*/ 1204 w 5163"/>
                <a:gd name="T35" fmla="*/ 762 h 2881"/>
                <a:gd name="T36" fmla="*/ 880 w 5163"/>
                <a:gd name="T37" fmla="*/ 468 h 2881"/>
                <a:gd name="T38" fmla="*/ 695 w 5163"/>
                <a:gd name="T39" fmla="*/ 468 h 2881"/>
                <a:gd name="T40" fmla="*/ 678 w 5163"/>
                <a:gd name="T41" fmla="*/ 458 h 2881"/>
                <a:gd name="T42" fmla="*/ 678 w 5163"/>
                <a:gd name="T43" fmla="*/ 352 h 2881"/>
                <a:gd name="T44" fmla="*/ 880 w 5163"/>
                <a:gd name="T45" fmla="*/ 468 h 2881"/>
                <a:gd name="T46" fmla="*/ 16 w 5163"/>
                <a:gd name="T47" fmla="*/ 70 h 2881"/>
                <a:gd name="T48" fmla="*/ 16 w 5163"/>
                <a:gd name="T49" fmla="*/ 0 h 2881"/>
                <a:gd name="T50" fmla="*/ 16 w 5163"/>
                <a:gd name="T51" fmla="*/ 70 h 2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3" h="2881">
                  <a:moveTo>
                    <a:pt x="4890" y="2881"/>
                  </a:moveTo>
                  <a:cubicBezTo>
                    <a:pt x="4880" y="2881"/>
                    <a:pt x="4869" y="2878"/>
                    <a:pt x="4860" y="2873"/>
                  </a:cubicBezTo>
                  <a:lnTo>
                    <a:pt x="3524" y="2101"/>
                  </a:lnTo>
                  <a:lnTo>
                    <a:pt x="3524" y="1995"/>
                  </a:lnTo>
                  <a:lnTo>
                    <a:pt x="3657" y="2072"/>
                  </a:lnTo>
                  <a:lnTo>
                    <a:pt x="4869" y="2772"/>
                  </a:lnTo>
                  <a:lnTo>
                    <a:pt x="4869" y="2586"/>
                  </a:lnTo>
                  <a:lnTo>
                    <a:pt x="5017" y="2671"/>
                  </a:lnTo>
                  <a:lnTo>
                    <a:pt x="5017" y="2590"/>
                  </a:lnTo>
                  <a:lnTo>
                    <a:pt x="5124" y="2652"/>
                  </a:lnTo>
                  <a:cubicBezTo>
                    <a:pt x="5163" y="2675"/>
                    <a:pt x="5163" y="2732"/>
                    <a:pt x="5124" y="2755"/>
                  </a:cubicBezTo>
                  <a:lnTo>
                    <a:pt x="4919" y="2873"/>
                  </a:lnTo>
                  <a:cubicBezTo>
                    <a:pt x="4910" y="2878"/>
                    <a:pt x="4900" y="2881"/>
                    <a:pt x="4890" y="2881"/>
                  </a:cubicBezTo>
                  <a:moveTo>
                    <a:pt x="1204" y="762"/>
                  </a:moveTo>
                  <a:lnTo>
                    <a:pt x="1101" y="703"/>
                  </a:lnTo>
                  <a:lnTo>
                    <a:pt x="1101" y="596"/>
                  </a:lnTo>
                  <a:lnTo>
                    <a:pt x="1209" y="659"/>
                  </a:lnTo>
                  <a:cubicBezTo>
                    <a:pt x="1209" y="693"/>
                    <a:pt x="1207" y="727"/>
                    <a:pt x="1204" y="762"/>
                  </a:cubicBezTo>
                  <a:close/>
                  <a:moveTo>
                    <a:pt x="880" y="468"/>
                  </a:moveTo>
                  <a:lnTo>
                    <a:pt x="695" y="468"/>
                  </a:lnTo>
                  <a:lnTo>
                    <a:pt x="678" y="458"/>
                  </a:lnTo>
                  <a:lnTo>
                    <a:pt x="678" y="352"/>
                  </a:lnTo>
                  <a:lnTo>
                    <a:pt x="880" y="468"/>
                  </a:lnTo>
                  <a:close/>
                  <a:moveTo>
                    <a:pt x="16" y="70"/>
                  </a:moveTo>
                  <a:cubicBezTo>
                    <a:pt x="0" y="50"/>
                    <a:pt x="0" y="20"/>
                    <a:pt x="16" y="0"/>
                  </a:cubicBezTo>
                  <a:lnTo>
                    <a:pt x="16" y="70"/>
                  </a:lnTo>
                  <a:close/>
                </a:path>
              </a:pathLst>
            </a:custGeom>
            <a:solidFill>
              <a:srgbClr val="CC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410">
              <a:extLst>
                <a:ext uri="{FF2B5EF4-FFF2-40B4-BE49-F238E27FC236}">
                  <a16:creationId xmlns:a16="http://schemas.microsoft.com/office/drawing/2014/main" id="{D6414854-A35A-4E9F-8C55-9B2E151CD59F}"/>
                </a:ext>
              </a:extLst>
            </p:cNvPr>
            <p:cNvSpPr>
              <a:spLocks noEditPoints="1"/>
            </p:cNvSpPr>
            <p:nvPr/>
          </p:nvSpPr>
          <p:spPr bwMode="auto">
            <a:xfrm>
              <a:off x="7299325" y="4719638"/>
              <a:ext cx="1703388" cy="857250"/>
            </a:xfrm>
            <a:custGeom>
              <a:avLst/>
              <a:gdLst>
                <a:gd name="T0" fmla="*/ 2027 w 2079"/>
                <a:gd name="T1" fmla="*/ 1046 h 1046"/>
                <a:gd name="T2" fmla="*/ 2027 w 2079"/>
                <a:gd name="T3" fmla="*/ 927 h 1046"/>
                <a:gd name="T4" fmla="*/ 2039 w 2079"/>
                <a:gd name="T5" fmla="*/ 934 h 1046"/>
                <a:gd name="T6" fmla="*/ 2039 w 2079"/>
                <a:gd name="T7" fmla="*/ 1039 h 1046"/>
                <a:gd name="T8" fmla="*/ 2027 w 2079"/>
                <a:gd name="T9" fmla="*/ 1046 h 1046"/>
                <a:gd name="T10" fmla="*/ 865 w 2079"/>
                <a:gd name="T11" fmla="*/ 641 h 1046"/>
                <a:gd name="T12" fmla="*/ 380 w 2079"/>
                <a:gd name="T13" fmla="*/ 363 h 1046"/>
                <a:gd name="T14" fmla="*/ 466 w 2079"/>
                <a:gd name="T15" fmla="*/ 313 h 1046"/>
                <a:gd name="T16" fmla="*/ 670 w 2079"/>
                <a:gd name="T17" fmla="*/ 431 h 1046"/>
                <a:gd name="T18" fmla="*/ 670 w 2079"/>
                <a:gd name="T19" fmla="*/ 431 h 1046"/>
                <a:gd name="T20" fmla="*/ 865 w 2079"/>
                <a:gd name="T21" fmla="*/ 543 h 1046"/>
                <a:gd name="T22" fmla="*/ 865 w 2079"/>
                <a:gd name="T23" fmla="*/ 641 h 1046"/>
                <a:gd name="T24" fmla="*/ 0 w 2079"/>
                <a:gd name="T25" fmla="*/ 1 h 1046"/>
                <a:gd name="T26" fmla="*/ 0 w 2079"/>
                <a:gd name="T27" fmla="*/ 0 h 1046"/>
                <a:gd name="T28" fmla="*/ 1 w 2079"/>
                <a:gd name="T29" fmla="*/ 1 h 1046"/>
                <a:gd name="T30" fmla="*/ 0 w 2079"/>
                <a:gd name="T31" fmla="*/ 1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9" h="1046">
                  <a:moveTo>
                    <a:pt x="2027" y="1046"/>
                  </a:moveTo>
                  <a:lnTo>
                    <a:pt x="2027" y="927"/>
                  </a:lnTo>
                  <a:lnTo>
                    <a:pt x="2039" y="934"/>
                  </a:lnTo>
                  <a:cubicBezTo>
                    <a:pt x="2079" y="957"/>
                    <a:pt x="2079" y="1015"/>
                    <a:pt x="2039" y="1039"/>
                  </a:cubicBezTo>
                  <a:lnTo>
                    <a:pt x="2027" y="1046"/>
                  </a:lnTo>
                  <a:close/>
                  <a:moveTo>
                    <a:pt x="865" y="641"/>
                  </a:moveTo>
                  <a:lnTo>
                    <a:pt x="380" y="363"/>
                  </a:lnTo>
                  <a:lnTo>
                    <a:pt x="466" y="313"/>
                  </a:lnTo>
                  <a:lnTo>
                    <a:pt x="670" y="431"/>
                  </a:lnTo>
                  <a:lnTo>
                    <a:pt x="670" y="431"/>
                  </a:lnTo>
                  <a:lnTo>
                    <a:pt x="865" y="543"/>
                  </a:lnTo>
                  <a:lnTo>
                    <a:pt x="865" y="641"/>
                  </a:lnTo>
                  <a:close/>
                  <a:moveTo>
                    <a:pt x="0" y="1"/>
                  </a:moveTo>
                  <a:lnTo>
                    <a:pt x="0" y="0"/>
                  </a:lnTo>
                  <a:lnTo>
                    <a:pt x="1" y="1"/>
                  </a:lnTo>
                  <a:cubicBezTo>
                    <a:pt x="1" y="1"/>
                    <a:pt x="0" y="1"/>
                    <a:pt x="0" y="1"/>
                  </a:cubicBezTo>
                  <a:close/>
                </a:path>
              </a:pathLst>
            </a:custGeom>
            <a:solidFill>
              <a:srgbClr val="CC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411">
              <a:extLst>
                <a:ext uri="{FF2B5EF4-FFF2-40B4-BE49-F238E27FC236}">
                  <a16:creationId xmlns:a16="http://schemas.microsoft.com/office/drawing/2014/main" id="{B42812F0-08F5-41EE-97AA-18291E1F9BFD}"/>
                </a:ext>
              </a:extLst>
            </p:cNvPr>
            <p:cNvSpPr>
              <a:spLocks/>
            </p:cNvSpPr>
            <p:nvPr/>
          </p:nvSpPr>
          <p:spPr bwMode="auto">
            <a:xfrm>
              <a:off x="7953375" y="5462588"/>
              <a:ext cx="1058863" cy="593725"/>
            </a:xfrm>
            <a:custGeom>
              <a:avLst/>
              <a:gdLst>
                <a:gd name="T0" fmla="*/ 1126 w 1292"/>
                <a:gd name="T1" fmla="*/ 724 h 724"/>
                <a:gd name="T2" fmla="*/ 1100 w 1292"/>
                <a:gd name="T3" fmla="*/ 717 h 724"/>
                <a:gd name="T4" fmla="*/ 34 w 1292"/>
                <a:gd name="T5" fmla="*/ 108 h 724"/>
                <a:gd name="T6" fmla="*/ 34 w 1292"/>
                <a:gd name="T7" fmla="*/ 20 h 724"/>
                <a:gd name="T8" fmla="*/ 66 w 1292"/>
                <a:gd name="T9" fmla="*/ 0 h 724"/>
                <a:gd name="T10" fmla="*/ 66 w 1292"/>
                <a:gd name="T11" fmla="*/ 23 h 724"/>
                <a:gd name="T12" fmla="*/ 105 w 1292"/>
                <a:gd name="T13" fmla="*/ 90 h 724"/>
                <a:gd name="T14" fmla="*/ 546 w 1292"/>
                <a:gd name="T15" fmla="*/ 345 h 724"/>
                <a:gd name="T16" fmla="*/ 1098 w 1292"/>
                <a:gd name="T17" fmla="*/ 663 h 724"/>
                <a:gd name="T18" fmla="*/ 1098 w 1292"/>
                <a:gd name="T19" fmla="*/ 663 h 724"/>
                <a:gd name="T20" fmla="*/ 1100 w 1292"/>
                <a:gd name="T21" fmla="*/ 664 h 724"/>
                <a:gd name="T22" fmla="*/ 1100 w 1292"/>
                <a:gd name="T23" fmla="*/ 664 h 724"/>
                <a:gd name="T24" fmla="*/ 1100 w 1292"/>
                <a:gd name="T25" fmla="*/ 664 h 724"/>
                <a:gd name="T26" fmla="*/ 1129 w 1292"/>
                <a:gd name="T27" fmla="*/ 673 h 724"/>
                <a:gd name="T28" fmla="*/ 1153 w 1292"/>
                <a:gd name="T29" fmla="*/ 665 h 724"/>
                <a:gd name="T30" fmla="*/ 1156 w 1292"/>
                <a:gd name="T31" fmla="*/ 663 h 724"/>
                <a:gd name="T32" fmla="*/ 1199 w 1292"/>
                <a:gd name="T33" fmla="*/ 635 h 724"/>
                <a:gd name="T34" fmla="*/ 1205 w 1292"/>
                <a:gd name="T35" fmla="*/ 630 h 724"/>
                <a:gd name="T36" fmla="*/ 1205 w 1292"/>
                <a:gd name="T37" fmla="*/ 630 h 724"/>
                <a:gd name="T38" fmla="*/ 1228 w 1292"/>
                <a:gd name="T39" fmla="*/ 570 h 724"/>
                <a:gd name="T40" fmla="*/ 1228 w 1292"/>
                <a:gd name="T41" fmla="*/ 543 h 724"/>
                <a:gd name="T42" fmla="*/ 1259 w 1292"/>
                <a:gd name="T43" fmla="*/ 561 h 724"/>
                <a:gd name="T44" fmla="*/ 1259 w 1292"/>
                <a:gd name="T45" fmla="*/ 649 h 724"/>
                <a:gd name="T46" fmla="*/ 1151 w 1292"/>
                <a:gd name="T47" fmla="*/ 717 h 724"/>
                <a:gd name="T48" fmla="*/ 1126 w 1292"/>
                <a:gd name="T49" fmla="*/ 724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2" h="724">
                  <a:moveTo>
                    <a:pt x="1126" y="724"/>
                  </a:moveTo>
                  <a:cubicBezTo>
                    <a:pt x="1117" y="724"/>
                    <a:pt x="1108" y="722"/>
                    <a:pt x="1100" y="717"/>
                  </a:cubicBezTo>
                  <a:lnTo>
                    <a:pt x="34" y="108"/>
                  </a:lnTo>
                  <a:cubicBezTo>
                    <a:pt x="0" y="89"/>
                    <a:pt x="0" y="40"/>
                    <a:pt x="34" y="20"/>
                  </a:cubicBezTo>
                  <a:lnTo>
                    <a:pt x="66" y="0"/>
                  </a:lnTo>
                  <a:lnTo>
                    <a:pt x="66" y="23"/>
                  </a:lnTo>
                  <a:cubicBezTo>
                    <a:pt x="66" y="48"/>
                    <a:pt x="84" y="77"/>
                    <a:pt x="105" y="90"/>
                  </a:cubicBezTo>
                  <a:lnTo>
                    <a:pt x="546" y="345"/>
                  </a:lnTo>
                  <a:lnTo>
                    <a:pt x="1098" y="663"/>
                  </a:lnTo>
                  <a:lnTo>
                    <a:pt x="1098" y="663"/>
                  </a:lnTo>
                  <a:cubicBezTo>
                    <a:pt x="1099" y="663"/>
                    <a:pt x="1099" y="664"/>
                    <a:pt x="1100" y="664"/>
                  </a:cubicBezTo>
                  <a:cubicBezTo>
                    <a:pt x="1100" y="664"/>
                    <a:pt x="1100" y="664"/>
                    <a:pt x="1100" y="664"/>
                  </a:cubicBezTo>
                  <a:cubicBezTo>
                    <a:pt x="1100" y="664"/>
                    <a:pt x="1100" y="664"/>
                    <a:pt x="1100" y="664"/>
                  </a:cubicBezTo>
                  <a:cubicBezTo>
                    <a:pt x="1110" y="670"/>
                    <a:pt x="1120" y="673"/>
                    <a:pt x="1129" y="673"/>
                  </a:cubicBezTo>
                  <a:cubicBezTo>
                    <a:pt x="1138" y="673"/>
                    <a:pt x="1146" y="670"/>
                    <a:pt x="1153" y="665"/>
                  </a:cubicBezTo>
                  <a:cubicBezTo>
                    <a:pt x="1154" y="664"/>
                    <a:pt x="1155" y="664"/>
                    <a:pt x="1156" y="663"/>
                  </a:cubicBezTo>
                  <a:lnTo>
                    <a:pt x="1199" y="635"/>
                  </a:lnTo>
                  <a:cubicBezTo>
                    <a:pt x="1201" y="633"/>
                    <a:pt x="1203" y="632"/>
                    <a:pt x="1205" y="630"/>
                  </a:cubicBezTo>
                  <a:lnTo>
                    <a:pt x="1205" y="630"/>
                  </a:lnTo>
                  <a:cubicBezTo>
                    <a:pt x="1219" y="620"/>
                    <a:pt x="1228" y="599"/>
                    <a:pt x="1228" y="570"/>
                  </a:cubicBezTo>
                  <a:lnTo>
                    <a:pt x="1228" y="543"/>
                  </a:lnTo>
                  <a:lnTo>
                    <a:pt x="1259" y="561"/>
                  </a:lnTo>
                  <a:cubicBezTo>
                    <a:pt x="1292" y="580"/>
                    <a:pt x="1292" y="629"/>
                    <a:pt x="1259" y="649"/>
                  </a:cubicBezTo>
                  <a:lnTo>
                    <a:pt x="1151" y="717"/>
                  </a:lnTo>
                  <a:cubicBezTo>
                    <a:pt x="1143" y="722"/>
                    <a:pt x="1135" y="724"/>
                    <a:pt x="1126" y="724"/>
                  </a:cubicBezTo>
                  <a:close/>
                </a:path>
              </a:pathLst>
            </a:custGeom>
            <a:solidFill>
              <a:srgbClr val="CC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412">
              <a:extLst>
                <a:ext uri="{FF2B5EF4-FFF2-40B4-BE49-F238E27FC236}">
                  <a16:creationId xmlns:a16="http://schemas.microsoft.com/office/drawing/2014/main" id="{78040A21-2567-4C8F-B0B0-67A6280F3B63}"/>
                </a:ext>
              </a:extLst>
            </p:cNvPr>
            <p:cNvSpPr>
              <a:spLocks/>
            </p:cNvSpPr>
            <p:nvPr/>
          </p:nvSpPr>
          <p:spPr bwMode="auto">
            <a:xfrm>
              <a:off x="5519738" y="4392613"/>
              <a:ext cx="1392238" cy="501650"/>
            </a:xfrm>
            <a:custGeom>
              <a:avLst/>
              <a:gdLst>
                <a:gd name="T0" fmla="*/ 957 w 1700"/>
                <a:gd name="T1" fmla="*/ 611 h 611"/>
                <a:gd name="T2" fmla="*/ 902 w 1700"/>
                <a:gd name="T3" fmla="*/ 599 h 611"/>
                <a:gd name="T4" fmla="*/ 33 w 1700"/>
                <a:gd name="T5" fmla="*/ 97 h 611"/>
                <a:gd name="T6" fmla="*/ 42 w 1700"/>
                <a:gd name="T7" fmla="*/ 23 h 611"/>
                <a:gd name="T8" fmla="*/ 82 w 1700"/>
                <a:gd name="T9" fmla="*/ 0 h 611"/>
                <a:gd name="T10" fmla="*/ 82 w 1700"/>
                <a:gd name="T11" fmla="*/ 40 h 611"/>
                <a:gd name="T12" fmla="*/ 82 w 1700"/>
                <a:gd name="T13" fmla="*/ 40 h 611"/>
                <a:gd name="T14" fmla="*/ 102 w 1700"/>
                <a:gd name="T15" fmla="*/ 72 h 611"/>
                <a:gd name="T16" fmla="*/ 906 w 1700"/>
                <a:gd name="T17" fmla="*/ 536 h 611"/>
                <a:gd name="T18" fmla="*/ 958 w 1700"/>
                <a:gd name="T19" fmla="*/ 548 h 611"/>
                <a:gd name="T20" fmla="*/ 1025 w 1700"/>
                <a:gd name="T21" fmla="*/ 531 h 611"/>
                <a:gd name="T22" fmla="*/ 1025 w 1700"/>
                <a:gd name="T23" fmla="*/ 531 h 611"/>
                <a:gd name="T24" fmla="*/ 1700 w 1700"/>
                <a:gd name="T25" fmla="*/ 141 h 611"/>
                <a:gd name="T26" fmla="*/ 1674 w 1700"/>
                <a:gd name="T27" fmla="*/ 221 h 611"/>
                <a:gd name="T28" fmla="*/ 1030 w 1700"/>
                <a:gd name="T29" fmla="*/ 593 h 611"/>
                <a:gd name="T30" fmla="*/ 957 w 1700"/>
                <a:gd name="T31" fmla="*/ 611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0" h="611">
                  <a:moveTo>
                    <a:pt x="957" y="611"/>
                  </a:moveTo>
                  <a:cubicBezTo>
                    <a:pt x="937" y="611"/>
                    <a:pt x="917" y="607"/>
                    <a:pt x="902" y="599"/>
                  </a:cubicBezTo>
                  <a:lnTo>
                    <a:pt x="33" y="97"/>
                  </a:lnTo>
                  <a:cubicBezTo>
                    <a:pt x="0" y="78"/>
                    <a:pt x="4" y="45"/>
                    <a:pt x="42" y="23"/>
                  </a:cubicBezTo>
                  <a:lnTo>
                    <a:pt x="82" y="0"/>
                  </a:lnTo>
                  <a:lnTo>
                    <a:pt x="82" y="40"/>
                  </a:lnTo>
                  <a:lnTo>
                    <a:pt x="82" y="40"/>
                  </a:lnTo>
                  <a:cubicBezTo>
                    <a:pt x="81" y="52"/>
                    <a:pt x="87" y="63"/>
                    <a:pt x="102" y="72"/>
                  </a:cubicBezTo>
                  <a:lnTo>
                    <a:pt x="906" y="536"/>
                  </a:lnTo>
                  <a:cubicBezTo>
                    <a:pt x="920" y="544"/>
                    <a:pt x="938" y="548"/>
                    <a:pt x="958" y="548"/>
                  </a:cubicBezTo>
                  <a:cubicBezTo>
                    <a:pt x="981" y="548"/>
                    <a:pt x="1006" y="542"/>
                    <a:pt x="1025" y="531"/>
                  </a:cubicBezTo>
                  <a:lnTo>
                    <a:pt x="1025" y="531"/>
                  </a:lnTo>
                  <a:lnTo>
                    <a:pt x="1700" y="141"/>
                  </a:lnTo>
                  <a:cubicBezTo>
                    <a:pt x="1692" y="168"/>
                    <a:pt x="1683" y="195"/>
                    <a:pt x="1674" y="221"/>
                  </a:cubicBezTo>
                  <a:lnTo>
                    <a:pt x="1030" y="593"/>
                  </a:lnTo>
                  <a:cubicBezTo>
                    <a:pt x="1009" y="605"/>
                    <a:pt x="983" y="611"/>
                    <a:pt x="957" y="611"/>
                  </a:cubicBezTo>
                  <a:close/>
                </a:path>
              </a:pathLst>
            </a:custGeom>
            <a:solidFill>
              <a:srgbClr val="CC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413">
              <a:extLst>
                <a:ext uri="{FF2B5EF4-FFF2-40B4-BE49-F238E27FC236}">
                  <a16:creationId xmlns:a16="http://schemas.microsoft.com/office/drawing/2014/main" id="{055A6D7D-8094-460B-9E2D-CFCB0159EB88}"/>
                </a:ext>
              </a:extLst>
            </p:cNvPr>
            <p:cNvSpPr>
              <a:spLocks/>
            </p:cNvSpPr>
            <p:nvPr/>
          </p:nvSpPr>
          <p:spPr bwMode="auto">
            <a:xfrm>
              <a:off x="6580188" y="4819650"/>
              <a:ext cx="1030288" cy="554038"/>
            </a:xfrm>
            <a:custGeom>
              <a:avLst/>
              <a:gdLst>
                <a:gd name="T0" fmla="*/ 464 w 1258"/>
                <a:gd name="T1" fmla="*/ 676 h 676"/>
                <a:gd name="T2" fmla="*/ 411 w 1258"/>
                <a:gd name="T3" fmla="*/ 664 h 676"/>
                <a:gd name="T4" fmla="*/ 32 w 1258"/>
                <a:gd name="T5" fmla="*/ 430 h 676"/>
                <a:gd name="T6" fmla="*/ 40 w 1258"/>
                <a:gd name="T7" fmla="*/ 359 h 676"/>
                <a:gd name="T8" fmla="*/ 74 w 1258"/>
                <a:gd name="T9" fmla="*/ 340 h 676"/>
                <a:gd name="T10" fmla="*/ 30 w 1258"/>
                <a:gd name="T11" fmla="*/ 400 h 676"/>
                <a:gd name="T12" fmla="*/ 30 w 1258"/>
                <a:gd name="T13" fmla="*/ 400 h 676"/>
                <a:gd name="T14" fmla="*/ 30 w 1258"/>
                <a:gd name="T15" fmla="*/ 400 h 676"/>
                <a:gd name="T16" fmla="*/ 429 w 1258"/>
                <a:gd name="T17" fmla="*/ 649 h 676"/>
                <a:gd name="T18" fmla="*/ 429 w 1258"/>
                <a:gd name="T19" fmla="*/ 649 h 676"/>
                <a:gd name="T20" fmla="*/ 481 w 1258"/>
                <a:gd name="T21" fmla="*/ 649 h 676"/>
                <a:gd name="T22" fmla="*/ 757 w 1258"/>
                <a:gd name="T23" fmla="*/ 201 h 676"/>
                <a:gd name="T24" fmla="*/ 837 w 1258"/>
                <a:gd name="T25" fmla="*/ 0 h 676"/>
                <a:gd name="T26" fmla="*/ 1258 w 1258"/>
                <a:gd name="T27" fmla="*/ 241 h 676"/>
                <a:gd name="T28" fmla="*/ 534 w 1258"/>
                <a:gd name="T29" fmla="*/ 659 h 676"/>
                <a:gd name="T30" fmla="*/ 464 w 1258"/>
                <a:gd name="T31"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8" h="676">
                  <a:moveTo>
                    <a:pt x="464" y="676"/>
                  </a:moveTo>
                  <a:cubicBezTo>
                    <a:pt x="444" y="676"/>
                    <a:pt x="425" y="672"/>
                    <a:pt x="411" y="664"/>
                  </a:cubicBezTo>
                  <a:lnTo>
                    <a:pt x="32" y="430"/>
                  </a:lnTo>
                  <a:cubicBezTo>
                    <a:pt x="0" y="412"/>
                    <a:pt x="4" y="380"/>
                    <a:pt x="40" y="359"/>
                  </a:cubicBezTo>
                  <a:lnTo>
                    <a:pt x="74" y="340"/>
                  </a:lnTo>
                  <a:cubicBezTo>
                    <a:pt x="59" y="361"/>
                    <a:pt x="45" y="381"/>
                    <a:pt x="30" y="400"/>
                  </a:cubicBezTo>
                  <a:lnTo>
                    <a:pt x="30" y="400"/>
                  </a:lnTo>
                  <a:lnTo>
                    <a:pt x="30" y="400"/>
                  </a:lnTo>
                  <a:lnTo>
                    <a:pt x="429" y="649"/>
                  </a:lnTo>
                  <a:lnTo>
                    <a:pt x="429" y="649"/>
                  </a:lnTo>
                  <a:lnTo>
                    <a:pt x="481" y="649"/>
                  </a:lnTo>
                  <a:cubicBezTo>
                    <a:pt x="588" y="521"/>
                    <a:pt x="684" y="370"/>
                    <a:pt x="757" y="201"/>
                  </a:cubicBezTo>
                  <a:cubicBezTo>
                    <a:pt x="786" y="134"/>
                    <a:pt x="813" y="67"/>
                    <a:pt x="837" y="0"/>
                  </a:cubicBezTo>
                  <a:lnTo>
                    <a:pt x="1258" y="241"/>
                  </a:lnTo>
                  <a:lnTo>
                    <a:pt x="534" y="659"/>
                  </a:lnTo>
                  <a:cubicBezTo>
                    <a:pt x="514" y="670"/>
                    <a:pt x="488" y="676"/>
                    <a:pt x="464" y="676"/>
                  </a:cubicBezTo>
                </a:path>
              </a:pathLst>
            </a:custGeom>
            <a:solidFill>
              <a:srgbClr val="CC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414">
              <a:extLst>
                <a:ext uri="{FF2B5EF4-FFF2-40B4-BE49-F238E27FC236}">
                  <a16:creationId xmlns:a16="http://schemas.microsoft.com/office/drawing/2014/main" id="{0B681AEA-584D-4ED8-AA17-240FD034F55D}"/>
                </a:ext>
              </a:extLst>
            </p:cNvPr>
            <p:cNvSpPr>
              <a:spLocks/>
            </p:cNvSpPr>
            <p:nvPr/>
          </p:nvSpPr>
          <p:spPr bwMode="auto">
            <a:xfrm>
              <a:off x="7265988" y="4719638"/>
              <a:ext cx="415925" cy="296863"/>
            </a:xfrm>
            <a:custGeom>
              <a:avLst/>
              <a:gdLst>
                <a:gd name="T0" fmla="*/ 421 w 507"/>
                <a:gd name="T1" fmla="*/ 362 h 362"/>
                <a:gd name="T2" fmla="*/ 0 w 507"/>
                <a:gd name="T3" fmla="*/ 121 h 362"/>
                <a:gd name="T4" fmla="*/ 41 w 507"/>
                <a:gd name="T5" fmla="*/ 0 h 362"/>
                <a:gd name="T6" fmla="*/ 42 w 507"/>
                <a:gd name="T7" fmla="*/ 0 h 362"/>
                <a:gd name="T8" fmla="*/ 128 w 507"/>
                <a:gd name="T9" fmla="*/ 93 h 362"/>
                <a:gd name="T10" fmla="*/ 146 w 507"/>
                <a:gd name="T11" fmla="*/ 104 h 362"/>
                <a:gd name="T12" fmla="*/ 146 w 507"/>
                <a:gd name="T13" fmla="*/ 104 h 362"/>
                <a:gd name="T14" fmla="*/ 168 w 507"/>
                <a:gd name="T15" fmla="*/ 116 h 362"/>
                <a:gd name="T16" fmla="*/ 507 w 507"/>
                <a:gd name="T17" fmla="*/ 312 h 362"/>
                <a:gd name="T18" fmla="*/ 421 w 507"/>
                <a:gd name="T19"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 h="362">
                  <a:moveTo>
                    <a:pt x="421" y="362"/>
                  </a:moveTo>
                  <a:lnTo>
                    <a:pt x="0" y="121"/>
                  </a:lnTo>
                  <a:cubicBezTo>
                    <a:pt x="15" y="81"/>
                    <a:pt x="28" y="40"/>
                    <a:pt x="41" y="0"/>
                  </a:cubicBezTo>
                  <a:cubicBezTo>
                    <a:pt x="41" y="0"/>
                    <a:pt x="42" y="0"/>
                    <a:pt x="42" y="0"/>
                  </a:cubicBezTo>
                  <a:cubicBezTo>
                    <a:pt x="65" y="40"/>
                    <a:pt x="95" y="74"/>
                    <a:pt x="128" y="93"/>
                  </a:cubicBezTo>
                  <a:lnTo>
                    <a:pt x="146" y="104"/>
                  </a:lnTo>
                  <a:lnTo>
                    <a:pt x="146" y="104"/>
                  </a:lnTo>
                  <a:lnTo>
                    <a:pt x="168" y="116"/>
                  </a:lnTo>
                  <a:lnTo>
                    <a:pt x="507" y="312"/>
                  </a:lnTo>
                  <a:lnTo>
                    <a:pt x="421" y="362"/>
                  </a:lnTo>
                </a:path>
              </a:pathLst>
            </a:custGeom>
            <a:solidFill>
              <a:srgbClr val="B7C9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415">
              <a:extLst>
                <a:ext uri="{FF2B5EF4-FFF2-40B4-BE49-F238E27FC236}">
                  <a16:creationId xmlns:a16="http://schemas.microsoft.com/office/drawing/2014/main" id="{E89B6F29-4826-4B58-B269-E0B5232F8D94}"/>
                </a:ext>
              </a:extLst>
            </p:cNvPr>
            <p:cNvSpPr>
              <a:spLocks/>
            </p:cNvSpPr>
            <p:nvPr/>
          </p:nvSpPr>
          <p:spPr bwMode="auto">
            <a:xfrm>
              <a:off x="6831013" y="5594350"/>
              <a:ext cx="1139825" cy="427038"/>
            </a:xfrm>
            <a:custGeom>
              <a:avLst/>
              <a:gdLst>
                <a:gd name="T0" fmla="*/ 695 w 1391"/>
                <a:gd name="T1" fmla="*/ 521 h 521"/>
                <a:gd name="T2" fmla="*/ 238 w 1391"/>
                <a:gd name="T3" fmla="*/ 412 h 521"/>
                <a:gd name="T4" fmla="*/ 102 w 1391"/>
                <a:gd name="T5" fmla="*/ 0 h 521"/>
                <a:gd name="T6" fmla="*/ 102 w 1391"/>
                <a:gd name="T7" fmla="*/ 107 h 521"/>
                <a:gd name="T8" fmla="*/ 102 w 1391"/>
                <a:gd name="T9" fmla="*/ 107 h 521"/>
                <a:gd name="T10" fmla="*/ 275 w 1391"/>
                <a:gd name="T11" fmla="*/ 349 h 521"/>
                <a:gd name="T12" fmla="*/ 695 w 1391"/>
                <a:gd name="T13" fmla="*/ 450 h 521"/>
                <a:gd name="T14" fmla="*/ 1115 w 1391"/>
                <a:gd name="T15" fmla="*/ 349 h 521"/>
                <a:gd name="T16" fmla="*/ 1288 w 1391"/>
                <a:gd name="T17" fmla="*/ 120 h 521"/>
                <a:gd name="T18" fmla="*/ 1289 w 1391"/>
                <a:gd name="T19" fmla="*/ 120 h 521"/>
                <a:gd name="T20" fmla="*/ 1289 w 1391"/>
                <a:gd name="T21" fmla="*/ 68 h 521"/>
                <a:gd name="T22" fmla="*/ 1289 w 1391"/>
                <a:gd name="T23" fmla="*/ 68 h 521"/>
                <a:gd name="T24" fmla="*/ 1289 w 1391"/>
                <a:gd name="T25" fmla="*/ 0 h 521"/>
                <a:gd name="T26" fmla="*/ 1152 w 1391"/>
                <a:gd name="T27" fmla="*/ 412 h 521"/>
                <a:gd name="T28" fmla="*/ 695 w 1391"/>
                <a:gd name="T2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1" h="521">
                  <a:moveTo>
                    <a:pt x="695" y="521"/>
                  </a:moveTo>
                  <a:cubicBezTo>
                    <a:pt x="530" y="521"/>
                    <a:pt x="364" y="485"/>
                    <a:pt x="238" y="412"/>
                  </a:cubicBezTo>
                  <a:cubicBezTo>
                    <a:pt x="45" y="300"/>
                    <a:pt x="0" y="136"/>
                    <a:pt x="102" y="0"/>
                  </a:cubicBezTo>
                  <a:lnTo>
                    <a:pt x="102" y="107"/>
                  </a:lnTo>
                  <a:lnTo>
                    <a:pt x="102" y="107"/>
                  </a:lnTo>
                  <a:cubicBezTo>
                    <a:pt x="102" y="195"/>
                    <a:pt x="160" y="282"/>
                    <a:pt x="275" y="349"/>
                  </a:cubicBezTo>
                  <a:cubicBezTo>
                    <a:pt x="391" y="416"/>
                    <a:pt x="543" y="450"/>
                    <a:pt x="695" y="450"/>
                  </a:cubicBezTo>
                  <a:cubicBezTo>
                    <a:pt x="847" y="450"/>
                    <a:pt x="999" y="416"/>
                    <a:pt x="1115" y="349"/>
                  </a:cubicBezTo>
                  <a:cubicBezTo>
                    <a:pt x="1225" y="286"/>
                    <a:pt x="1283" y="203"/>
                    <a:pt x="1288" y="120"/>
                  </a:cubicBezTo>
                  <a:lnTo>
                    <a:pt x="1289" y="120"/>
                  </a:lnTo>
                  <a:lnTo>
                    <a:pt x="1289" y="68"/>
                  </a:lnTo>
                  <a:lnTo>
                    <a:pt x="1289" y="68"/>
                  </a:lnTo>
                  <a:lnTo>
                    <a:pt x="1289" y="0"/>
                  </a:lnTo>
                  <a:cubicBezTo>
                    <a:pt x="1391" y="136"/>
                    <a:pt x="1345" y="300"/>
                    <a:pt x="1152" y="412"/>
                  </a:cubicBezTo>
                  <a:cubicBezTo>
                    <a:pt x="1026" y="485"/>
                    <a:pt x="861" y="521"/>
                    <a:pt x="695" y="521"/>
                  </a:cubicBezTo>
                  <a:close/>
                </a:path>
              </a:pathLst>
            </a:custGeom>
            <a:solidFill>
              <a:srgbClr val="CC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416">
              <a:extLst>
                <a:ext uri="{FF2B5EF4-FFF2-40B4-BE49-F238E27FC236}">
                  <a16:creationId xmlns:a16="http://schemas.microsoft.com/office/drawing/2014/main" id="{C4D75BC0-F0DB-40AA-8F5F-DFD7858C7DE8}"/>
                </a:ext>
              </a:extLst>
            </p:cNvPr>
            <p:cNvSpPr>
              <a:spLocks/>
            </p:cNvSpPr>
            <p:nvPr/>
          </p:nvSpPr>
          <p:spPr bwMode="auto">
            <a:xfrm>
              <a:off x="5045075" y="4667250"/>
              <a:ext cx="1016000" cy="587375"/>
            </a:xfrm>
            <a:custGeom>
              <a:avLst/>
              <a:gdLst>
                <a:gd name="T0" fmla="*/ 1020 w 1241"/>
                <a:gd name="T1" fmla="*/ 589 h 716"/>
                <a:gd name="T2" fmla="*/ 221 w 1241"/>
                <a:gd name="T3" fmla="*/ 589 h 716"/>
                <a:gd name="T4" fmla="*/ 221 w 1241"/>
                <a:gd name="T5" fmla="*/ 127 h 716"/>
                <a:gd name="T6" fmla="*/ 1020 w 1241"/>
                <a:gd name="T7" fmla="*/ 127 h 716"/>
                <a:gd name="T8" fmla="*/ 1020 w 1241"/>
                <a:gd name="T9" fmla="*/ 589 h 716"/>
              </a:gdLst>
              <a:ahLst/>
              <a:cxnLst>
                <a:cxn ang="0">
                  <a:pos x="T0" y="T1"/>
                </a:cxn>
                <a:cxn ang="0">
                  <a:pos x="T2" y="T3"/>
                </a:cxn>
                <a:cxn ang="0">
                  <a:pos x="T4" y="T5"/>
                </a:cxn>
                <a:cxn ang="0">
                  <a:pos x="T6" y="T7"/>
                </a:cxn>
                <a:cxn ang="0">
                  <a:pos x="T8" y="T9"/>
                </a:cxn>
              </a:cxnLst>
              <a:rect l="0" t="0" r="r" b="b"/>
              <a:pathLst>
                <a:path w="1241" h="716">
                  <a:moveTo>
                    <a:pt x="1020" y="589"/>
                  </a:moveTo>
                  <a:cubicBezTo>
                    <a:pt x="800" y="716"/>
                    <a:pt x="442" y="716"/>
                    <a:pt x="221" y="589"/>
                  </a:cubicBezTo>
                  <a:cubicBezTo>
                    <a:pt x="0" y="462"/>
                    <a:pt x="0" y="255"/>
                    <a:pt x="221" y="127"/>
                  </a:cubicBezTo>
                  <a:cubicBezTo>
                    <a:pt x="442" y="0"/>
                    <a:pt x="800" y="0"/>
                    <a:pt x="1020" y="127"/>
                  </a:cubicBezTo>
                  <a:cubicBezTo>
                    <a:pt x="1241" y="255"/>
                    <a:pt x="1241" y="462"/>
                    <a:pt x="1020" y="5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417">
              <a:extLst>
                <a:ext uri="{FF2B5EF4-FFF2-40B4-BE49-F238E27FC236}">
                  <a16:creationId xmlns:a16="http://schemas.microsoft.com/office/drawing/2014/main" id="{2A398072-D609-4A44-BCA5-83D6C310FB0E}"/>
                </a:ext>
              </a:extLst>
            </p:cNvPr>
            <p:cNvSpPr>
              <a:spLocks/>
            </p:cNvSpPr>
            <p:nvPr/>
          </p:nvSpPr>
          <p:spPr bwMode="auto">
            <a:xfrm>
              <a:off x="5913438" y="5175250"/>
              <a:ext cx="752475" cy="434975"/>
            </a:xfrm>
            <a:custGeom>
              <a:avLst/>
              <a:gdLst>
                <a:gd name="T0" fmla="*/ 755 w 918"/>
                <a:gd name="T1" fmla="*/ 435 h 530"/>
                <a:gd name="T2" fmla="*/ 163 w 918"/>
                <a:gd name="T3" fmla="*/ 435 h 530"/>
                <a:gd name="T4" fmla="*/ 163 w 918"/>
                <a:gd name="T5" fmla="*/ 94 h 530"/>
                <a:gd name="T6" fmla="*/ 755 w 918"/>
                <a:gd name="T7" fmla="*/ 94 h 530"/>
                <a:gd name="T8" fmla="*/ 755 w 918"/>
                <a:gd name="T9" fmla="*/ 435 h 530"/>
              </a:gdLst>
              <a:ahLst/>
              <a:cxnLst>
                <a:cxn ang="0">
                  <a:pos x="T0" y="T1"/>
                </a:cxn>
                <a:cxn ang="0">
                  <a:pos x="T2" y="T3"/>
                </a:cxn>
                <a:cxn ang="0">
                  <a:pos x="T4" y="T5"/>
                </a:cxn>
                <a:cxn ang="0">
                  <a:pos x="T6" y="T7"/>
                </a:cxn>
                <a:cxn ang="0">
                  <a:pos x="T8" y="T9"/>
                </a:cxn>
              </a:cxnLst>
              <a:rect l="0" t="0" r="r" b="b"/>
              <a:pathLst>
                <a:path w="918" h="530">
                  <a:moveTo>
                    <a:pt x="755" y="435"/>
                  </a:moveTo>
                  <a:cubicBezTo>
                    <a:pt x="591" y="530"/>
                    <a:pt x="326" y="530"/>
                    <a:pt x="163" y="435"/>
                  </a:cubicBezTo>
                  <a:cubicBezTo>
                    <a:pt x="0" y="341"/>
                    <a:pt x="0" y="188"/>
                    <a:pt x="163" y="94"/>
                  </a:cubicBezTo>
                  <a:cubicBezTo>
                    <a:pt x="326" y="0"/>
                    <a:pt x="591" y="0"/>
                    <a:pt x="755" y="94"/>
                  </a:cubicBezTo>
                  <a:cubicBezTo>
                    <a:pt x="918" y="188"/>
                    <a:pt x="918" y="341"/>
                    <a:pt x="755" y="4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418">
              <a:extLst>
                <a:ext uri="{FF2B5EF4-FFF2-40B4-BE49-F238E27FC236}">
                  <a16:creationId xmlns:a16="http://schemas.microsoft.com/office/drawing/2014/main" id="{9586C449-D5C4-431B-B434-D956BA3E0138}"/>
                </a:ext>
              </a:extLst>
            </p:cNvPr>
            <p:cNvSpPr>
              <a:spLocks/>
            </p:cNvSpPr>
            <p:nvPr/>
          </p:nvSpPr>
          <p:spPr bwMode="auto">
            <a:xfrm>
              <a:off x="5297488" y="5494338"/>
              <a:ext cx="577850" cy="334963"/>
            </a:xfrm>
            <a:custGeom>
              <a:avLst/>
              <a:gdLst>
                <a:gd name="T0" fmla="*/ 581 w 707"/>
                <a:gd name="T1" fmla="*/ 336 h 408"/>
                <a:gd name="T2" fmla="*/ 126 w 707"/>
                <a:gd name="T3" fmla="*/ 336 h 408"/>
                <a:gd name="T4" fmla="*/ 126 w 707"/>
                <a:gd name="T5" fmla="*/ 73 h 408"/>
                <a:gd name="T6" fmla="*/ 581 w 707"/>
                <a:gd name="T7" fmla="*/ 73 h 408"/>
                <a:gd name="T8" fmla="*/ 581 w 707"/>
                <a:gd name="T9" fmla="*/ 336 h 408"/>
              </a:gdLst>
              <a:ahLst/>
              <a:cxnLst>
                <a:cxn ang="0">
                  <a:pos x="T0" y="T1"/>
                </a:cxn>
                <a:cxn ang="0">
                  <a:pos x="T2" y="T3"/>
                </a:cxn>
                <a:cxn ang="0">
                  <a:pos x="T4" y="T5"/>
                </a:cxn>
                <a:cxn ang="0">
                  <a:pos x="T6" y="T7"/>
                </a:cxn>
                <a:cxn ang="0">
                  <a:pos x="T8" y="T9"/>
                </a:cxn>
              </a:cxnLst>
              <a:rect l="0" t="0" r="r" b="b"/>
              <a:pathLst>
                <a:path w="707" h="408">
                  <a:moveTo>
                    <a:pt x="581" y="336"/>
                  </a:moveTo>
                  <a:cubicBezTo>
                    <a:pt x="456" y="408"/>
                    <a:pt x="252" y="408"/>
                    <a:pt x="126" y="336"/>
                  </a:cubicBezTo>
                  <a:cubicBezTo>
                    <a:pt x="0" y="263"/>
                    <a:pt x="0" y="145"/>
                    <a:pt x="126" y="73"/>
                  </a:cubicBezTo>
                  <a:cubicBezTo>
                    <a:pt x="252" y="0"/>
                    <a:pt x="456" y="0"/>
                    <a:pt x="581" y="73"/>
                  </a:cubicBezTo>
                  <a:cubicBezTo>
                    <a:pt x="707" y="145"/>
                    <a:pt x="707" y="263"/>
                    <a:pt x="581" y="336"/>
                  </a:cubicBezTo>
                  <a:close/>
                </a:path>
              </a:pathLst>
            </a:cu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419">
              <a:extLst>
                <a:ext uri="{FF2B5EF4-FFF2-40B4-BE49-F238E27FC236}">
                  <a16:creationId xmlns:a16="http://schemas.microsoft.com/office/drawing/2014/main" id="{EE237BEB-E869-4DD3-A0DA-7E63A84F0C39}"/>
                </a:ext>
              </a:extLst>
            </p:cNvPr>
            <p:cNvSpPr>
              <a:spLocks/>
            </p:cNvSpPr>
            <p:nvPr/>
          </p:nvSpPr>
          <p:spPr bwMode="auto">
            <a:xfrm>
              <a:off x="4800600" y="4276725"/>
              <a:ext cx="579438" cy="334963"/>
            </a:xfrm>
            <a:custGeom>
              <a:avLst/>
              <a:gdLst>
                <a:gd name="T0" fmla="*/ 581 w 707"/>
                <a:gd name="T1" fmla="*/ 336 h 408"/>
                <a:gd name="T2" fmla="*/ 126 w 707"/>
                <a:gd name="T3" fmla="*/ 336 h 408"/>
                <a:gd name="T4" fmla="*/ 126 w 707"/>
                <a:gd name="T5" fmla="*/ 73 h 408"/>
                <a:gd name="T6" fmla="*/ 581 w 707"/>
                <a:gd name="T7" fmla="*/ 73 h 408"/>
                <a:gd name="T8" fmla="*/ 581 w 707"/>
                <a:gd name="T9" fmla="*/ 336 h 408"/>
              </a:gdLst>
              <a:ahLst/>
              <a:cxnLst>
                <a:cxn ang="0">
                  <a:pos x="T0" y="T1"/>
                </a:cxn>
                <a:cxn ang="0">
                  <a:pos x="T2" y="T3"/>
                </a:cxn>
                <a:cxn ang="0">
                  <a:pos x="T4" y="T5"/>
                </a:cxn>
                <a:cxn ang="0">
                  <a:pos x="T6" y="T7"/>
                </a:cxn>
                <a:cxn ang="0">
                  <a:pos x="T8" y="T9"/>
                </a:cxn>
              </a:cxnLst>
              <a:rect l="0" t="0" r="r" b="b"/>
              <a:pathLst>
                <a:path w="707" h="408">
                  <a:moveTo>
                    <a:pt x="581" y="336"/>
                  </a:moveTo>
                  <a:cubicBezTo>
                    <a:pt x="455" y="408"/>
                    <a:pt x="252" y="408"/>
                    <a:pt x="126" y="336"/>
                  </a:cubicBezTo>
                  <a:cubicBezTo>
                    <a:pt x="0" y="263"/>
                    <a:pt x="0" y="146"/>
                    <a:pt x="126" y="73"/>
                  </a:cubicBezTo>
                  <a:cubicBezTo>
                    <a:pt x="252" y="0"/>
                    <a:pt x="455" y="0"/>
                    <a:pt x="581" y="73"/>
                  </a:cubicBezTo>
                  <a:cubicBezTo>
                    <a:pt x="707" y="146"/>
                    <a:pt x="707" y="263"/>
                    <a:pt x="581" y="3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420">
              <a:extLst>
                <a:ext uri="{FF2B5EF4-FFF2-40B4-BE49-F238E27FC236}">
                  <a16:creationId xmlns:a16="http://schemas.microsoft.com/office/drawing/2014/main" id="{DF5F8498-8902-4AD7-8B35-05BAA18237DE}"/>
                </a:ext>
              </a:extLst>
            </p:cNvPr>
            <p:cNvSpPr>
              <a:spLocks/>
            </p:cNvSpPr>
            <p:nvPr/>
          </p:nvSpPr>
          <p:spPr bwMode="auto">
            <a:xfrm>
              <a:off x="9118600" y="5591175"/>
              <a:ext cx="579438" cy="334963"/>
            </a:xfrm>
            <a:custGeom>
              <a:avLst/>
              <a:gdLst>
                <a:gd name="T0" fmla="*/ 581 w 707"/>
                <a:gd name="T1" fmla="*/ 335 h 408"/>
                <a:gd name="T2" fmla="*/ 126 w 707"/>
                <a:gd name="T3" fmla="*/ 335 h 408"/>
                <a:gd name="T4" fmla="*/ 126 w 707"/>
                <a:gd name="T5" fmla="*/ 72 h 408"/>
                <a:gd name="T6" fmla="*/ 581 w 707"/>
                <a:gd name="T7" fmla="*/ 72 h 408"/>
                <a:gd name="T8" fmla="*/ 581 w 707"/>
                <a:gd name="T9" fmla="*/ 335 h 408"/>
              </a:gdLst>
              <a:ahLst/>
              <a:cxnLst>
                <a:cxn ang="0">
                  <a:pos x="T0" y="T1"/>
                </a:cxn>
                <a:cxn ang="0">
                  <a:pos x="T2" y="T3"/>
                </a:cxn>
                <a:cxn ang="0">
                  <a:pos x="T4" y="T5"/>
                </a:cxn>
                <a:cxn ang="0">
                  <a:pos x="T6" y="T7"/>
                </a:cxn>
                <a:cxn ang="0">
                  <a:pos x="T8" y="T9"/>
                </a:cxn>
              </a:cxnLst>
              <a:rect l="0" t="0" r="r" b="b"/>
              <a:pathLst>
                <a:path w="707" h="408">
                  <a:moveTo>
                    <a:pt x="581" y="335"/>
                  </a:moveTo>
                  <a:cubicBezTo>
                    <a:pt x="456" y="408"/>
                    <a:pt x="252" y="408"/>
                    <a:pt x="126" y="335"/>
                  </a:cubicBezTo>
                  <a:cubicBezTo>
                    <a:pt x="0" y="263"/>
                    <a:pt x="0" y="145"/>
                    <a:pt x="126" y="72"/>
                  </a:cubicBezTo>
                  <a:cubicBezTo>
                    <a:pt x="252" y="0"/>
                    <a:pt x="456" y="0"/>
                    <a:pt x="581" y="72"/>
                  </a:cubicBezTo>
                  <a:cubicBezTo>
                    <a:pt x="707" y="145"/>
                    <a:pt x="707" y="263"/>
                    <a:pt x="581" y="335"/>
                  </a:cubicBezTo>
                  <a:close/>
                </a:path>
              </a:pathLst>
            </a:cu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421">
              <a:extLst>
                <a:ext uri="{FF2B5EF4-FFF2-40B4-BE49-F238E27FC236}">
                  <a16:creationId xmlns:a16="http://schemas.microsoft.com/office/drawing/2014/main" id="{90299482-7205-4C0F-B61B-1240928FE58A}"/>
                </a:ext>
              </a:extLst>
            </p:cNvPr>
            <p:cNvSpPr>
              <a:spLocks/>
            </p:cNvSpPr>
            <p:nvPr/>
          </p:nvSpPr>
          <p:spPr bwMode="auto">
            <a:xfrm>
              <a:off x="9451975" y="3173413"/>
              <a:ext cx="384175" cy="222250"/>
            </a:xfrm>
            <a:custGeom>
              <a:avLst/>
              <a:gdLst>
                <a:gd name="T0" fmla="*/ 386 w 469"/>
                <a:gd name="T1" fmla="*/ 223 h 271"/>
                <a:gd name="T2" fmla="*/ 83 w 469"/>
                <a:gd name="T3" fmla="*/ 223 h 271"/>
                <a:gd name="T4" fmla="*/ 83 w 469"/>
                <a:gd name="T5" fmla="*/ 48 h 271"/>
                <a:gd name="T6" fmla="*/ 386 w 469"/>
                <a:gd name="T7" fmla="*/ 48 h 271"/>
                <a:gd name="T8" fmla="*/ 386 w 469"/>
                <a:gd name="T9" fmla="*/ 223 h 271"/>
              </a:gdLst>
              <a:ahLst/>
              <a:cxnLst>
                <a:cxn ang="0">
                  <a:pos x="T0" y="T1"/>
                </a:cxn>
                <a:cxn ang="0">
                  <a:pos x="T2" y="T3"/>
                </a:cxn>
                <a:cxn ang="0">
                  <a:pos x="T4" y="T5"/>
                </a:cxn>
                <a:cxn ang="0">
                  <a:pos x="T6" y="T7"/>
                </a:cxn>
                <a:cxn ang="0">
                  <a:pos x="T8" y="T9"/>
                </a:cxn>
              </a:cxnLst>
              <a:rect l="0" t="0" r="r" b="b"/>
              <a:pathLst>
                <a:path w="469" h="271">
                  <a:moveTo>
                    <a:pt x="386" y="223"/>
                  </a:moveTo>
                  <a:cubicBezTo>
                    <a:pt x="302" y="271"/>
                    <a:pt x="167" y="271"/>
                    <a:pt x="83" y="223"/>
                  </a:cubicBezTo>
                  <a:cubicBezTo>
                    <a:pt x="0" y="175"/>
                    <a:pt x="0" y="97"/>
                    <a:pt x="83" y="48"/>
                  </a:cubicBezTo>
                  <a:cubicBezTo>
                    <a:pt x="167" y="0"/>
                    <a:pt x="302" y="0"/>
                    <a:pt x="386" y="48"/>
                  </a:cubicBezTo>
                  <a:cubicBezTo>
                    <a:pt x="469" y="97"/>
                    <a:pt x="469" y="175"/>
                    <a:pt x="386" y="22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422">
              <a:extLst>
                <a:ext uri="{FF2B5EF4-FFF2-40B4-BE49-F238E27FC236}">
                  <a16:creationId xmlns:a16="http://schemas.microsoft.com/office/drawing/2014/main" id="{B77161FF-E948-48E3-A243-8CB365B23615}"/>
                </a:ext>
              </a:extLst>
            </p:cNvPr>
            <p:cNvSpPr>
              <a:spLocks/>
            </p:cNvSpPr>
            <p:nvPr/>
          </p:nvSpPr>
          <p:spPr bwMode="auto">
            <a:xfrm>
              <a:off x="5253038" y="3840163"/>
              <a:ext cx="311150" cy="179388"/>
            </a:xfrm>
            <a:custGeom>
              <a:avLst/>
              <a:gdLst>
                <a:gd name="T0" fmla="*/ 312 w 379"/>
                <a:gd name="T1" fmla="*/ 180 h 219"/>
                <a:gd name="T2" fmla="*/ 68 w 379"/>
                <a:gd name="T3" fmla="*/ 180 h 219"/>
                <a:gd name="T4" fmla="*/ 68 w 379"/>
                <a:gd name="T5" fmla="*/ 39 h 219"/>
                <a:gd name="T6" fmla="*/ 312 w 379"/>
                <a:gd name="T7" fmla="*/ 39 h 219"/>
                <a:gd name="T8" fmla="*/ 312 w 379"/>
                <a:gd name="T9" fmla="*/ 180 h 219"/>
              </a:gdLst>
              <a:ahLst/>
              <a:cxnLst>
                <a:cxn ang="0">
                  <a:pos x="T0" y="T1"/>
                </a:cxn>
                <a:cxn ang="0">
                  <a:pos x="T2" y="T3"/>
                </a:cxn>
                <a:cxn ang="0">
                  <a:pos x="T4" y="T5"/>
                </a:cxn>
                <a:cxn ang="0">
                  <a:pos x="T6" y="T7"/>
                </a:cxn>
                <a:cxn ang="0">
                  <a:pos x="T8" y="T9"/>
                </a:cxn>
              </a:cxnLst>
              <a:rect l="0" t="0" r="r" b="b"/>
              <a:pathLst>
                <a:path w="379" h="219">
                  <a:moveTo>
                    <a:pt x="312" y="180"/>
                  </a:moveTo>
                  <a:cubicBezTo>
                    <a:pt x="244" y="219"/>
                    <a:pt x="135" y="219"/>
                    <a:pt x="68" y="180"/>
                  </a:cubicBezTo>
                  <a:cubicBezTo>
                    <a:pt x="0" y="141"/>
                    <a:pt x="0" y="78"/>
                    <a:pt x="68" y="39"/>
                  </a:cubicBezTo>
                  <a:cubicBezTo>
                    <a:pt x="135" y="0"/>
                    <a:pt x="244" y="0"/>
                    <a:pt x="312" y="39"/>
                  </a:cubicBezTo>
                  <a:cubicBezTo>
                    <a:pt x="379" y="78"/>
                    <a:pt x="379" y="141"/>
                    <a:pt x="312" y="180"/>
                  </a:cubicBezTo>
                  <a:close/>
                </a:path>
              </a:pathLst>
            </a:cu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460">
              <a:extLst>
                <a:ext uri="{FF2B5EF4-FFF2-40B4-BE49-F238E27FC236}">
                  <a16:creationId xmlns:a16="http://schemas.microsoft.com/office/drawing/2014/main" id="{6F4766A5-3F1D-4C8D-9A2A-3E5FCEB61A5E}"/>
                </a:ext>
              </a:extLst>
            </p:cNvPr>
            <p:cNvSpPr>
              <a:spLocks/>
            </p:cNvSpPr>
            <p:nvPr/>
          </p:nvSpPr>
          <p:spPr bwMode="auto">
            <a:xfrm>
              <a:off x="4640263" y="5265738"/>
              <a:ext cx="434975" cy="252413"/>
            </a:xfrm>
            <a:custGeom>
              <a:avLst/>
              <a:gdLst>
                <a:gd name="T0" fmla="*/ 437 w 531"/>
                <a:gd name="T1" fmla="*/ 252 h 307"/>
                <a:gd name="T2" fmla="*/ 95 w 531"/>
                <a:gd name="T3" fmla="*/ 252 h 307"/>
                <a:gd name="T4" fmla="*/ 95 w 531"/>
                <a:gd name="T5" fmla="*/ 55 h 307"/>
                <a:gd name="T6" fmla="*/ 437 w 531"/>
                <a:gd name="T7" fmla="*/ 55 h 307"/>
                <a:gd name="T8" fmla="*/ 437 w 531"/>
                <a:gd name="T9" fmla="*/ 252 h 307"/>
              </a:gdLst>
              <a:ahLst/>
              <a:cxnLst>
                <a:cxn ang="0">
                  <a:pos x="T0" y="T1"/>
                </a:cxn>
                <a:cxn ang="0">
                  <a:pos x="T2" y="T3"/>
                </a:cxn>
                <a:cxn ang="0">
                  <a:pos x="T4" y="T5"/>
                </a:cxn>
                <a:cxn ang="0">
                  <a:pos x="T6" y="T7"/>
                </a:cxn>
                <a:cxn ang="0">
                  <a:pos x="T8" y="T9"/>
                </a:cxn>
              </a:cxnLst>
              <a:rect l="0" t="0" r="r" b="b"/>
              <a:pathLst>
                <a:path w="531" h="307">
                  <a:moveTo>
                    <a:pt x="437" y="252"/>
                  </a:moveTo>
                  <a:cubicBezTo>
                    <a:pt x="342" y="307"/>
                    <a:pt x="189" y="307"/>
                    <a:pt x="95" y="252"/>
                  </a:cubicBezTo>
                  <a:cubicBezTo>
                    <a:pt x="0" y="198"/>
                    <a:pt x="0" y="109"/>
                    <a:pt x="95" y="55"/>
                  </a:cubicBezTo>
                  <a:cubicBezTo>
                    <a:pt x="189" y="0"/>
                    <a:pt x="342" y="0"/>
                    <a:pt x="437" y="55"/>
                  </a:cubicBezTo>
                  <a:cubicBezTo>
                    <a:pt x="531" y="109"/>
                    <a:pt x="531" y="198"/>
                    <a:pt x="437" y="2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535">
              <a:extLst>
                <a:ext uri="{FF2B5EF4-FFF2-40B4-BE49-F238E27FC236}">
                  <a16:creationId xmlns:a16="http://schemas.microsoft.com/office/drawing/2014/main" id="{F8A378E0-A629-4FB9-B91A-4DA8ED679A93}"/>
                </a:ext>
              </a:extLst>
            </p:cNvPr>
            <p:cNvSpPr>
              <a:spLocks/>
            </p:cNvSpPr>
            <p:nvPr/>
          </p:nvSpPr>
          <p:spPr bwMode="auto">
            <a:xfrm>
              <a:off x="6192838" y="1098550"/>
              <a:ext cx="3937000" cy="4576763"/>
            </a:xfrm>
            <a:custGeom>
              <a:avLst/>
              <a:gdLst>
                <a:gd name="T0" fmla="*/ 4806 w 4806"/>
                <a:gd name="T1" fmla="*/ 2842 h 5580"/>
                <a:gd name="T2" fmla="*/ 4674 w 4806"/>
                <a:gd name="T3" fmla="*/ 2864 h 5580"/>
                <a:gd name="T4" fmla="*/ 4535 w 4806"/>
                <a:gd name="T5" fmla="*/ 2959 h 5580"/>
                <a:gd name="T6" fmla="*/ 4279 w 4806"/>
                <a:gd name="T7" fmla="*/ 3610 h 5580"/>
                <a:gd name="T8" fmla="*/ 4084 w 4806"/>
                <a:gd name="T9" fmla="*/ 4048 h 5580"/>
                <a:gd name="T10" fmla="*/ 3687 w 4806"/>
                <a:gd name="T11" fmla="*/ 4002 h 5580"/>
                <a:gd name="T12" fmla="*/ 2797 w 4806"/>
                <a:gd name="T13" fmla="*/ 2661 h 5580"/>
                <a:gd name="T14" fmla="*/ 2170 w 4806"/>
                <a:gd name="T15" fmla="*/ 1786 h 5580"/>
                <a:gd name="T16" fmla="*/ 2170 w 4806"/>
                <a:gd name="T17" fmla="*/ 1785 h 5580"/>
                <a:gd name="T18" fmla="*/ 2167 w 4806"/>
                <a:gd name="T19" fmla="*/ 1787 h 5580"/>
                <a:gd name="T20" fmla="*/ 2161 w 4806"/>
                <a:gd name="T21" fmla="*/ 1792 h 5580"/>
                <a:gd name="T22" fmla="*/ 2034 w 4806"/>
                <a:gd name="T23" fmla="*/ 1879 h 5580"/>
                <a:gd name="T24" fmla="*/ 2034 w 4806"/>
                <a:gd name="T25" fmla="*/ 1879 h 5580"/>
                <a:gd name="T26" fmla="*/ 1974 w 4806"/>
                <a:gd name="T27" fmla="*/ 1925 h 5580"/>
                <a:gd name="T28" fmla="*/ 1615 w 4806"/>
                <a:gd name="T29" fmla="*/ 2444 h 5580"/>
                <a:gd name="T30" fmla="*/ 1375 w 4806"/>
                <a:gd name="T31" fmla="*/ 2402 h 5580"/>
                <a:gd name="T32" fmla="*/ 651 w 4806"/>
                <a:gd name="T33" fmla="*/ 953 h 5580"/>
                <a:gd name="T34" fmla="*/ 148 w 4806"/>
                <a:gd name="T35" fmla="*/ 0 h 5580"/>
                <a:gd name="T36" fmla="*/ 0 w 4806"/>
                <a:gd name="T37" fmla="*/ 101 h 5580"/>
                <a:gd name="T38" fmla="*/ 0 w 4806"/>
                <a:gd name="T39" fmla="*/ 2890 h 5580"/>
                <a:gd name="T40" fmla="*/ 4658 w 4806"/>
                <a:gd name="T41" fmla="*/ 5580 h 5580"/>
                <a:gd name="T42" fmla="*/ 4658 w 4806"/>
                <a:gd name="T43" fmla="*/ 5394 h 5580"/>
                <a:gd name="T44" fmla="*/ 4806 w 4806"/>
                <a:gd name="T45" fmla="*/ 5479 h 5580"/>
                <a:gd name="T46" fmla="*/ 4806 w 4806"/>
                <a:gd name="T47" fmla="*/ 2842 h 5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06" h="5580">
                  <a:moveTo>
                    <a:pt x="4806" y="2842"/>
                  </a:moveTo>
                  <a:cubicBezTo>
                    <a:pt x="4760" y="2826"/>
                    <a:pt x="4715" y="2835"/>
                    <a:pt x="4674" y="2864"/>
                  </a:cubicBezTo>
                  <a:lnTo>
                    <a:pt x="4535" y="2959"/>
                  </a:lnTo>
                  <a:cubicBezTo>
                    <a:pt x="4414" y="3035"/>
                    <a:pt x="4318" y="3285"/>
                    <a:pt x="4279" y="3610"/>
                  </a:cubicBezTo>
                  <a:cubicBezTo>
                    <a:pt x="4258" y="3783"/>
                    <a:pt x="4188" y="3942"/>
                    <a:pt x="4084" y="4048"/>
                  </a:cubicBezTo>
                  <a:cubicBezTo>
                    <a:pt x="3970" y="4094"/>
                    <a:pt x="3835" y="4088"/>
                    <a:pt x="3687" y="4002"/>
                  </a:cubicBezTo>
                  <a:cubicBezTo>
                    <a:pt x="3295" y="3776"/>
                    <a:pt x="2987" y="3401"/>
                    <a:pt x="2797" y="2661"/>
                  </a:cubicBezTo>
                  <a:cubicBezTo>
                    <a:pt x="2620" y="1974"/>
                    <a:pt x="2383" y="1648"/>
                    <a:pt x="2170" y="1786"/>
                  </a:cubicBezTo>
                  <a:lnTo>
                    <a:pt x="2170" y="1785"/>
                  </a:lnTo>
                  <a:lnTo>
                    <a:pt x="2167" y="1787"/>
                  </a:lnTo>
                  <a:cubicBezTo>
                    <a:pt x="2165" y="1789"/>
                    <a:pt x="2163" y="1790"/>
                    <a:pt x="2161" y="1792"/>
                  </a:cubicBezTo>
                  <a:lnTo>
                    <a:pt x="2034" y="1879"/>
                  </a:lnTo>
                  <a:lnTo>
                    <a:pt x="2034" y="1879"/>
                  </a:lnTo>
                  <a:cubicBezTo>
                    <a:pt x="2014" y="1890"/>
                    <a:pt x="1994" y="1906"/>
                    <a:pt x="1974" y="1925"/>
                  </a:cubicBezTo>
                  <a:cubicBezTo>
                    <a:pt x="1845" y="2054"/>
                    <a:pt x="1748" y="2300"/>
                    <a:pt x="1615" y="2444"/>
                  </a:cubicBezTo>
                  <a:cubicBezTo>
                    <a:pt x="1547" y="2465"/>
                    <a:pt x="1468" y="2456"/>
                    <a:pt x="1375" y="2402"/>
                  </a:cubicBezTo>
                  <a:cubicBezTo>
                    <a:pt x="1011" y="2192"/>
                    <a:pt x="777" y="1479"/>
                    <a:pt x="651" y="953"/>
                  </a:cubicBezTo>
                  <a:cubicBezTo>
                    <a:pt x="525" y="427"/>
                    <a:pt x="148" y="0"/>
                    <a:pt x="148" y="0"/>
                  </a:cubicBezTo>
                  <a:lnTo>
                    <a:pt x="0" y="101"/>
                  </a:lnTo>
                  <a:lnTo>
                    <a:pt x="0" y="2890"/>
                  </a:lnTo>
                  <a:lnTo>
                    <a:pt x="4658" y="5580"/>
                  </a:lnTo>
                  <a:lnTo>
                    <a:pt x="4658" y="5394"/>
                  </a:lnTo>
                  <a:lnTo>
                    <a:pt x="4806" y="5479"/>
                  </a:lnTo>
                  <a:lnTo>
                    <a:pt x="4806" y="2842"/>
                  </a:lnTo>
                  <a:close/>
                </a:path>
              </a:pathLst>
            </a:custGeom>
            <a:solidFill>
              <a:srgbClr val="FF7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536">
              <a:extLst>
                <a:ext uri="{FF2B5EF4-FFF2-40B4-BE49-F238E27FC236}">
                  <a16:creationId xmlns:a16="http://schemas.microsoft.com/office/drawing/2014/main" id="{384BAF05-BE1B-4E27-937F-011E5303513F}"/>
                </a:ext>
              </a:extLst>
            </p:cNvPr>
            <p:cNvSpPr>
              <a:spLocks/>
            </p:cNvSpPr>
            <p:nvPr/>
          </p:nvSpPr>
          <p:spPr bwMode="auto">
            <a:xfrm>
              <a:off x="8905875" y="4137025"/>
              <a:ext cx="188913" cy="166688"/>
            </a:xfrm>
            <a:custGeom>
              <a:avLst/>
              <a:gdLst>
                <a:gd name="T0" fmla="*/ 230 w 230"/>
                <a:gd name="T1" fmla="*/ 203 h 203"/>
                <a:gd name="T2" fmla="*/ 0 w 230"/>
                <a:gd name="T3" fmla="*/ 1 h 203"/>
                <a:gd name="T4" fmla="*/ 0 w 230"/>
                <a:gd name="T5" fmla="*/ 0 h 203"/>
                <a:gd name="T6" fmla="*/ 230 w 230"/>
                <a:gd name="T7" fmla="*/ 203 h 203"/>
                <a:gd name="T8" fmla="*/ 230 w 230"/>
                <a:gd name="T9" fmla="*/ 203 h 203"/>
              </a:gdLst>
              <a:ahLst/>
              <a:cxnLst>
                <a:cxn ang="0">
                  <a:pos x="T0" y="T1"/>
                </a:cxn>
                <a:cxn ang="0">
                  <a:pos x="T2" y="T3"/>
                </a:cxn>
                <a:cxn ang="0">
                  <a:pos x="T4" y="T5"/>
                </a:cxn>
                <a:cxn ang="0">
                  <a:pos x="T6" y="T7"/>
                </a:cxn>
                <a:cxn ang="0">
                  <a:pos x="T8" y="T9"/>
                </a:cxn>
              </a:cxnLst>
              <a:rect l="0" t="0" r="r" b="b"/>
              <a:pathLst>
                <a:path w="230" h="203">
                  <a:moveTo>
                    <a:pt x="230" y="203"/>
                  </a:moveTo>
                  <a:cubicBezTo>
                    <a:pt x="149" y="145"/>
                    <a:pt x="72" y="78"/>
                    <a:pt x="0" y="1"/>
                  </a:cubicBezTo>
                  <a:lnTo>
                    <a:pt x="0" y="0"/>
                  </a:lnTo>
                  <a:cubicBezTo>
                    <a:pt x="72" y="78"/>
                    <a:pt x="149" y="145"/>
                    <a:pt x="230" y="203"/>
                  </a:cubicBezTo>
                  <a:cubicBezTo>
                    <a:pt x="230" y="203"/>
                    <a:pt x="230" y="203"/>
                    <a:pt x="230" y="203"/>
                  </a:cubicBezTo>
                </a:path>
              </a:pathLst>
            </a:custGeom>
            <a:solidFill>
              <a:srgbClr val="CC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537">
              <a:extLst>
                <a:ext uri="{FF2B5EF4-FFF2-40B4-BE49-F238E27FC236}">
                  <a16:creationId xmlns:a16="http://schemas.microsoft.com/office/drawing/2014/main" id="{FD1696A2-A45E-40A4-A844-9E46D7813024}"/>
                </a:ext>
              </a:extLst>
            </p:cNvPr>
            <p:cNvSpPr>
              <a:spLocks/>
            </p:cNvSpPr>
            <p:nvPr/>
          </p:nvSpPr>
          <p:spPr bwMode="auto">
            <a:xfrm>
              <a:off x="9094788" y="4303713"/>
              <a:ext cx="46038" cy="31750"/>
            </a:xfrm>
            <a:custGeom>
              <a:avLst/>
              <a:gdLst>
                <a:gd name="T0" fmla="*/ 56 w 56"/>
                <a:gd name="T1" fmla="*/ 39 h 39"/>
                <a:gd name="T2" fmla="*/ 0 w 56"/>
                <a:gd name="T3" fmla="*/ 0 h 39"/>
                <a:gd name="T4" fmla="*/ 0 w 56"/>
                <a:gd name="T5" fmla="*/ 0 h 39"/>
                <a:gd name="T6" fmla="*/ 56 w 56"/>
                <a:gd name="T7" fmla="*/ 39 h 39"/>
                <a:gd name="T8" fmla="*/ 56 w 56"/>
                <a:gd name="T9" fmla="*/ 39 h 39"/>
              </a:gdLst>
              <a:ahLst/>
              <a:cxnLst>
                <a:cxn ang="0">
                  <a:pos x="T0" y="T1"/>
                </a:cxn>
                <a:cxn ang="0">
                  <a:pos x="T2" y="T3"/>
                </a:cxn>
                <a:cxn ang="0">
                  <a:pos x="T4" y="T5"/>
                </a:cxn>
                <a:cxn ang="0">
                  <a:pos x="T6" y="T7"/>
                </a:cxn>
                <a:cxn ang="0">
                  <a:pos x="T8" y="T9"/>
                </a:cxn>
              </a:cxnLst>
              <a:rect l="0" t="0" r="r" b="b"/>
              <a:pathLst>
                <a:path w="56" h="39">
                  <a:moveTo>
                    <a:pt x="56" y="39"/>
                  </a:moveTo>
                  <a:cubicBezTo>
                    <a:pt x="37" y="26"/>
                    <a:pt x="18" y="14"/>
                    <a:pt x="0" y="0"/>
                  </a:cubicBezTo>
                  <a:cubicBezTo>
                    <a:pt x="0" y="0"/>
                    <a:pt x="0" y="0"/>
                    <a:pt x="0" y="0"/>
                  </a:cubicBezTo>
                  <a:cubicBezTo>
                    <a:pt x="18" y="14"/>
                    <a:pt x="37" y="26"/>
                    <a:pt x="56" y="39"/>
                  </a:cubicBezTo>
                  <a:lnTo>
                    <a:pt x="56" y="39"/>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538">
              <a:extLst>
                <a:ext uri="{FF2B5EF4-FFF2-40B4-BE49-F238E27FC236}">
                  <a16:creationId xmlns:a16="http://schemas.microsoft.com/office/drawing/2014/main" id="{3C43178C-BAB3-4AE5-92C2-2CAA8D1AA963}"/>
                </a:ext>
              </a:extLst>
            </p:cNvPr>
            <p:cNvSpPr>
              <a:spLocks/>
            </p:cNvSpPr>
            <p:nvPr/>
          </p:nvSpPr>
          <p:spPr bwMode="auto">
            <a:xfrm>
              <a:off x="8905875" y="4138613"/>
              <a:ext cx="234950" cy="277813"/>
            </a:xfrm>
            <a:custGeom>
              <a:avLst/>
              <a:gdLst>
                <a:gd name="T0" fmla="*/ 133 w 286"/>
                <a:gd name="T1" fmla="*/ 338 h 338"/>
                <a:gd name="T2" fmla="*/ 0 w 286"/>
                <a:gd name="T3" fmla="*/ 231 h 338"/>
                <a:gd name="T4" fmla="*/ 0 w 286"/>
                <a:gd name="T5" fmla="*/ 0 h 338"/>
                <a:gd name="T6" fmla="*/ 230 w 286"/>
                <a:gd name="T7" fmla="*/ 202 h 338"/>
                <a:gd name="T8" fmla="*/ 286 w 286"/>
                <a:gd name="T9" fmla="*/ 241 h 338"/>
                <a:gd name="T10" fmla="*/ 133 w 286"/>
                <a:gd name="T11" fmla="*/ 338 h 338"/>
              </a:gdLst>
              <a:ahLst/>
              <a:cxnLst>
                <a:cxn ang="0">
                  <a:pos x="T0" y="T1"/>
                </a:cxn>
                <a:cxn ang="0">
                  <a:pos x="T2" y="T3"/>
                </a:cxn>
                <a:cxn ang="0">
                  <a:pos x="T4" y="T5"/>
                </a:cxn>
                <a:cxn ang="0">
                  <a:pos x="T6" y="T7"/>
                </a:cxn>
                <a:cxn ang="0">
                  <a:pos x="T8" y="T9"/>
                </a:cxn>
                <a:cxn ang="0">
                  <a:pos x="T10" y="T11"/>
                </a:cxn>
              </a:cxnLst>
              <a:rect l="0" t="0" r="r" b="b"/>
              <a:pathLst>
                <a:path w="286" h="338">
                  <a:moveTo>
                    <a:pt x="133" y="338"/>
                  </a:moveTo>
                  <a:lnTo>
                    <a:pt x="0" y="231"/>
                  </a:lnTo>
                  <a:lnTo>
                    <a:pt x="0" y="0"/>
                  </a:lnTo>
                  <a:cubicBezTo>
                    <a:pt x="72" y="77"/>
                    <a:pt x="149" y="144"/>
                    <a:pt x="230" y="202"/>
                  </a:cubicBezTo>
                  <a:cubicBezTo>
                    <a:pt x="248" y="216"/>
                    <a:pt x="267" y="228"/>
                    <a:pt x="286" y="241"/>
                  </a:cubicBezTo>
                  <a:lnTo>
                    <a:pt x="133" y="338"/>
                  </a:lnTo>
                </a:path>
              </a:pathLst>
            </a:custGeom>
            <a:solidFill>
              <a:srgbClr val="E56A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539">
              <a:extLst>
                <a:ext uri="{FF2B5EF4-FFF2-40B4-BE49-F238E27FC236}">
                  <a16:creationId xmlns:a16="http://schemas.microsoft.com/office/drawing/2014/main" id="{76ECD5F2-1B09-4A8E-A084-C76C0B4419C9}"/>
                </a:ext>
              </a:extLst>
            </p:cNvPr>
            <p:cNvSpPr>
              <a:spLocks/>
            </p:cNvSpPr>
            <p:nvPr/>
          </p:nvSpPr>
          <p:spPr bwMode="auto">
            <a:xfrm>
              <a:off x="6192838" y="1181100"/>
              <a:ext cx="3814763" cy="4494213"/>
            </a:xfrm>
            <a:custGeom>
              <a:avLst/>
              <a:gdLst>
                <a:gd name="T0" fmla="*/ 0 w 4658"/>
                <a:gd name="T1" fmla="*/ 2789 h 5479"/>
                <a:gd name="T2" fmla="*/ 0 w 4658"/>
                <a:gd name="T3" fmla="*/ 0 h 5479"/>
                <a:gd name="T4" fmla="*/ 504 w 4658"/>
                <a:gd name="T5" fmla="*/ 953 h 5479"/>
                <a:gd name="T6" fmla="*/ 1227 w 4658"/>
                <a:gd name="T7" fmla="*/ 2402 h 5479"/>
                <a:gd name="T8" fmla="*/ 1974 w 4658"/>
                <a:gd name="T9" fmla="*/ 1824 h 5479"/>
                <a:gd name="T10" fmla="*/ 2649 w 4658"/>
                <a:gd name="T11" fmla="*/ 2661 h 5479"/>
                <a:gd name="T12" fmla="*/ 3539 w 4658"/>
                <a:gd name="T13" fmla="*/ 4002 h 5479"/>
                <a:gd name="T14" fmla="*/ 4279 w 4658"/>
                <a:gd name="T15" fmla="*/ 3509 h 5479"/>
                <a:gd name="T16" fmla="*/ 4658 w 4658"/>
                <a:gd name="T17" fmla="*/ 2842 h 5479"/>
                <a:gd name="T18" fmla="*/ 4658 w 4658"/>
                <a:gd name="T19" fmla="*/ 5479 h 5479"/>
                <a:gd name="T20" fmla="*/ 0 w 4658"/>
                <a:gd name="T21" fmla="*/ 2789 h 5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58" h="5479">
                  <a:moveTo>
                    <a:pt x="0" y="2789"/>
                  </a:moveTo>
                  <a:lnTo>
                    <a:pt x="0" y="0"/>
                  </a:lnTo>
                  <a:cubicBezTo>
                    <a:pt x="0" y="0"/>
                    <a:pt x="378" y="427"/>
                    <a:pt x="504" y="953"/>
                  </a:cubicBezTo>
                  <a:cubicBezTo>
                    <a:pt x="630" y="1479"/>
                    <a:pt x="863" y="2192"/>
                    <a:pt x="1227" y="2402"/>
                  </a:cubicBezTo>
                  <a:cubicBezTo>
                    <a:pt x="1623" y="2630"/>
                    <a:pt x="1749" y="2049"/>
                    <a:pt x="1974" y="1824"/>
                  </a:cubicBezTo>
                  <a:cubicBezTo>
                    <a:pt x="2199" y="1600"/>
                    <a:pt x="2459" y="1921"/>
                    <a:pt x="2649" y="2661"/>
                  </a:cubicBezTo>
                  <a:cubicBezTo>
                    <a:pt x="2840" y="3401"/>
                    <a:pt x="3148" y="3776"/>
                    <a:pt x="3539" y="4002"/>
                  </a:cubicBezTo>
                  <a:cubicBezTo>
                    <a:pt x="3931" y="4228"/>
                    <a:pt x="4231" y="3902"/>
                    <a:pt x="4279" y="3509"/>
                  </a:cubicBezTo>
                  <a:cubicBezTo>
                    <a:pt x="4331" y="3079"/>
                    <a:pt x="4483" y="2780"/>
                    <a:pt x="4658" y="2842"/>
                  </a:cubicBezTo>
                  <a:lnTo>
                    <a:pt x="4658" y="5479"/>
                  </a:lnTo>
                  <a:lnTo>
                    <a:pt x="0" y="2789"/>
                  </a:lnTo>
                  <a:close/>
                </a:path>
              </a:pathLst>
            </a:custGeom>
            <a:solidFill>
              <a:srgbClr val="CF5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540">
              <a:extLst>
                <a:ext uri="{FF2B5EF4-FFF2-40B4-BE49-F238E27FC236}">
                  <a16:creationId xmlns:a16="http://schemas.microsoft.com/office/drawing/2014/main" id="{77025BCF-6E8F-41EB-B7C7-D97B8531FCA9}"/>
                </a:ext>
              </a:extLst>
            </p:cNvPr>
            <p:cNvSpPr>
              <a:spLocks/>
            </p:cNvSpPr>
            <p:nvPr/>
          </p:nvSpPr>
          <p:spPr bwMode="auto">
            <a:xfrm>
              <a:off x="8905875" y="5037138"/>
              <a:ext cx="109538" cy="63500"/>
            </a:xfrm>
            <a:custGeom>
              <a:avLst/>
              <a:gdLst>
                <a:gd name="T0" fmla="*/ 69 w 69"/>
                <a:gd name="T1" fmla="*/ 40 h 40"/>
                <a:gd name="T2" fmla="*/ 0 w 69"/>
                <a:gd name="T3" fmla="*/ 0 h 40"/>
                <a:gd name="T4" fmla="*/ 0 w 69"/>
                <a:gd name="T5" fmla="*/ 0 h 40"/>
                <a:gd name="T6" fmla="*/ 69 w 69"/>
                <a:gd name="T7" fmla="*/ 40 h 40"/>
                <a:gd name="T8" fmla="*/ 69 w 69"/>
                <a:gd name="T9" fmla="*/ 40 h 40"/>
              </a:gdLst>
              <a:ahLst/>
              <a:cxnLst>
                <a:cxn ang="0">
                  <a:pos x="T0" y="T1"/>
                </a:cxn>
                <a:cxn ang="0">
                  <a:pos x="T2" y="T3"/>
                </a:cxn>
                <a:cxn ang="0">
                  <a:pos x="T4" y="T5"/>
                </a:cxn>
                <a:cxn ang="0">
                  <a:pos x="T6" y="T7"/>
                </a:cxn>
                <a:cxn ang="0">
                  <a:pos x="T8" y="T9"/>
                </a:cxn>
              </a:cxnLst>
              <a:rect l="0" t="0" r="r" b="b"/>
              <a:pathLst>
                <a:path w="69" h="40">
                  <a:moveTo>
                    <a:pt x="69" y="40"/>
                  </a:moveTo>
                  <a:lnTo>
                    <a:pt x="0" y="0"/>
                  </a:lnTo>
                  <a:lnTo>
                    <a:pt x="0" y="0"/>
                  </a:lnTo>
                  <a:lnTo>
                    <a:pt x="69" y="40"/>
                  </a:lnTo>
                  <a:lnTo>
                    <a:pt x="69" y="40"/>
                  </a:lnTo>
                  <a:close/>
                </a:path>
              </a:pathLst>
            </a:custGeom>
            <a:solidFill>
              <a:srgbClr val="B7C9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541">
              <a:extLst>
                <a:ext uri="{FF2B5EF4-FFF2-40B4-BE49-F238E27FC236}">
                  <a16:creationId xmlns:a16="http://schemas.microsoft.com/office/drawing/2014/main" id="{DD084FDD-07A7-4A2F-A7E8-75FF365964E4}"/>
                </a:ext>
              </a:extLst>
            </p:cNvPr>
            <p:cNvSpPr>
              <a:spLocks/>
            </p:cNvSpPr>
            <p:nvPr/>
          </p:nvSpPr>
          <p:spPr bwMode="auto">
            <a:xfrm>
              <a:off x="8905875" y="4333875"/>
              <a:ext cx="109538" cy="82550"/>
            </a:xfrm>
            <a:custGeom>
              <a:avLst/>
              <a:gdLst>
                <a:gd name="T0" fmla="*/ 133 w 133"/>
                <a:gd name="T1" fmla="*/ 99 h 99"/>
                <a:gd name="T2" fmla="*/ 0 w 133"/>
                <a:gd name="T3" fmla="*/ 0 h 99"/>
                <a:gd name="T4" fmla="*/ 0 w 133"/>
                <a:gd name="T5" fmla="*/ 0 h 99"/>
                <a:gd name="T6" fmla="*/ 133 w 133"/>
                <a:gd name="T7" fmla="*/ 99 h 99"/>
                <a:gd name="T8" fmla="*/ 133 w 133"/>
                <a:gd name="T9" fmla="*/ 99 h 99"/>
              </a:gdLst>
              <a:ahLst/>
              <a:cxnLst>
                <a:cxn ang="0">
                  <a:pos x="T0" y="T1"/>
                </a:cxn>
                <a:cxn ang="0">
                  <a:pos x="T2" y="T3"/>
                </a:cxn>
                <a:cxn ang="0">
                  <a:pos x="T4" y="T5"/>
                </a:cxn>
                <a:cxn ang="0">
                  <a:pos x="T6" y="T7"/>
                </a:cxn>
                <a:cxn ang="0">
                  <a:pos x="T8" y="T9"/>
                </a:cxn>
              </a:cxnLst>
              <a:rect l="0" t="0" r="r" b="b"/>
              <a:pathLst>
                <a:path w="133" h="99">
                  <a:moveTo>
                    <a:pt x="133" y="99"/>
                  </a:moveTo>
                  <a:cubicBezTo>
                    <a:pt x="87" y="69"/>
                    <a:pt x="43" y="36"/>
                    <a:pt x="0" y="0"/>
                  </a:cubicBezTo>
                  <a:lnTo>
                    <a:pt x="0" y="0"/>
                  </a:lnTo>
                  <a:cubicBezTo>
                    <a:pt x="43" y="36"/>
                    <a:pt x="87" y="68"/>
                    <a:pt x="133" y="99"/>
                  </a:cubicBezTo>
                  <a:lnTo>
                    <a:pt x="133" y="99"/>
                  </a:lnTo>
                  <a:close/>
                </a:path>
              </a:pathLst>
            </a:custGeom>
            <a:solidFill>
              <a:srgbClr val="E56A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542">
              <a:extLst>
                <a:ext uri="{FF2B5EF4-FFF2-40B4-BE49-F238E27FC236}">
                  <a16:creationId xmlns:a16="http://schemas.microsoft.com/office/drawing/2014/main" id="{5AE41FA8-6818-40F7-A67B-7E21D10BA985}"/>
                </a:ext>
              </a:extLst>
            </p:cNvPr>
            <p:cNvSpPr>
              <a:spLocks/>
            </p:cNvSpPr>
            <p:nvPr/>
          </p:nvSpPr>
          <p:spPr bwMode="auto">
            <a:xfrm>
              <a:off x="8905875" y="4333875"/>
              <a:ext cx="109538" cy="766763"/>
            </a:xfrm>
            <a:custGeom>
              <a:avLst/>
              <a:gdLst>
                <a:gd name="T0" fmla="*/ 133 w 133"/>
                <a:gd name="T1" fmla="*/ 934 h 934"/>
                <a:gd name="T2" fmla="*/ 0 w 133"/>
                <a:gd name="T3" fmla="*/ 857 h 934"/>
                <a:gd name="T4" fmla="*/ 0 w 133"/>
                <a:gd name="T5" fmla="*/ 0 h 934"/>
                <a:gd name="T6" fmla="*/ 133 w 133"/>
                <a:gd name="T7" fmla="*/ 99 h 934"/>
                <a:gd name="T8" fmla="*/ 133 w 133"/>
                <a:gd name="T9" fmla="*/ 934 h 934"/>
              </a:gdLst>
              <a:ahLst/>
              <a:cxnLst>
                <a:cxn ang="0">
                  <a:pos x="T0" y="T1"/>
                </a:cxn>
                <a:cxn ang="0">
                  <a:pos x="T2" y="T3"/>
                </a:cxn>
                <a:cxn ang="0">
                  <a:pos x="T4" y="T5"/>
                </a:cxn>
                <a:cxn ang="0">
                  <a:pos x="T6" y="T7"/>
                </a:cxn>
                <a:cxn ang="0">
                  <a:pos x="T8" y="T9"/>
                </a:cxn>
              </a:cxnLst>
              <a:rect l="0" t="0" r="r" b="b"/>
              <a:pathLst>
                <a:path w="133" h="934">
                  <a:moveTo>
                    <a:pt x="133" y="934"/>
                  </a:moveTo>
                  <a:lnTo>
                    <a:pt x="0" y="857"/>
                  </a:lnTo>
                  <a:lnTo>
                    <a:pt x="0" y="0"/>
                  </a:lnTo>
                  <a:cubicBezTo>
                    <a:pt x="43" y="36"/>
                    <a:pt x="87" y="69"/>
                    <a:pt x="133" y="99"/>
                  </a:cubicBezTo>
                  <a:lnTo>
                    <a:pt x="133" y="934"/>
                  </a:lnTo>
                  <a:close/>
                </a:path>
              </a:pathLst>
            </a:custGeom>
            <a:solidFill>
              <a:srgbClr val="BA4F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543">
              <a:extLst>
                <a:ext uri="{FF2B5EF4-FFF2-40B4-BE49-F238E27FC236}">
                  <a16:creationId xmlns:a16="http://schemas.microsoft.com/office/drawing/2014/main" id="{F1AF49C8-52AC-4705-B792-E412C8CF4D76}"/>
                </a:ext>
              </a:extLst>
            </p:cNvPr>
            <p:cNvSpPr>
              <a:spLocks/>
            </p:cNvSpPr>
            <p:nvPr/>
          </p:nvSpPr>
          <p:spPr bwMode="auto">
            <a:xfrm>
              <a:off x="10007600" y="3429000"/>
              <a:ext cx="122238" cy="2246313"/>
            </a:xfrm>
            <a:custGeom>
              <a:avLst/>
              <a:gdLst>
                <a:gd name="T0" fmla="*/ 0 w 77"/>
                <a:gd name="T1" fmla="*/ 1415 h 1415"/>
                <a:gd name="T2" fmla="*/ 77 w 77"/>
                <a:gd name="T3" fmla="*/ 1362 h 1415"/>
                <a:gd name="T4" fmla="*/ 77 w 77"/>
                <a:gd name="T5" fmla="*/ 0 h 1415"/>
                <a:gd name="T6" fmla="*/ 0 w 77"/>
                <a:gd name="T7" fmla="*/ 52 h 1415"/>
                <a:gd name="T8" fmla="*/ 0 w 77"/>
                <a:gd name="T9" fmla="*/ 1415 h 1415"/>
              </a:gdLst>
              <a:ahLst/>
              <a:cxnLst>
                <a:cxn ang="0">
                  <a:pos x="T0" y="T1"/>
                </a:cxn>
                <a:cxn ang="0">
                  <a:pos x="T2" y="T3"/>
                </a:cxn>
                <a:cxn ang="0">
                  <a:pos x="T4" y="T5"/>
                </a:cxn>
                <a:cxn ang="0">
                  <a:pos x="T6" y="T7"/>
                </a:cxn>
                <a:cxn ang="0">
                  <a:pos x="T8" y="T9"/>
                </a:cxn>
              </a:cxnLst>
              <a:rect l="0" t="0" r="r" b="b"/>
              <a:pathLst>
                <a:path w="77" h="1415">
                  <a:moveTo>
                    <a:pt x="0" y="1415"/>
                  </a:moveTo>
                  <a:lnTo>
                    <a:pt x="77" y="1362"/>
                  </a:lnTo>
                  <a:lnTo>
                    <a:pt x="77" y="0"/>
                  </a:lnTo>
                  <a:lnTo>
                    <a:pt x="0" y="52"/>
                  </a:lnTo>
                  <a:lnTo>
                    <a:pt x="0" y="1415"/>
                  </a:lnTo>
                  <a:close/>
                </a:path>
              </a:pathLst>
            </a:custGeom>
            <a:solidFill>
              <a:srgbClr val="9941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544">
              <a:extLst>
                <a:ext uri="{FF2B5EF4-FFF2-40B4-BE49-F238E27FC236}">
                  <a16:creationId xmlns:a16="http://schemas.microsoft.com/office/drawing/2014/main" id="{853E93D4-F457-4586-B018-36324E746B92}"/>
                </a:ext>
              </a:extLst>
            </p:cNvPr>
            <p:cNvSpPr>
              <a:spLocks/>
            </p:cNvSpPr>
            <p:nvPr/>
          </p:nvSpPr>
          <p:spPr bwMode="auto">
            <a:xfrm>
              <a:off x="5586413" y="3895725"/>
              <a:ext cx="1441450" cy="950913"/>
            </a:xfrm>
            <a:custGeom>
              <a:avLst/>
              <a:gdLst>
                <a:gd name="T0" fmla="*/ 1760 w 1761"/>
                <a:gd name="T1" fmla="*/ 514 h 1159"/>
                <a:gd name="T2" fmla="*/ 1740 w 1761"/>
                <a:gd name="T3" fmla="*/ 482 h 1159"/>
                <a:gd name="T4" fmla="*/ 935 w 1761"/>
                <a:gd name="T5" fmla="*/ 18 h 1159"/>
                <a:gd name="T6" fmla="*/ 817 w 1761"/>
                <a:gd name="T7" fmla="*/ 23 h 1159"/>
                <a:gd name="T8" fmla="*/ 30 w 1761"/>
                <a:gd name="T9" fmla="*/ 477 h 1159"/>
                <a:gd name="T10" fmla="*/ 1 w 1761"/>
                <a:gd name="T11" fmla="*/ 514 h 1159"/>
                <a:gd name="T12" fmla="*/ 1 w 1761"/>
                <a:gd name="T13" fmla="*/ 514 h 1159"/>
                <a:gd name="T14" fmla="*/ 1 w 1761"/>
                <a:gd name="T15" fmla="*/ 646 h 1159"/>
                <a:gd name="T16" fmla="*/ 1 w 1761"/>
                <a:gd name="T17" fmla="*/ 646 h 1159"/>
                <a:gd name="T18" fmla="*/ 21 w 1761"/>
                <a:gd name="T19" fmla="*/ 678 h 1159"/>
                <a:gd name="T20" fmla="*/ 825 w 1761"/>
                <a:gd name="T21" fmla="*/ 1142 h 1159"/>
                <a:gd name="T22" fmla="*/ 944 w 1761"/>
                <a:gd name="T23" fmla="*/ 1137 h 1159"/>
                <a:gd name="T24" fmla="*/ 1731 w 1761"/>
                <a:gd name="T25" fmla="*/ 683 h 1159"/>
                <a:gd name="T26" fmla="*/ 1760 w 1761"/>
                <a:gd name="T27" fmla="*/ 646 h 1159"/>
                <a:gd name="T28" fmla="*/ 1760 w 1761"/>
                <a:gd name="T29" fmla="*/ 646 h 1159"/>
                <a:gd name="T30" fmla="*/ 1760 w 1761"/>
                <a:gd name="T31" fmla="*/ 514 h 1159"/>
                <a:gd name="T32" fmla="*/ 1760 w 1761"/>
                <a:gd name="T33" fmla="*/ 514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1" h="1159">
                  <a:moveTo>
                    <a:pt x="1760" y="514"/>
                  </a:moveTo>
                  <a:cubicBezTo>
                    <a:pt x="1761" y="502"/>
                    <a:pt x="1754" y="491"/>
                    <a:pt x="1740" y="482"/>
                  </a:cubicBezTo>
                  <a:lnTo>
                    <a:pt x="935" y="18"/>
                  </a:lnTo>
                  <a:cubicBezTo>
                    <a:pt x="905" y="0"/>
                    <a:pt x="852" y="3"/>
                    <a:pt x="817" y="23"/>
                  </a:cubicBezTo>
                  <a:lnTo>
                    <a:pt x="30" y="477"/>
                  </a:lnTo>
                  <a:cubicBezTo>
                    <a:pt x="11" y="488"/>
                    <a:pt x="2" y="501"/>
                    <a:pt x="1" y="514"/>
                  </a:cubicBezTo>
                  <a:lnTo>
                    <a:pt x="1" y="514"/>
                  </a:lnTo>
                  <a:lnTo>
                    <a:pt x="1" y="646"/>
                  </a:lnTo>
                  <a:lnTo>
                    <a:pt x="1" y="646"/>
                  </a:lnTo>
                  <a:cubicBezTo>
                    <a:pt x="0" y="658"/>
                    <a:pt x="6" y="669"/>
                    <a:pt x="21" y="678"/>
                  </a:cubicBezTo>
                  <a:lnTo>
                    <a:pt x="825" y="1142"/>
                  </a:lnTo>
                  <a:cubicBezTo>
                    <a:pt x="856" y="1159"/>
                    <a:pt x="909" y="1157"/>
                    <a:pt x="944" y="1137"/>
                  </a:cubicBezTo>
                  <a:lnTo>
                    <a:pt x="1731" y="683"/>
                  </a:lnTo>
                  <a:cubicBezTo>
                    <a:pt x="1749" y="672"/>
                    <a:pt x="1759" y="659"/>
                    <a:pt x="1760" y="646"/>
                  </a:cubicBezTo>
                  <a:lnTo>
                    <a:pt x="1760" y="646"/>
                  </a:lnTo>
                  <a:lnTo>
                    <a:pt x="1760" y="514"/>
                  </a:lnTo>
                  <a:lnTo>
                    <a:pt x="1760" y="514"/>
                  </a:lnTo>
                </a:path>
              </a:pathLst>
            </a:custGeom>
            <a:solidFill>
              <a:srgbClr val="A6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545">
              <a:extLst>
                <a:ext uri="{FF2B5EF4-FFF2-40B4-BE49-F238E27FC236}">
                  <a16:creationId xmlns:a16="http://schemas.microsoft.com/office/drawing/2014/main" id="{E6A68BA5-726B-4002-8DDF-00930AF8E15B}"/>
                </a:ext>
              </a:extLst>
            </p:cNvPr>
            <p:cNvSpPr>
              <a:spLocks/>
            </p:cNvSpPr>
            <p:nvPr/>
          </p:nvSpPr>
          <p:spPr bwMode="auto">
            <a:xfrm>
              <a:off x="6307138" y="4379913"/>
              <a:ext cx="641350" cy="461963"/>
            </a:xfrm>
            <a:custGeom>
              <a:avLst/>
              <a:gdLst>
                <a:gd name="T0" fmla="*/ 0 w 783"/>
                <a:gd name="T1" fmla="*/ 564 h 564"/>
                <a:gd name="T2" fmla="*/ 0 w 783"/>
                <a:gd name="T3" fmla="*/ 432 h 564"/>
                <a:gd name="T4" fmla="*/ 64 w 783"/>
                <a:gd name="T5" fmla="*/ 415 h 564"/>
                <a:gd name="T6" fmla="*/ 783 w 783"/>
                <a:gd name="T7" fmla="*/ 0 h 564"/>
                <a:gd name="T8" fmla="*/ 739 w 783"/>
                <a:gd name="T9" fmla="*/ 157 h 564"/>
                <a:gd name="T10" fmla="*/ 64 w 783"/>
                <a:gd name="T11" fmla="*/ 547 h 564"/>
                <a:gd name="T12" fmla="*/ 64 w 783"/>
                <a:gd name="T13" fmla="*/ 547 h 564"/>
                <a:gd name="T14" fmla="*/ 0 w 783"/>
                <a:gd name="T15" fmla="*/ 564 h 5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3" h="564">
                  <a:moveTo>
                    <a:pt x="0" y="564"/>
                  </a:moveTo>
                  <a:lnTo>
                    <a:pt x="0" y="432"/>
                  </a:lnTo>
                  <a:cubicBezTo>
                    <a:pt x="23" y="431"/>
                    <a:pt x="46" y="426"/>
                    <a:pt x="64" y="415"/>
                  </a:cubicBezTo>
                  <a:lnTo>
                    <a:pt x="783" y="0"/>
                  </a:lnTo>
                  <a:cubicBezTo>
                    <a:pt x="770" y="52"/>
                    <a:pt x="756" y="104"/>
                    <a:pt x="739" y="157"/>
                  </a:cubicBezTo>
                  <a:lnTo>
                    <a:pt x="64" y="547"/>
                  </a:lnTo>
                  <a:lnTo>
                    <a:pt x="64" y="547"/>
                  </a:lnTo>
                  <a:cubicBezTo>
                    <a:pt x="46" y="557"/>
                    <a:pt x="23" y="563"/>
                    <a:pt x="0" y="564"/>
                  </a:cubicBezTo>
                </a:path>
              </a:pathLst>
            </a:custGeom>
            <a:solidFill>
              <a:srgbClr val="8DA2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546">
              <a:extLst>
                <a:ext uri="{FF2B5EF4-FFF2-40B4-BE49-F238E27FC236}">
                  <a16:creationId xmlns:a16="http://schemas.microsoft.com/office/drawing/2014/main" id="{B2A426B9-7E75-49DA-8630-F1A4378414D6}"/>
                </a:ext>
              </a:extLst>
            </p:cNvPr>
            <p:cNvSpPr>
              <a:spLocks/>
            </p:cNvSpPr>
            <p:nvPr/>
          </p:nvSpPr>
          <p:spPr bwMode="auto">
            <a:xfrm>
              <a:off x="5578475" y="3895725"/>
              <a:ext cx="1457325" cy="842963"/>
            </a:xfrm>
            <a:custGeom>
              <a:avLst/>
              <a:gdLst>
                <a:gd name="T0" fmla="*/ 834 w 1779"/>
                <a:gd name="T1" fmla="*/ 1010 h 1028"/>
                <a:gd name="T2" fmla="*/ 30 w 1779"/>
                <a:gd name="T3" fmla="*/ 546 h 1028"/>
                <a:gd name="T4" fmla="*/ 39 w 1779"/>
                <a:gd name="T5" fmla="*/ 477 h 1028"/>
                <a:gd name="T6" fmla="*/ 826 w 1779"/>
                <a:gd name="T7" fmla="*/ 23 h 1028"/>
                <a:gd name="T8" fmla="*/ 944 w 1779"/>
                <a:gd name="T9" fmla="*/ 18 h 1028"/>
                <a:gd name="T10" fmla="*/ 1749 w 1779"/>
                <a:gd name="T11" fmla="*/ 482 h 1028"/>
                <a:gd name="T12" fmla="*/ 1740 w 1779"/>
                <a:gd name="T13" fmla="*/ 551 h 1028"/>
                <a:gd name="T14" fmla="*/ 953 w 1779"/>
                <a:gd name="T15" fmla="*/ 1005 h 1028"/>
                <a:gd name="T16" fmla="*/ 834 w 1779"/>
                <a:gd name="T17" fmla="*/ 101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9" h="1028">
                  <a:moveTo>
                    <a:pt x="834" y="1010"/>
                  </a:moveTo>
                  <a:lnTo>
                    <a:pt x="30" y="546"/>
                  </a:lnTo>
                  <a:cubicBezTo>
                    <a:pt x="0" y="528"/>
                    <a:pt x="4" y="497"/>
                    <a:pt x="39" y="477"/>
                  </a:cubicBezTo>
                  <a:lnTo>
                    <a:pt x="826" y="23"/>
                  </a:lnTo>
                  <a:cubicBezTo>
                    <a:pt x="861" y="3"/>
                    <a:pt x="914" y="0"/>
                    <a:pt x="944" y="18"/>
                  </a:cubicBezTo>
                  <a:lnTo>
                    <a:pt x="1749" y="482"/>
                  </a:lnTo>
                  <a:cubicBezTo>
                    <a:pt x="1779" y="500"/>
                    <a:pt x="1775" y="530"/>
                    <a:pt x="1740" y="551"/>
                  </a:cubicBezTo>
                  <a:lnTo>
                    <a:pt x="953" y="1005"/>
                  </a:lnTo>
                  <a:cubicBezTo>
                    <a:pt x="918" y="1025"/>
                    <a:pt x="865" y="1028"/>
                    <a:pt x="834" y="1010"/>
                  </a:cubicBezTo>
                </a:path>
              </a:pathLst>
            </a:custGeom>
            <a:solidFill>
              <a:srgbClr val="BCD7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547">
              <a:extLst>
                <a:ext uri="{FF2B5EF4-FFF2-40B4-BE49-F238E27FC236}">
                  <a16:creationId xmlns:a16="http://schemas.microsoft.com/office/drawing/2014/main" id="{3E0925C4-ACCC-48D8-B98E-6A2B9589B7AE}"/>
                </a:ext>
              </a:extLst>
            </p:cNvPr>
            <p:cNvSpPr>
              <a:spLocks/>
            </p:cNvSpPr>
            <p:nvPr/>
          </p:nvSpPr>
          <p:spPr bwMode="auto">
            <a:xfrm>
              <a:off x="5991225" y="4486275"/>
              <a:ext cx="638175" cy="214313"/>
            </a:xfrm>
            <a:custGeom>
              <a:avLst/>
              <a:gdLst>
                <a:gd name="T0" fmla="*/ 388 w 778"/>
                <a:gd name="T1" fmla="*/ 261 h 261"/>
                <a:gd name="T2" fmla="*/ 365 w 778"/>
                <a:gd name="T3" fmla="*/ 256 h 261"/>
                <a:gd name="T4" fmla="*/ 14 w 778"/>
                <a:gd name="T5" fmla="*/ 53 h 261"/>
                <a:gd name="T6" fmla="*/ 17 w 778"/>
                <a:gd name="T7" fmla="*/ 23 h 261"/>
                <a:gd name="T8" fmla="*/ 58 w 778"/>
                <a:gd name="T9" fmla="*/ 0 h 261"/>
                <a:gd name="T10" fmla="*/ 58 w 778"/>
                <a:gd name="T11" fmla="*/ 36 h 261"/>
                <a:gd name="T12" fmla="*/ 58 w 778"/>
                <a:gd name="T13" fmla="*/ 36 h 261"/>
                <a:gd name="T14" fmla="*/ 66 w 778"/>
                <a:gd name="T15" fmla="*/ 48 h 261"/>
                <a:gd name="T16" fmla="*/ 368 w 778"/>
                <a:gd name="T17" fmla="*/ 223 h 261"/>
                <a:gd name="T18" fmla="*/ 388 w 778"/>
                <a:gd name="T19" fmla="*/ 227 h 261"/>
                <a:gd name="T20" fmla="*/ 413 w 778"/>
                <a:gd name="T21" fmla="*/ 221 h 261"/>
                <a:gd name="T22" fmla="*/ 413 w 778"/>
                <a:gd name="T23" fmla="*/ 221 h 261"/>
                <a:gd name="T24" fmla="*/ 709 w 778"/>
                <a:gd name="T25" fmla="*/ 50 h 261"/>
                <a:gd name="T26" fmla="*/ 720 w 778"/>
                <a:gd name="T27" fmla="*/ 36 h 261"/>
                <a:gd name="T28" fmla="*/ 720 w 778"/>
                <a:gd name="T29" fmla="*/ 0 h 261"/>
                <a:gd name="T30" fmla="*/ 765 w 778"/>
                <a:gd name="T31" fmla="*/ 25 h 261"/>
                <a:gd name="T32" fmla="*/ 761 w 778"/>
                <a:gd name="T33" fmla="*/ 55 h 261"/>
                <a:gd name="T34" fmla="*/ 417 w 778"/>
                <a:gd name="T35" fmla="*/ 254 h 261"/>
                <a:gd name="T36" fmla="*/ 388 w 778"/>
                <a:gd name="T37"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8" h="261">
                  <a:moveTo>
                    <a:pt x="388" y="261"/>
                  </a:moveTo>
                  <a:cubicBezTo>
                    <a:pt x="379" y="261"/>
                    <a:pt x="371" y="260"/>
                    <a:pt x="365" y="256"/>
                  </a:cubicBezTo>
                  <a:lnTo>
                    <a:pt x="14" y="53"/>
                  </a:lnTo>
                  <a:cubicBezTo>
                    <a:pt x="0" y="46"/>
                    <a:pt x="2" y="32"/>
                    <a:pt x="17" y="23"/>
                  </a:cubicBezTo>
                  <a:lnTo>
                    <a:pt x="58" y="0"/>
                  </a:lnTo>
                  <a:lnTo>
                    <a:pt x="58" y="36"/>
                  </a:lnTo>
                  <a:lnTo>
                    <a:pt x="58" y="36"/>
                  </a:lnTo>
                  <a:cubicBezTo>
                    <a:pt x="58" y="41"/>
                    <a:pt x="60" y="45"/>
                    <a:pt x="66" y="48"/>
                  </a:cubicBezTo>
                  <a:lnTo>
                    <a:pt x="368" y="223"/>
                  </a:lnTo>
                  <a:cubicBezTo>
                    <a:pt x="374" y="226"/>
                    <a:pt x="380" y="227"/>
                    <a:pt x="388" y="227"/>
                  </a:cubicBezTo>
                  <a:cubicBezTo>
                    <a:pt x="397" y="227"/>
                    <a:pt x="406" y="225"/>
                    <a:pt x="413" y="221"/>
                  </a:cubicBezTo>
                  <a:lnTo>
                    <a:pt x="413" y="221"/>
                  </a:lnTo>
                  <a:lnTo>
                    <a:pt x="709" y="50"/>
                  </a:lnTo>
                  <a:cubicBezTo>
                    <a:pt x="716" y="46"/>
                    <a:pt x="720" y="41"/>
                    <a:pt x="720" y="36"/>
                  </a:cubicBezTo>
                  <a:lnTo>
                    <a:pt x="720" y="0"/>
                  </a:lnTo>
                  <a:lnTo>
                    <a:pt x="765" y="25"/>
                  </a:lnTo>
                  <a:cubicBezTo>
                    <a:pt x="778" y="33"/>
                    <a:pt x="776" y="46"/>
                    <a:pt x="761" y="55"/>
                  </a:cubicBezTo>
                  <a:lnTo>
                    <a:pt x="417" y="254"/>
                  </a:lnTo>
                  <a:cubicBezTo>
                    <a:pt x="409" y="259"/>
                    <a:pt x="398" y="261"/>
                    <a:pt x="388" y="261"/>
                  </a:cubicBezTo>
                </a:path>
              </a:pathLst>
            </a:custGeom>
            <a:solidFill>
              <a:srgbClr val="A9C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548">
              <a:extLst>
                <a:ext uri="{FF2B5EF4-FFF2-40B4-BE49-F238E27FC236}">
                  <a16:creationId xmlns:a16="http://schemas.microsoft.com/office/drawing/2014/main" id="{B48ECCB8-0AA4-489D-ADFB-281505EB3231}"/>
                </a:ext>
              </a:extLst>
            </p:cNvPr>
            <p:cNvSpPr>
              <a:spLocks/>
            </p:cNvSpPr>
            <p:nvPr/>
          </p:nvSpPr>
          <p:spPr bwMode="auto">
            <a:xfrm>
              <a:off x="5645150" y="4284663"/>
              <a:ext cx="393700" cy="214313"/>
            </a:xfrm>
            <a:custGeom>
              <a:avLst/>
              <a:gdLst>
                <a:gd name="T0" fmla="*/ 387 w 481"/>
                <a:gd name="T1" fmla="*/ 262 h 262"/>
                <a:gd name="T2" fmla="*/ 365 w 481"/>
                <a:gd name="T3" fmla="*/ 257 h 262"/>
                <a:gd name="T4" fmla="*/ 13 w 481"/>
                <a:gd name="T5" fmla="*/ 54 h 262"/>
                <a:gd name="T6" fmla="*/ 17 w 481"/>
                <a:gd name="T7" fmla="*/ 24 h 262"/>
                <a:gd name="T8" fmla="*/ 57 w 481"/>
                <a:gd name="T9" fmla="*/ 0 h 262"/>
                <a:gd name="T10" fmla="*/ 57 w 481"/>
                <a:gd name="T11" fmla="*/ 42 h 262"/>
                <a:gd name="T12" fmla="*/ 58 w 481"/>
                <a:gd name="T13" fmla="*/ 42 h 262"/>
                <a:gd name="T14" fmla="*/ 65 w 481"/>
                <a:gd name="T15" fmla="*/ 54 h 262"/>
                <a:gd name="T16" fmla="*/ 368 w 481"/>
                <a:gd name="T17" fmla="*/ 229 h 262"/>
                <a:gd name="T18" fmla="*/ 387 w 481"/>
                <a:gd name="T19" fmla="*/ 233 h 262"/>
                <a:gd name="T20" fmla="*/ 412 w 481"/>
                <a:gd name="T21" fmla="*/ 227 h 262"/>
                <a:gd name="T22" fmla="*/ 412 w 481"/>
                <a:gd name="T23" fmla="*/ 227 h 262"/>
                <a:gd name="T24" fmla="*/ 413 w 481"/>
                <a:gd name="T25" fmla="*/ 227 h 262"/>
                <a:gd name="T26" fmla="*/ 413 w 481"/>
                <a:gd name="T27" fmla="*/ 227 h 262"/>
                <a:gd name="T28" fmla="*/ 481 w 481"/>
                <a:gd name="T29" fmla="*/ 188 h 262"/>
                <a:gd name="T30" fmla="*/ 481 w 481"/>
                <a:gd name="T31" fmla="*/ 217 h 262"/>
                <a:gd name="T32" fmla="*/ 416 w 481"/>
                <a:gd name="T33" fmla="*/ 255 h 262"/>
                <a:gd name="T34" fmla="*/ 387 w 481"/>
                <a:gd name="T35"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1" h="262">
                  <a:moveTo>
                    <a:pt x="387" y="262"/>
                  </a:moveTo>
                  <a:cubicBezTo>
                    <a:pt x="379" y="262"/>
                    <a:pt x="371" y="260"/>
                    <a:pt x="365" y="257"/>
                  </a:cubicBezTo>
                  <a:lnTo>
                    <a:pt x="13" y="54"/>
                  </a:lnTo>
                  <a:cubicBezTo>
                    <a:pt x="0" y="46"/>
                    <a:pt x="1" y="33"/>
                    <a:pt x="17" y="24"/>
                  </a:cubicBezTo>
                  <a:lnTo>
                    <a:pt x="57" y="0"/>
                  </a:lnTo>
                  <a:lnTo>
                    <a:pt x="57" y="42"/>
                  </a:lnTo>
                  <a:lnTo>
                    <a:pt x="58" y="42"/>
                  </a:lnTo>
                  <a:cubicBezTo>
                    <a:pt x="57" y="47"/>
                    <a:pt x="60" y="51"/>
                    <a:pt x="65" y="54"/>
                  </a:cubicBezTo>
                  <a:lnTo>
                    <a:pt x="368" y="229"/>
                  </a:lnTo>
                  <a:cubicBezTo>
                    <a:pt x="373" y="232"/>
                    <a:pt x="380" y="233"/>
                    <a:pt x="387" y="233"/>
                  </a:cubicBezTo>
                  <a:cubicBezTo>
                    <a:pt x="396" y="233"/>
                    <a:pt x="405" y="231"/>
                    <a:pt x="412" y="227"/>
                  </a:cubicBezTo>
                  <a:cubicBezTo>
                    <a:pt x="412" y="227"/>
                    <a:pt x="412" y="227"/>
                    <a:pt x="412" y="227"/>
                  </a:cubicBezTo>
                  <a:cubicBezTo>
                    <a:pt x="412" y="227"/>
                    <a:pt x="413" y="227"/>
                    <a:pt x="413" y="227"/>
                  </a:cubicBezTo>
                  <a:lnTo>
                    <a:pt x="413" y="227"/>
                  </a:lnTo>
                  <a:lnTo>
                    <a:pt x="481" y="188"/>
                  </a:lnTo>
                  <a:lnTo>
                    <a:pt x="481" y="217"/>
                  </a:lnTo>
                  <a:lnTo>
                    <a:pt x="416" y="255"/>
                  </a:lnTo>
                  <a:cubicBezTo>
                    <a:pt x="408" y="259"/>
                    <a:pt x="397" y="262"/>
                    <a:pt x="387" y="262"/>
                  </a:cubicBezTo>
                  <a:close/>
                </a:path>
              </a:pathLst>
            </a:custGeom>
            <a:solidFill>
              <a:srgbClr val="A9C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549">
              <a:extLst>
                <a:ext uri="{FF2B5EF4-FFF2-40B4-BE49-F238E27FC236}">
                  <a16:creationId xmlns:a16="http://schemas.microsoft.com/office/drawing/2014/main" id="{29F2DD8D-A750-43E1-AE0D-A544247D9B8B}"/>
                </a:ext>
              </a:extLst>
            </p:cNvPr>
            <p:cNvSpPr>
              <a:spLocks/>
            </p:cNvSpPr>
            <p:nvPr/>
          </p:nvSpPr>
          <p:spPr bwMode="auto">
            <a:xfrm>
              <a:off x="6581775" y="4284663"/>
              <a:ext cx="382588" cy="214313"/>
            </a:xfrm>
            <a:custGeom>
              <a:avLst/>
              <a:gdLst>
                <a:gd name="T0" fmla="*/ 83 w 468"/>
                <a:gd name="T1" fmla="*/ 262 h 262"/>
                <a:gd name="T2" fmla="*/ 61 w 468"/>
                <a:gd name="T3" fmla="*/ 257 h 262"/>
                <a:gd name="T4" fmla="*/ 0 w 468"/>
                <a:gd name="T5" fmla="*/ 222 h 262"/>
                <a:gd name="T6" fmla="*/ 0 w 468"/>
                <a:gd name="T7" fmla="*/ 192 h 262"/>
                <a:gd name="T8" fmla="*/ 64 w 468"/>
                <a:gd name="T9" fmla="*/ 229 h 262"/>
                <a:gd name="T10" fmla="*/ 84 w 468"/>
                <a:gd name="T11" fmla="*/ 233 h 262"/>
                <a:gd name="T12" fmla="*/ 109 w 468"/>
                <a:gd name="T13" fmla="*/ 227 h 262"/>
                <a:gd name="T14" fmla="*/ 109 w 468"/>
                <a:gd name="T15" fmla="*/ 227 h 262"/>
                <a:gd name="T16" fmla="*/ 405 w 468"/>
                <a:gd name="T17" fmla="*/ 56 h 262"/>
                <a:gd name="T18" fmla="*/ 416 w 468"/>
                <a:gd name="T19" fmla="*/ 42 h 262"/>
                <a:gd name="T20" fmla="*/ 416 w 468"/>
                <a:gd name="T21" fmla="*/ 0 h 262"/>
                <a:gd name="T22" fmla="*/ 461 w 468"/>
                <a:gd name="T23" fmla="*/ 26 h 262"/>
                <a:gd name="T24" fmla="*/ 468 w 468"/>
                <a:gd name="T25" fmla="*/ 33 h 262"/>
                <a:gd name="T26" fmla="*/ 464 w 468"/>
                <a:gd name="T27" fmla="*/ 50 h 262"/>
                <a:gd name="T28" fmla="*/ 457 w 468"/>
                <a:gd name="T29" fmla="*/ 56 h 262"/>
                <a:gd name="T30" fmla="*/ 113 w 468"/>
                <a:gd name="T31" fmla="*/ 255 h 262"/>
                <a:gd name="T32" fmla="*/ 83 w 468"/>
                <a:gd name="T33"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8" h="262">
                  <a:moveTo>
                    <a:pt x="83" y="262"/>
                  </a:moveTo>
                  <a:cubicBezTo>
                    <a:pt x="75" y="262"/>
                    <a:pt x="67" y="260"/>
                    <a:pt x="61" y="257"/>
                  </a:cubicBezTo>
                  <a:lnTo>
                    <a:pt x="0" y="222"/>
                  </a:lnTo>
                  <a:lnTo>
                    <a:pt x="0" y="192"/>
                  </a:lnTo>
                  <a:lnTo>
                    <a:pt x="64" y="229"/>
                  </a:lnTo>
                  <a:cubicBezTo>
                    <a:pt x="69" y="232"/>
                    <a:pt x="76" y="233"/>
                    <a:pt x="84" y="233"/>
                  </a:cubicBezTo>
                  <a:cubicBezTo>
                    <a:pt x="92" y="233"/>
                    <a:pt x="102" y="231"/>
                    <a:pt x="109" y="227"/>
                  </a:cubicBezTo>
                  <a:lnTo>
                    <a:pt x="109" y="227"/>
                  </a:lnTo>
                  <a:lnTo>
                    <a:pt x="405" y="56"/>
                  </a:lnTo>
                  <a:cubicBezTo>
                    <a:pt x="412" y="52"/>
                    <a:pt x="416" y="47"/>
                    <a:pt x="416" y="42"/>
                  </a:cubicBezTo>
                  <a:lnTo>
                    <a:pt x="416" y="0"/>
                  </a:lnTo>
                  <a:lnTo>
                    <a:pt x="461" y="26"/>
                  </a:lnTo>
                  <a:cubicBezTo>
                    <a:pt x="464" y="28"/>
                    <a:pt x="467" y="30"/>
                    <a:pt x="468" y="33"/>
                  </a:cubicBezTo>
                  <a:cubicBezTo>
                    <a:pt x="467" y="39"/>
                    <a:pt x="465" y="45"/>
                    <a:pt x="464" y="50"/>
                  </a:cubicBezTo>
                  <a:cubicBezTo>
                    <a:pt x="462" y="52"/>
                    <a:pt x="460" y="54"/>
                    <a:pt x="457" y="56"/>
                  </a:cubicBezTo>
                  <a:lnTo>
                    <a:pt x="113" y="255"/>
                  </a:lnTo>
                  <a:cubicBezTo>
                    <a:pt x="104" y="259"/>
                    <a:pt x="94" y="262"/>
                    <a:pt x="83" y="262"/>
                  </a:cubicBezTo>
                </a:path>
              </a:pathLst>
            </a:custGeom>
            <a:solidFill>
              <a:srgbClr val="A9C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550">
              <a:extLst>
                <a:ext uri="{FF2B5EF4-FFF2-40B4-BE49-F238E27FC236}">
                  <a16:creationId xmlns:a16="http://schemas.microsoft.com/office/drawing/2014/main" id="{27838FC5-A2F1-42BD-A3FF-C8B187674F87}"/>
                </a:ext>
              </a:extLst>
            </p:cNvPr>
            <p:cNvSpPr>
              <a:spLocks/>
            </p:cNvSpPr>
            <p:nvPr/>
          </p:nvSpPr>
          <p:spPr bwMode="auto">
            <a:xfrm>
              <a:off x="6032500" y="2927350"/>
              <a:ext cx="542925" cy="1349375"/>
            </a:xfrm>
            <a:custGeom>
              <a:avLst/>
              <a:gdLst>
                <a:gd name="T0" fmla="*/ 662 w 662"/>
                <a:gd name="T1" fmla="*/ 1452 h 1645"/>
                <a:gd name="T2" fmla="*/ 662 w 662"/>
                <a:gd name="T3" fmla="*/ 0 h 1645"/>
                <a:gd name="T4" fmla="*/ 0 w 662"/>
                <a:gd name="T5" fmla="*/ 0 h 1645"/>
                <a:gd name="T6" fmla="*/ 0 w 662"/>
                <a:gd name="T7" fmla="*/ 1452 h 1645"/>
                <a:gd name="T8" fmla="*/ 0 w 662"/>
                <a:gd name="T9" fmla="*/ 1452 h 1645"/>
                <a:gd name="T10" fmla="*/ 8 w 662"/>
                <a:gd name="T11" fmla="*/ 1464 h 1645"/>
                <a:gd name="T12" fmla="*/ 310 w 662"/>
                <a:gd name="T13" fmla="*/ 1638 h 1645"/>
                <a:gd name="T14" fmla="*/ 355 w 662"/>
                <a:gd name="T15" fmla="*/ 1637 h 1645"/>
                <a:gd name="T16" fmla="*/ 651 w 662"/>
                <a:gd name="T17" fmla="*/ 1465 h 1645"/>
                <a:gd name="T18" fmla="*/ 662 w 662"/>
                <a:gd name="T19" fmla="*/ 1452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2" h="1645">
                  <a:moveTo>
                    <a:pt x="662" y="1452"/>
                  </a:moveTo>
                  <a:lnTo>
                    <a:pt x="662" y="0"/>
                  </a:lnTo>
                  <a:lnTo>
                    <a:pt x="0" y="0"/>
                  </a:lnTo>
                  <a:lnTo>
                    <a:pt x="0" y="1452"/>
                  </a:lnTo>
                  <a:lnTo>
                    <a:pt x="0" y="1452"/>
                  </a:lnTo>
                  <a:cubicBezTo>
                    <a:pt x="0" y="1456"/>
                    <a:pt x="2" y="1460"/>
                    <a:pt x="8" y="1464"/>
                  </a:cubicBezTo>
                  <a:lnTo>
                    <a:pt x="310" y="1638"/>
                  </a:lnTo>
                  <a:cubicBezTo>
                    <a:pt x="322" y="1645"/>
                    <a:pt x="342" y="1644"/>
                    <a:pt x="355" y="1637"/>
                  </a:cubicBezTo>
                  <a:lnTo>
                    <a:pt x="651" y="1465"/>
                  </a:lnTo>
                  <a:cubicBezTo>
                    <a:pt x="658" y="1462"/>
                    <a:pt x="662" y="1456"/>
                    <a:pt x="662" y="1452"/>
                  </a:cubicBezTo>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551">
              <a:extLst>
                <a:ext uri="{FF2B5EF4-FFF2-40B4-BE49-F238E27FC236}">
                  <a16:creationId xmlns:a16="http://schemas.microsoft.com/office/drawing/2014/main" id="{20300EAD-05B2-46F9-96AC-CC46B8B1A93B}"/>
                </a:ext>
              </a:extLst>
            </p:cNvPr>
            <p:cNvSpPr>
              <a:spLocks/>
            </p:cNvSpPr>
            <p:nvPr/>
          </p:nvSpPr>
          <p:spPr bwMode="auto">
            <a:xfrm>
              <a:off x="6303963" y="2927350"/>
              <a:ext cx="271463" cy="1287463"/>
            </a:xfrm>
            <a:custGeom>
              <a:avLst/>
              <a:gdLst>
                <a:gd name="T0" fmla="*/ 48 w 171"/>
                <a:gd name="T1" fmla="*/ 811 h 811"/>
                <a:gd name="T2" fmla="*/ 0 w 171"/>
                <a:gd name="T3" fmla="*/ 811 h 811"/>
                <a:gd name="T4" fmla="*/ 0 w 171"/>
                <a:gd name="T5" fmla="*/ 0 h 811"/>
                <a:gd name="T6" fmla="*/ 171 w 171"/>
                <a:gd name="T7" fmla="*/ 0 h 811"/>
                <a:gd name="T8" fmla="*/ 171 w 171"/>
                <a:gd name="T9" fmla="*/ 480 h 811"/>
                <a:gd name="T10" fmla="*/ 171 w 171"/>
                <a:gd name="T11" fmla="*/ 535 h 811"/>
                <a:gd name="T12" fmla="*/ 171 w 171"/>
                <a:gd name="T13" fmla="*/ 540 h 811"/>
                <a:gd name="T14" fmla="*/ 48 w 171"/>
                <a:gd name="T15" fmla="*/ 540 h 811"/>
                <a:gd name="T16" fmla="*/ 48 w 171"/>
                <a:gd name="T17" fmla="*/ 811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811">
                  <a:moveTo>
                    <a:pt x="48" y="811"/>
                  </a:moveTo>
                  <a:lnTo>
                    <a:pt x="0" y="811"/>
                  </a:lnTo>
                  <a:lnTo>
                    <a:pt x="0" y="0"/>
                  </a:lnTo>
                  <a:lnTo>
                    <a:pt x="171" y="0"/>
                  </a:lnTo>
                  <a:lnTo>
                    <a:pt x="171" y="480"/>
                  </a:lnTo>
                  <a:lnTo>
                    <a:pt x="171" y="535"/>
                  </a:lnTo>
                  <a:lnTo>
                    <a:pt x="171" y="540"/>
                  </a:lnTo>
                  <a:lnTo>
                    <a:pt x="48" y="540"/>
                  </a:lnTo>
                  <a:lnTo>
                    <a:pt x="48" y="811"/>
                  </a:lnTo>
                  <a:close/>
                </a:path>
              </a:pathLst>
            </a:custGeom>
            <a:solidFill>
              <a:srgbClr val="D9AC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552">
              <a:extLst>
                <a:ext uri="{FF2B5EF4-FFF2-40B4-BE49-F238E27FC236}">
                  <a16:creationId xmlns:a16="http://schemas.microsoft.com/office/drawing/2014/main" id="{AB2F1586-E43C-484E-8513-6EB3DDA78AA1}"/>
                </a:ext>
              </a:extLst>
            </p:cNvPr>
            <p:cNvSpPr>
              <a:spLocks/>
            </p:cNvSpPr>
            <p:nvPr/>
          </p:nvSpPr>
          <p:spPr bwMode="auto">
            <a:xfrm>
              <a:off x="6029325" y="2770188"/>
              <a:ext cx="549275" cy="317500"/>
            </a:xfrm>
            <a:custGeom>
              <a:avLst/>
              <a:gdLst>
                <a:gd name="T0" fmla="*/ 314 w 670"/>
                <a:gd name="T1" fmla="*/ 380 h 387"/>
                <a:gd name="T2" fmla="*/ 12 w 670"/>
                <a:gd name="T3" fmla="*/ 205 h 387"/>
                <a:gd name="T4" fmla="*/ 15 w 670"/>
                <a:gd name="T5" fmla="*/ 179 h 387"/>
                <a:gd name="T6" fmla="*/ 311 w 670"/>
                <a:gd name="T7" fmla="*/ 8 h 387"/>
                <a:gd name="T8" fmla="*/ 356 w 670"/>
                <a:gd name="T9" fmla="*/ 6 h 387"/>
                <a:gd name="T10" fmla="*/ 659 w 670"/>
                <a:gd name="T11" fmla="*/ 181 h 387"/>
                <a:gd name="T12" fmla="*/ 655 w 670"/>
                <a:gd name="T13" fmla="*/ 207 h 387"/>
                <a:gd name="T14" fmla="*/ 359 w 670"/>
                <a:gd name="T15" fmla="*/ 378 h 387"/>
                <a:gd name="T16" fmla="*/ 314 w 670"/>
                <a:gd name="T17" fmla="*/ 38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0" h="387">
                  <a:moveTo>
                    <a:pt x="314" y="380"/>
                  </a:moveTo>
                  <a:lnTo>
                    <a:pt x="12" y="205"/>
                  </a:lnTo>
                  <a:cubicBezTo>
                    <a:pt x="0" y="199"/>
                    <a:pt x="2" y="187"/>
                    <a:pt x="15" y="179"/>
                  </a:cubicBezTo>
                  <a:lnTo>
                    <a:pt x="311" y="8"/>
                  </a:lnTo>
                  <a:cubicBezTo>
                    <a:pt x="324" y="1"/>
                    <a:pt x="344" y="0"/>
                    <a:pt x="356" y="6"/>
                  </a:cubicBezTo>
                  <a:lnTo>
                    <a:pt x="659" y="181"/>
                  </a:lnTo>
                  <a:cubicBezTo>
                    <a:pt x="670" y="188"/>
                    <a:pt x="669" y="199"/>
                    <a:pt x="655" y="207"/>
                  </a:cubicBezTo>
                  <a:lnTo>
                    <a:pt x="359" y="378"/>
                  </a:lnTo>
                  <a:cubicBezTo>
                    <a:pt x="346" y="386"/>
                    <a:pt x="326" y="387"/>
                    <a:pt x="314" y="380"/>
                  </a:cubicBezTo>
                </a:path>
              </a:pathLst>
            </a:custGeom>
            <a:solidFill>
              <a:srgbClr val="FFE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553">
              <a:extLst>
                <a:ext uri="{FF2B5EF4-FFF2-40B4-BE49-F238E27FC236}">
                  <a16:creationId xmlns:a16="http://schemas.microsoft.com/office/drawing/2014/main" id="{C6B9327E-B7D9-4CBE-8520-D583522D7F6E}"/>
                </a:ext>
              </a:extLst>
            </p:cNvPr>
            <p:cNvSpPr>
              <a:spLocks/>
            </p:cNvSpPr>
            <p:nvPr/>
          </p:nvSpPr>
          <p:spPr bwMode="auto">
            <a:xfrm>
              <a:off x="5691188" y="3487738"/>
              <a:ext cx="542925" cy="989013"/>
            </a:xfrm>
            <a:custGeom>
              <a:avLst/>
              <a:gdLst>
                <a:gd name="T0" fmla="*/ 663 w 663"/>
                <a:gd name="T1" fmla="*/ 1014 h 1207"/>
                <a:gd name="T2" fmla="*/ 663 w 663"/>
                <a:gd name="T3" fmla="*/ 0 h 1207"/>
                <a:gd name="T4" fmla="*/ 0 w 663"/>
                <a:gd name="T5" fmla="*/ 0 h 1207"/>
                <a:gd name="T6" fmla="*/ 0 w 663"/>
                <a:gd name="T7" fmla="*/ 1014 h 1207"/>
                <a:gd name="T8" fmla="*/ 1 w 663"/>
                <a:gd name="T9" fmla="*/ 1014 h 1207"/>
                <a:gd name="T10" fmla="*/ 8 w 663"/>
                <a:gd name="T11" fmla="*/ 1026 h 1207"/>
                <a:gd name="T12" fmla="*/ 311 w 663"/>
                <a:gd name="T13" fmla="*/ 1201 h 1207"/>
                <a:gd name="T14" fmla="*/ 356 w 663"/>
                <a:gd name="T15" fmla="*/ 1199 h 1207"/>
                <a:gd name="T16" fmla="*/ 652 w 663"/>
                <a:gd name="T17" fmla="*/ 1028 h 1207"/>
                <a:gd name="T18" fmla="*/ 663 w 663"/>
                <a:gd name="T19" fmla="*/ 1014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3" h="1207">
                  <a:moveTo>
                    <a:pt x="663" y="1014"/>
                  </a:moveTo>
                  <a:lnTo>
                    <a:pt x="663" y="0"/>
                  </a:lnTo>
                  <a:lnTo>
                    <a:pt x="0" y="0"/>
                  </a:lnTo>
                  <a:lnTo>
                    <a:pt x="0" y="1014"/>
                  </a:lnTo>
                  <a:lnTo>
                    <a:pt x="1" y="1014"/>
                  </a:lnTo>
                  <a:cubicBezTo>
                    <a:pt x="0" y="1019"/>
                    <a:pt x="3" y="1023"/>
                    <a:pt x="8" y="1026"/>
                  </a:cubicBezTo>
                  <a:lnTo>
                    <a:pt x="311" y="1201"/>
                  </a:lnTo>
                  <a:cubicBezTo>
                    <a:pt x="322" y="1207"/>
                    <a:pt x="342" y="1207"/>
                    <a:pt x="356" y="1199"/>
                  </a:cubicBezTo>
                  <a:lnTo>
                    <a:pt x="652" y="1028"/>
                  </a:lnTo>
                  <a:cubicBezTo>
                    <a:pt x="659" y="1024"/>
                    <a:pt x="662" y="1019"/>
                    <a:pt x="663" y="1014"/>
                  </a:cubicBezTo>
                </a:path>
              </a:pathLst>
            </a:cu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554">
              <a:extLst>
                <a:ext uri="{FF2B5EF4-FFF2-40B4-BE49-F238E27FC236}">
                  <a16:creationId xmlns:a16="http://schemas.microsoft.com/office/drawing/2014/main" id="{E035FC82-D095-42D1-B972-6CBFA029798D}"/>
                </a:ext>
              </a:extLst>
            </p:cNvPr>
            <p:cNvSpPr>
              <a:spLocks/>
            </p:cNvSpPr>
            <p:nvPr/>
          </p:nvSpPr>
          <p:spPr bwMode="auto">
            <a:xfrm>
              <a:off x="5981700" y="4470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90A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555">
              <a:extLst>
                <a:ext uri="{FF2B5EF4-FFF2-40B4-BE49-F238E27FC236}">
                  <a16:creationId xmlns:a16="http://schemas.microsoft.com/office/drawing/2014/main" id="{71AEE547-31B6-41EE-9067-F09F28523877}"/>
                </a:ext>
              </a:extLst>
            </p:cNvPr>
            <p:cNvSpPr>
              <a:spLocks/>
            </p:cNvSpPr>
            <p:nvPr/>
          </p:nvSpPr>
          <p:spPr bwMode="auto">
            <a:xfrm>
              <a:off x="5964238" y="3487738"/>
              <a:ext cx="269875" cy="987425"/>
            </a:xfrm>
            <a:custGeom>
              <a:avLst/>
              <a:gdLst>
                <a:gd name="T0" fmla="*/ 0 w 331"/>
                <a:gd name="T1" fmla="*/ 1205 h 1205"/>
                <a:gd name="T2" fmla="*/ 0 w 331"/>
                <a:gd name="T3" fmla="*/ 0 h 1205"/>
                <a:gd name="T4" fmla="*/ 331 w 331"/>
                <a:gd name="T5" fmla="*/ 0 h 1205"/>
                <a:gd name="T6" fmla="*/ 331 w 331"/>
                <a:gd name="T7" fmla="*/ 887 h 1205"/>
                <a:gd name="T8" fmla="*/ 92 w 331"/>
                <a:gd name="T9" fmla="*/ 887 h 1205"/>
                <a:gd name="T10" fmla="*/ 92 w 331"/>
                <a:gd name="T11" fmla="*/ 1160 h 1205"/>
                <a:gd name="T12" fmla="*/ 24 w 331"/>
                <a:gd name="T13" fmla="*/ 1199 h 1205"/>
                <a:gd name="T14" fmla="*/ 24 w 331"/>
                <a:gd name="T15" fmla="*/ 1199 h 1205"/>
                <a:gd name="T16" fmla="*/ 23 w 331"/>
                <a:gd name="T17" fmla="*/ 1199 h 1205"/>
                <a:gd name="T18" fmla="*/ 23 w 331"/>
                <a:gd name="T19" fmla="*/ 1199 h 1205"/>
                <a:gd name="T20" fmla="*/ 0 w 331"/>
                <a:gd name="T21" fmla="*/ 1205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1205">
                  <a:moveTo>
                    <a:pt x="0" y="1205"/>
                  </a:moveTo>
                  <a:lnTo>
                    <a:pt x="0" y="0"/>
                  </a:lnTo>
                  <a:lnTo>
                    <a:pt x="331" y="0"/>
                  </a:lnTo>
                  <a:lnTo>
                    <a:pt x="331" y="887"/>
                  </a:lnTo>
                  <a:lnTo>
                    <a:pt x="92" y="887"/>
                  </a:lnTo>
                  <a:lnTo>
                    <a:pt x="92" y="1160"/>
                  </a:lnTo>
                  <a:lnTo>
                    <a:pt x="24" y="1199"/>
                  </a:lnTo>
                  <a:lnTo>
                    <a:pt x="24" y="1199"/>
                  </a:lnTo>
                  <a:cubicBezTo>
                    <a:pt x="24" y="1199"/>
                    <a:pt x="23" y="1199"/>
                    <a:pt x="23" y="1199"/>
                  </a:cubicBezTo>
                  <a:cubicBezTo>
                    <a:pt x="23" y="1199"/>
                    <a:pt x="23" y="1199"/>
                    <a:pt x="23" y="1199"/>
                  </a:cubicBezTo>
                  <a:cubicBezTo>
                    <a:pt x="16" y="1203"/>
                    <a:pt x="8" y="1205"/>
                    <a:pt x="0" y="1205"/>
                  </a:cubicBezTo>
                </a:path>
              </a:pathLst>
            </a:cu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556">
              <a:extLst>
                <a:ext uri="{FF2B5EF4-FFF2-40B4-BE49-F238E27FC236}">
                  <a16:creationId xmlns:a16="http://schemas.microsoft.com/office/drawing/2014/main" id="{CF407CFE-DC84-49B7-AD09-7376EBA1D651}"/>
                </a:ext>
              </a:extLst>
            </p:cNvPr>
            <p:cNvSpPr>
              <a:spLocks/>
            </p:cNvSpPr>
            <p:nvPr/>
          </p:nvSpPr>
          <p:spPr bwMode="auto">
            <a:xfrm>
              <a:off x="5689600" y="3328988"/>
              <a:ext cx="547688" cy="315913"/>
            </a:xfrm>
            <a:custGeom>
              <a:avLst/>
              <a:gdLst>
                <a:gd name="T0" fmla="*/ 314 w 670"/>
                <a:gd name="T1" fmla="*/ 380 h 387"/>
                <a:gd name="T2" fmla="*/ 11 w 670"/>
                <a:gd name="T3" fmla="*/ 206 h 387"/>
                <a:gd name="T4" fmla="*/ 14 w 670"/>
                <a:gd name="T5" fmla="*/ 180 h 387"/>
                <a:gd name="T6" fmla="*/ 311 w 670"/>
                <a:gd name="T7" fmla="*/ 9 h 387"/>
                <a:gd name="T8" fmla="*/ 355 w 670"/>
                <a:gd name="T9" fmla="*/ 7 h 387"/>
                <a:gd name="T10" fmla="*/ 658 w 670"/>
                <a:gd name="T11" fmla="*/ 182 h 387"/>
                <a:gd name="T12" fmla="*/ 655 w 670"/>
                <a:gd name="T13" fmla="*/ 207 h 387"/>
                <a:gd name="T14" fmla="*/ 359 w 670"/>
                <a:gd name="T15" fmla="*/ 379 h 387"/>
                <a:gd name="T16" fmla="*/ 314 w 670"/>
                <a:gd name="T17" fmla="*/ 38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0" h="387">
                  <a:moveTo>
                    <a:pt x="314" y="380"/>
                  </a:moveTo>
                  <a:lnTo>
                    <a:pt x="11" y="206"/>
                  </a:lnTo>
                  <a:cubicBezTo>
                    <a:pt x="0" y="199"/>
                    <a:pt x="1" y="187"/>
                    <a:pt x="14" y="180"/>
                  </a:cubicBezTo>
                  <a:lnTo>
                    <a:pt x="311" y="9"/>
                  </a:lnTo>
                  <a:cubicBezTo>
                    <a:pt x="324" y="1"/>
                    <a:pt x="344" y="0"/>
                    <a:pt x="355" y="7"/>
                  </a:cubicBezTo>
                  <a:lnTo>
                    <a:pt x="658" y="182"/>
                  </a:lnTo>
                  <a:cubicBezTo>
                    <a:pt x="670" y="188"/>
                    <a:pt x="668" y="200"/>
                    <a:pt x="655" y="207"/>
                  </a:cubicBezTo>
                  <a:lnTo>
                    <a:pt x="359" y="379"/>
                  </a:lnTo>
                  <a:cubicBezTo>
                    <a:pt x="345" y="386"/>
                    <a:pt x="325" y="387"/>
                    <a:pt x="314" y="380"/>
                  </a:cubicBezTo>
                </a:path>
              </a:pathLst>
            </a:custGeom>
            <a:solidFill>
              <a:srgbClr val="CC3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557">
              <a:extLst>
                <a:ext uri="{FF2B5EF4-FFF2-40B4-BE49-F238E27FC236}">
                  <a16:creationId xmlns:a16="http://schemas.microsoft.com/office/drawing/2014/main" id="{A1DF294F-1A1B-442C-9390-8B9332ACAE6D}"/>
                </a:ext>
              </a:extLst>
            </p:cNvPr>
            <p:cNvSpPr>
              <a:spLocks/>
            </p:cNvSpPr>
            <p:nvPr/>
          </p:nvSpPr>
          <p:spPr bwMode="auto">
            <a:xfrm>
              <a:off x="6380163" y="3784600"/>
              <a:ext cx="541338" cy="692150"/>
            </a:xfrm>
            <a:custGeom>
              <a:avLst/>
              <a:gdLst>
                <a:gd name="T0" fmla="*/ 662 w 662"/>
                <a:gd name="T1" fmla="*/ 651 h 844"/>
                <a:gd name="T2" fmla="*/ 662 w 662"/>
                <a:gd name="T3" fmla="*/ 0 h 844"/>
                <a:gd name="T4" fmla="*/ 0 w 662"/>
                <a:gd name="T5" fmla="*/ 0 h 844"/>
                <a:gd name="T6" fmla="*/ 0 w 662"/>
                <a:gd name="T7" fmla="*/ 651 h 844"/>
                <a:gd name="T8" fmla="*/ 0 w 662"/>
                <a:gd name="T9" fmla="*/ 651 h 844"/>
                <a:gd name="T10" fmla="*/ 7 w 662"/>
                <a:gd name="T11" fmla="*/ 663 h 844"/>
                <a:gd name="T12" fmla="*/ 310 w 662"/>
                <a:gd name="T13" fmla="*/ 838 h 844"/>
                <a:gd name="T14" fmla="*/ 355 w 662"/>
                <a:gd name="T15" fmla="*/ 836 h 844"/>
                <a:gd name="T16" fmla="*/ 651 w 662"/>
                <a:gd name="T17" fmla="*/ 665 h 844"/>
                <a:gd name="T18" fmla="*/ 662 w 662"/>
                <a:gd name="T19" fmla="*/ 651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2" h="844">
                  <a:moveTo>
                    <a:pt x="662" y="651"/>
                  </a:moveTo>
                  <a:lnTo>
                    <a:pt x="662" y="0"/>
                  </a:lnTo>
                  <a:lnTo>
                    <a:pt x="0" y="0"/>
                  </a:lnTo>
                  <a:lnTo>
                    <a:pt x="0" y="651"/>
                  </a:lnTo>
                  <a:lnTo>
                    <a:pt x="0" y="651"/>
                  </a:lnTo>
                  <a:cubicBezTo>
                    <a:pt x="0" y="656"/>
                    <a:pt x="2" y="660"/>
                    <a:pt x="7" y="663"/>
                  </a:cubicBezTo>
                  <a:lnTo>
                    <a:pt x="310" y="838"/>
                  </a:lnTo>
                  <a:cubicBezTo>
                    <a:pt x="322" y="844"/>
                    <a:pt x="342" y="844"/>
                    <a:pt x="355" y="836"/>
                  </a:cubicBezTo>
                  <a:lnTo>
                    <a:pt x="651" y="665"/>
                  </a:lnTo>
                  <a:cubicBezTo>
                    <a:pt x="658" y="661"/>
                    <a:pt x="662" y="656"/>
                    <a:pt x="662" y="651"/>
                  </a:cubicBezTo>
                </a:path>
              </a:pathLst>
            </a:custGeom>
            <a:solidFill>
              <a:srgbClr val="77A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558">
              <a:extLst>
                <a:ext uri="{FF2B5EF4-FFF2-40B4-BE49-F238E27FC236}">
                  <a16:creationId xmlns:a16="http://schemas.microsoft.com/office/drawing/2014/main" id="{DA1B78FE-749E-4B94-8C64-3EB1905C00B6}"/>
                </a:ext>
              </a:extLst>
            </p:cNvPr>
            <p:cNvSpPr>
              <a:spLocks/>
            </p:cNvSpPr>
            <p:nvPr/>
          </p:nvSpPr>
          <p:spPr bwMode="auto">
            <a:xfrm>
              <a:off x="6650038" y="3784600"/>
              <a:ext cx="271463" cy="690563"/>
            </a:xfrm>
            <a:custGeom>
              <a:avLst/>
              <a:gdLst>
                <a:gd name="T0" fmla="*/ 0 w 331"/>
                <a:gd name="T1" fmla="*/ 842 h 842"/>
                <a:gd name="T2" fmla="*/ 0 w 331"/>
                <a:gd name="T3" fmla="*/ 0 h 842"/>
                <a:gd name="T4" fmla="*/ 331 w 331"/>
                <a:gd name="T5" fmla="*/ 0 h 842"/>
                <a:gd name="T6" fmla="*/ 331 w 331"/>
                <a:gd name="T7" fmla="*/ 651 h 842"/>
                <a:gd name="T8" fmla="*/ 320 w 331"/>
                <a:gd name="T9" fmla="*/ 665 h 842"/>
                <a:gd name="T10" fmla="*/ 24 w 331"/>
                <a:gd name="T11" fmla="*/ 836 h 842"/>
                <a:gd name="T12" fmla="*/ 24 w 331"/>
                <a:gd name="T13" fmla="*/ 836 h 842"/>
                <a:gd name="T14" fmla="*/ 0 w 331"/>
                <a:gd name="T15" fmla="*/ 842 h 8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842">
                  <a:moveTo>
                    <a:pt x="0" y="842"/>
                  </a:moveTo>
                  <a:lnTo>
                    <a:pt x="0" y="0"/>
                  </a:lnTo>
                  <a:lnTo>
                    <a:pt x="331" y="0"/>
                  </a:lnTo>
                  <a:lnTo>
                    <a:pt x="331" y="651"/>
                  </a:lnTo>
                  <a:cubicBezTo>
                    <a:pt x="331" y="656"/>
                    <a:pt x="327" y="661"/>
                    <a:pt x="320" y="665"/>
                  </a:cubicBezTo>
                  <a:lnTo>
                    <a:pt x="24" y="836"/>
                  </a:lnTo>
                  <a:lnTo>
                    <a:pt x="24" y="836"/>
                  </a:lnTo>
                  <a:cubicBezTo>
                    <a:pt x="17" y="840"/>
                    <a:pt x="8" y="842"/>
                    <a:pt x="0" y="842"/>
                  </a:cubicBezTo>
                </a:path>
              </a:pathLst>
            </a:custGeom>
            <a:solidFill>
              <a:srgbClr val="659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559">
              <a:extLst>
                <a:ext uri="{FF2B5EF4-FFF2-40B4-BE49-F238E27FC236}">
                  <a16:creationId xmlns:a16="http://schemas.microsoft.com/office/drawing/2014/main" id="{7F9F3994-BBA8-423D-9FFB-4EE5E228A1BB}"/>
                </a:ext>
              </a:extLst>
            </p:cNvPr>
            <p:cNvSpPr>
              <a:spLocks/>
            </p:cNvSpPr>
            <p:nvPr/>
          </p:nvSpPr>
          <p:spPr bwMode="auto">
            <a:xfrm>
              <a:off x="6376988" y="3627438"/>
              <a:ext cx="547688" cy="317500"/>
            </a:xfrm>
            <a:custGeom>
              <a:avLst/>
              <a:gdLst>
                <a:gd name="T0" fmla="*/ 314 w 670"/>
                <a:gd name="T1" fmla="*/ 380 h 387"/>
                <a:gd name="T2" fmla="*/ 11 w 670"/>
                <a:gd name="T3" fmla="*/ 205 h 387"/>
                <a:gd name="T4" fmla="*/ 15 w 670"/>
                <a:gd name="T5" fmla="*/ 179 h 387"/>
                <a:gd name="T6" fmla="*/ 311 w 670"/>
                <a:gd name="T7" fmla="*/ 8 h 387"/>
                <a:gd name="T8" fmla="*/ 356 w 670"/>
                <a:gd name="T9" fmla="*/ 7 h 387"/>
                <a:gd name="T10" fmla="*/ 659 w 670"/>
                <a:gd name="T11" fmla="*/ 181 h 387"/>
                <a:gd name="T12" fmla="*/ 655 w 670"/>
                <a:gd name="T13" fmla="*/ 207 h 387"/>
                <a:gd name="T14" fmla="*/ 359 w 670"/>
                <a:gd name="T15" fmla="*/ 378 h 387"/>
                <a:gd name="T16" fmla="*/ 314 w 670"/>
                <a:gd name="T17" fmla="*/ 38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0" h="387">
                  <a:moveTo>
                    <a:pt x="314" y="380"/>
                  </a:moveTo>
                  <a:lnTo>
                    <a:pt x="11" y="205"/>
                  </a:lnTo>
                  <a:cubicBezTo>
                    <a:pt x="0" y="199"/>
                    <a:pt x="1" y="187"/>
                    <a:pt x="15" y="179"/>
                  </a:cubicBezTo>
                  <a:lnTo>
                    <a:pt x="311" y="8"/>
                  </a:lnTo>
                  <a:cubicBezTo>
                    <a:pt x="324" y="1"/>
                    <a:pt x="344" y="0"/>
                    <a:pt x="356" y="7"/>
                  </a:cubicBezTo>
                  <a:lnTo>
                    <a:pt x="659" y="181"/>
                  </a:lnTo>
                  <a:cubicBezTo>
                    <a:pt x="670" y="188"/>
                    <a:pt x="668" y="200"/>
                    <a:pt x="655" y="207"/>
                  </a:cubicBezTo>
                  <a:lnTo>
                    <a:pt x="359" y="378"/>
                  </a:lnTo>
                  <a:cubicBezTo>
                    <a:pt x="346" y="386"/>
                    <a:pt x="326" y="387"/>
                    <a:pt x="314" y="380"/>
                  </a:cubicBezTo>
                </a:path>
              </a:pathLst>
            </a:custGeom>
            <a:solidFill>
              <a:srgbClr val="A6C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560">
              <a:extLst>
                <a:ext uri="{FF2B5EF4-FFF2-40B4-BE49-F238E27FC236}">
                  <a16:creationId xmlns:a16="http://schemas.microsoft.com/office/drawing/2014/main" id="{DA6CA50E-B8F1-42D3-BC87-26E2A9D0AEB8}"/>
                </a:ext>
              </a:extLst>
            </p:cNvPr>
            <p:cNvSpPr>
              <a:spLocks/>
            </p:cNvSpPr>
            <p:nvPr/>
          </p:nvSpPr>
          <p:spPr bwMode="auto">
            <a:xfrm>
              <a:off x="6038850" y="4214813"/>
              <a:ext cx="542925" cy="460375"/>
            </a:xfrm>
            <a:custGeom>
              <a:avLst/>
              <a:gdLst>
                <a:gd name="T0" fmla="*/ 662 w 662"/>
                <a:gd name="T1" fmla="*/ 367 h 561"/>
                <a:gd name="T2" fmla="*/ 662 w 662"/>
                <a:gd name="T3" fmla="*/ 0 h 561"/>
                <a:gd name="T4" fmla="*/ 0 w 662"/>
                <a:gd name="T5" fmla="*/ 0 h 561"/>
                <a:gd name="T6" fmla="*/ 0 w 662"/>
                <a:gd name="T7" fmla="*/ 367 h 561"/>
                <a:gd name="T8" fmla="*/ 0 w 662"/>
                <a:gd name="T9" fmla="*/ 367 h 561"/>
                <a:gd name="T10" fmla="*/ 8 w 662"/>
                <a:gd name="T11" fmla="*/ 379 h 561"/>
                <a:gd name="T12" fmla="*/ 310 w 662"/>
                <a:gd name="T13" fmla="*/ 554 h 561"/>
                <a:gd name="T14" fmla="*/ 355 w 662"/>
                <a:gd name="T15" fmla="*/ 552 h 561"/>
                <a:gd name="T16" fmla="*/ 651 w 662"/>
                <a:gd name="T17" fmla="*/ 381 h 561"/>
                <a:gd name="T18" fmla="*/ 662 w 662"/>
                <a:gd name="T19" fmla="*/ 36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2" h="561">
                  <a:moveTo>
                    <a:pt x="662" y="367"/>
                  </a:moveTo>
                  <a:lnTo>
                    <a:pt x="662" y="0"/>
                  </a:lnTo>
                  <a:lnTo>
                    <a:pt x="0" y="0"/>
                  </a:lnTo>
                  <a:lnTo>
                    <a:pt x="0" y="367"/>
                  </a:lnTo>
                  <a:lnTo>
                    <a:pt x="0" y="367"/>
                  </a:lnTo>
                  <a:cubicBezTo>
                    <a:pt x="0" y="372"/>
                    <a:pt x="2" y="376"/>
                    <a:pt x="8" y="379"/>
                  </a:cubicBezTo>
                  <a:lnTo>
                    <a:pt x="310" y="554"/>
                  </a:lnTo>
                  <a:cubicBezTo>
                    <a:pt x="322" y="561"/>
                    <a:pt x="342" y="560"/>
                    <a:pt x="355" y="552"/>
                  </a:cubicBezTo>
                  <a:lnTo>
                    <a:pt x="651" y="381"/>
                  </a:lnTo>
                  <a:cubicBezTo>
                    <a:pt x="658" y="377"/>
                    <a:pt x="662" y="372"/>
                    <a:pt x="662" y="367"/>
                  </a:cubicBezTo>
                </a:path>
              </a:pathLst>
            </a:custGeom>
            <a:solidFill>
              <a:srgbClr val="AC8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561">
              <a:extLst>
                <a:ext uri="{FF2B5EF4-FFF2-40B4-BE49-F238E27FC236}">
                  <a16:creationId xmlns:a16="http://schemas.microsoft.com/office/drawing/2014/main" id="{D1BB14D5-8F3F-4077-A9C5-743BD66EC498}"/>
                </a:ext>
              </a:extLst>
            </p:cNvPr>
            <p:cNvSpPr>
              <a:spLocks/>
            </p:cNvSpPr>
            <p:nvPr/>
          </p:nvSpPr>
          <p:spPr bwMode="auto">
            <a:xfrm>
              <a:off x="6310313" y="4214813"/>
              <a:ext cx="271463" cy="457200"/>
            </a:xfrm>
            <a:custGeom>
              <a:avLst/>
              <a:gdLst>
                <a:gd name="T0" fmla="*/ 0 w 331"/>
                <a:gd name="T1" fmla="*/ 558 h 558"/>
                <a:gd name="T2" fmla="*/ 0 w 331"/>
                <a:gd name="T3" fmla="*/ 0 h 558"/>
                <a:gd name="T4" fmla="*/ 331 w 331"/>
                <a:gd name="T5" fmla="*/ 0 h 558"/>
                <a:gd name="T6" fmla="*/ 331 w 331"/>
                <a:gd name="T7" fmla="*/ 367 h 558"/>
                <a:gd name="T8" fmla="*/ 320 w 331"/>
                <a:gd name="T9" fmla="*/ 381 h 558"/>
                <a:gd name="T10" fmla="*/ 24 w 331"/>
                <a:gd name="T11" fmla="*/ 552 h 558"/>
                <a:gd name="T12" fmla="*/ 24 w 331"/>
                <a:gd name="T13" fmla="*/ 552 h 558"/>
                <a:gd name="T14" fmla="*/ 0 w 331"/>
                <a:gd name="T15" fmla="*/ 558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558">
                  <a:moveTo>
                    <a:pt x="0" y="558"/>
                  </a:moveTo>
                  <a:lnTo>
                    <a:pt x="0" y="0"/>
                  </a:lnTo>
                  <a:lnTo>
                    <a:pt x="331" y="0"/>
                  </a:lnTo>
                  <a:lnTo>
                    <a:pt x="331" y="367"/>
                  </a:lnTo>
                  <a:cubicBezTo>
                    <a:pt x="331" y="372"/>
                    <a:pt x="327" y="377"/>
                    <a:pt x="320" y="381"/>
                  </a:cubicBezTo>
                  <a:lnTo>
                    <a:pt x="24" y="552"/>
                  </a:lnTo>
                  <a:lnTo>
                    <a:pt x="24" y="552"/>
                  </a:lnTo>
                  <a:cubicBezTo>
                    <a:pt x="17" y="556"/>
                    <a:pt x="9" y="558"/>
                    <a:pt x="0" y="558"/>
                  </a:cubicBezTo>
                  <a:close/>
                </a:path>
              </a:pathLst>
            </a:custGeom>
            <a:solidFill>
              <a:srgbClr val="9276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562">
              <a:extLst>
                <a:ext uri="{FF2B5EF4-FFF2-40B4-BE49-F238E27FC236}">
                  <a16:creationId xmlns:a16="http://schemas.microsoft.com/office/drawing/2014/main" id="{0BB109F4-807D-4908-9A70-939267B8A318}"/>
                </a:ext>
              </a:extLst>
            </p:cNvPr>
            <p:cNvSpPr>
              <a:spLocks/>
            </p:cNvSpPr>
            <p:nvPr/>
          </p:nvSpPr>
          <p:spPr bwMode="auto">
            <a:xfrm>
              <a:off x="6035675" y="4056063"/>
              <a:ext cx="549275" cy="317500"/>
            </a:xfrm>
            <a:custGeom>
              <a:avLst/>
              <a:gdLst>
                <a:gd name="T0" fmla="*/ 314 w 670"/>
                <a:gd name="T1" fmla="*/ 380 h 387"/>
                <a:gd name="T2" fmla="*/ 12 w 670"/>
                <a:gd name="T3" fmla="*/ 205 h 387"/>
                <a:gd name="T4" fmla="*/ 15 w 670"/>
                <a:gd name="T5" fmla="*/ 179 h 387"/>
                <a:gd name="T6" fmla="*/ 311 w 670"/>
                <a:gd name="T7" fmla="*/ 8 h 387"/>
                <a:gd name="T8" fmla="*/ 356 w 670"/>
                <a:gd name="T9" fmla="*/ 7 h 387"/>
                <a:gd name="T10" fmla="*/ 659 w 670"/>
                <a:gd name="T11" fmla="*/ 181 h 387"/>
                <a:gd name="T12" fmla="*/ 655 w 670"/>
                <a:gd name="T13" fmla="*/ 207 h 387"/>
                <a:gd name="T14" fmla="*/ 359 w 670"/>
                <a:gd name="T15" fmla="*/ 378 h 387"/>
                <a:gd name="T16" fmla="*/ 314 w 670"/>
                <a:gd name="T17" fmla="*/ 38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0" h="387">
                  <a:moveTo>
                    <a:pt x="314" y="380"/>
                  </a:moveTo>
                  <a:lnTo>
                    <a:pt x="12" y="205"/>
                  </a:lnTo>
                  <a:cubicBezTo>
                    <a:pt x="0" y="199"/>
                    <a:pt x="2" y="187"/>
                    <a:pt x="15" y="179"/>
                  </a:cubicBezTo>
                  <a:lnTo>
                    <a:pt x="311" y="8"/>
                  </a:lnTo>
                  <a:cubicBezTo>
                    <a:pt x="324" y="1"/>
                    <a:pt x="344" y="0"/>
                    <a:pt x="356" y="7"/>
                  </a:cubicBezTo>
                  <a:lnTo>
                    <a:pt x="659" y="181"/>
                  </a:lnTo>
                  <a:cubicBezTo>
                    <a:pt x="670" y="188"/>
                    <a:pt x="669" y="200"/>
                    <a:pt x="655" y="207"/>
                  </a:cubicBezTo>
                  <a:lnTo>
                    <a:pt x="359" y="378"/>
                  </a:lnTo>
                  <a:cubicBezTo>
                    <a:pt x="346" y="386"/>
                    <a:pt x="326" y="387"/>
                    <a:pt x="314" y="380"/>
                  </a:cubicBezTo>
                  <a:close/>
                </a:path>
              </a:pathLst>
            </a:custGeom>
            <a:solidFill>
              <a:srgbClr val="C09F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563">
              <a:extLst>
                <a:ext uri="{FF2B5EF4-FFF2-40B4-BE49-F238E27FC236}">
                  <a16:creationId xmlns:a16="http://schemas.microsoft.com/office/drawing/2014/main" id="{C5891E28-D97C-4283-A96A-9A178CC28FA4}"/>
                </a:ext>
              </a:extLst>
            </p:cNvPr>
            <p:cNvSpPr>
              <a:spLocks/>
            </p:cNvSpPr>
            <p:nvPr/>
          </p:nvSpPr>
          <p:spPr bwMode="auto">
            <a:xfrm>
              <a:off x="7265988" y="1308100"/>
              <a:ext cx="1639888" cy="4286250"/>
            </a:xfrm>
            <a:custGeom>
              <a:avLst/>
              <a:gdLst>
                <a:gd name="T0" fmla="*/ 1875 w 2003"/>
                <a:gd name="T1" fmla="*/ 972 h 5226"/>
                <a:gd name="T2" fmla="*/ 225 w 2003"/>
                <a:gd name="T3" fmla="*/ 19 h 5226"/>
                <a:gd name="T4" fmla="*/ 148 w 2003"/>
                <a:gd name="T5" fmla="*/ 10 h 5226"/>
                <a:gd name="T6" fmla="*/ 121 w 2003"/>
                <a:gd name="T7" fmla="*/ 31 h 5226"/>
                <a:gd name="T8" fmla="*/ 46 w 2003"/>
                <a:gd name="T9" fmla="*/ 92 h 5226"/>
                <a:gd name="T10" fmla="*/ 0 w 2003"/>
                <a:gd name="T11" fmla="*/ 196 h 5226"/>
                <a:gd name="T12" fmla="*/ 0 w 2003"/>
                <a:gd name="T13" fmla="*/ 4010 h 5226"/>
                <a:gd name="T14" fmla="*/ 128 w 2003"/>
                <a:gd name="T15" fmla="*/ 4254 h 5226"/>
                <a:gd name="T16" fmla="*/ 1778 w 2003"/>
                <a:gd name="T17" fmla="*/ 5206 h 5226"/>
                <a:gd name="T18" fmla="*/ 1865 w 2003"/>
                <a:gd name="T19" fmla="*/ 5211 h 5226"/>
                <a:gd name="T20" fmla="*/ 1865 w 2003"/>
                <a:gd name="T21" fmla="*/ 5211 h 5226"/>
                <a:gd name="T22" fmla="*/ 1866 w 2003"/>
                <a:gd name="T23" fmla="*/ 5210 h 5226"/>
                <a:gd name="T24" fmla="*/ 1873 w 2003"/>
                <a:gd name="T25" fmla="*/ 5204 h 5226"/>
                <a:gd name="T26" fmla="*/ 1964 w 2003"/>
                <a:gd name="T27" fmla="*/ 5130 h 5226"/>
                <a:gd name="T28" fmla="*/ 1971 w 2003"/>
                <a:gd name="T29" fmla="*/ 5123 h 5226"/>
                <a:gd name="T30" fmla="*/ 2003 w 2003"/>
                <a:gd name="T31" fmla="*/ 5030 h 5226"/>
                <a:gd name="T32" fmla="*/ 2003 w 2003"/>
                <a:gd name="T33" fmla="*/ 1216 h 5226"/>
                <a:gd name="T34" fmla="*/ 1875 w 2003"/>
                <a:gd name="T35" fmla="*/ 972 h 5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3" h="5226">
                  <a:moveTo>
                    <a:pt x="1875" y="972"/>
                  </a:moveTo>
                  <a:lnTo>
                    <a:pt x="225" y="19"/>
                  </a:lnTo>
                  <a:cubicBezTo>
                    <a:pt x="196" y="2"/>
                    <a:pt x="169" y="0"/>
                    <a:pt x="148" y="10"/>
                  </a:cubicBezTo>
                  <a:cubicBezTo>
                    <a:pt x="137" y="14"/>
                    <a:pt x="128" y="21"/>
                    <a:pt x="121" y="31"/>
                  </a:cubicBezTo>
                  <a:lnTo>
                    <a:pt x="46" y="92"/>
                  </a:lnTo>
                  <a:cubicBezTo>
                    <a:pt x="18" y="107"/>
                    <a:pt x="0" y="143"/>
                    <a:pt x="0" y="196"/>
                  </a:cubicBezTo>
                  <a:lnTo>
                    <a:pt x="0" y="4010"/>
                  </a:lnTo>
                  <a:cubicBezTo>
                    <a:pt x="0" y="4104"/>
                    <a:pt x="57" y="4213"/>
                    <a:pt x="128" y="4254"/>
                  </a:cubicBezTo>
                  <a:lnTo>
                    <a:pt x="1778" y="5206"/>
                  </a:lnTo>
                  <a:cubicBezTo>
                    <a:pt x="1811" y="5226"/>
                    <a:pt x="1842" y="5226"/>
                    <a:pt x="1865" y="5211"/>
                  </a:cubicBezTo>
                  <a:lnTo>
                    <a:pt x="1865" y="5211"/>
                  </a:lnTo>
                  <a:lnTo>
                    <a:pt x="1866" y="5210"/>
                  </a:lnTo>
                  <a:cubicBezTo>
                    <a:pt x="1869" y="5208"/>
                    <a:pt x="1871" y="5206"/>
                    <a:pt x="1873" y="5204"/>
                  </a:cubicBezTo>
                  <a:lnTo>
                    <a:pt x="1964" y="5130"/>
                  </a:lnTo>
                  <a:cubicBezTo>
                    <a:pt x="1966" y="5128"/>
                    <a:pt x="1969" y="5126"/>
                    <a:pt x="1971" y="5123"/>
                  </a:cubicBezTo>
                  <a:cubicBezTo>
                    <a:pt x="1991" y="5105"/>
                    <a:pt x="2003" y="5073"/>
                    <a:pt x="2003" y="5030"/>
                  </a:cubicBezTo>
                  <a:lnTo>
                    <a:pt x="2003" y="1216"/>
                  </a:lnTo>
                  <a:cubicBezTo>
                    <a:pt x="2003" y="1122"/>
                    <a:pt x="1946" y="1013"/>
                    <a:pt x="1875" y="972"/>
                  </a:cubicBezTo>
                  <a:close/>
                </a:path>
              </a:pathLst>
            </a:custGeom>
            <a:solidFill>
              <a:srgbClr val="533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564">
              <a:extLst>
                <a:ext uri="{FF2B5EF4-FFF2-40B4-BE49-F238E27FC236}">
                  <a16:creationId xmlns:a16="http://schemas.microsoft.com/office/drawing/2014/main" id="{19FDADDC-DBD5-4276-B4B8-E3B6F8CF8863}"/>
                </a:ext>
              </a:extLst>
            </p:cNvPr>
            <p:cNvSpPr>
              <a:spLocks/>
            </p:cNvSpPr>
            <p:nvPr/>
          </p:nvSpPr>
          <p:spPr bwMode="auto">
            <a:xfrm>
              <a:off x="7265988" y="1355725"/>
              <a:ext cx="1560513" cy="4254500"/>
            </a:xfrm>
            <a:custGeom>
              <a:avLst/>
              <a:gdLst>
                <a:gd name="T0" fmla="*/ 1778 w 1905"/>
                <a:gd name="T1" fmla="*/ 5147 h 5188"/>
                <a:gd name="T2" fmla="*/ 128 w 1905"/>
                <a:gd name="T3" fmla="*/ 4195 h 5188"/>
                <a:gd name="T4" fmla="*/ 0 w 1905"/>
                <a:gd name="T5" fmla="*/ 3951 h 5188"/>
                <a:gd name="T6" fmla="*/ 0 w 1905"/>
                <a:gd name="T7" fmla="*/ 137 h 5188"/>
                <a:gd name="T8" fmla="*/ 128 w 1905"/>
                <a:gd name="T9" fmla="*/ 40 h 5188"/>
                <a:gd name="T10" fmla="*/ 1778 w 1905"/>
                <a:gd name="T11" fmla="*/ 993 h 5188"/>
                <a:gd name="T12" fmla="*/ 1905 w 1905"/>
                <a:gd name="T13" fmla="*/ 1237 h 5188"/>
                <a:gd name="T14" fmla="*/ 1905 w 1905"/>
                <a:gd name="T15" fmla="*/ 5051 h 5188"/>
                <a:gd name="T16" fmla="*/ 1778 w 1905"/>
                <a:gd name="T17" fmla="*/ 5147 h 5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5" h="5188">
                  <a:moveTo>
                    <a:pt x="1778" y="5147"/>
                  </a:moveTo>
                  <a:lnTo>
                    <a:pt x="128" y="4195"/>
                  </a:lnTo>
                  <a:cubicBezTo>
                    <a:pt x="57" y="4154"/>
                    <a:pt x="0" y="4045"/>
                    <a:pt x="0" y="3951"/>
                  </a:cubicBezTo>
                  <a:lnTo>
                    <a:pt x="0" y="137"/>
                  </a:lnTo>
                  <a:cubicBezTo>
                    <a:pt x="0" y="43"/>
                    <a:pt x="57" y="0"/>
                    <a:pt x="128" y="40"/>
                  </a:cubicBezTo>
                  <a:lnTo>
                    <a:pt x="1778" y="993"/>
                  </a:lnTo>
                  <a:cubicBezTo>
                    <a:pt x="1848" y="1034"/>
                    <a:pt x="1905" y="1143"/>
                    <a:pt x="1905" y="1237"/>
                  </a:cubicBezTo>
                  <a:lnTo>
                    <a:pt x="1905" y="5051"/>
                  </a:lnTo>
                  <a:cubicBezTo>
                    <a:pt x="1905" y="5145"/>
                    <a:pt x="1848" y="5188"/>
                    <a:pt x="1778" y="5147"/>
                  </a:cubicBezTo>
                  <a:close/>
                </a:path>
              </a:pathLst>
            </a:custGeom>
            <a:solidFill>
              <a:srgbClr val="826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565">
              <a:extLst>
                <a:ext uri="{FF2B5EF4-FFF2-40B4-BE49-F238E27FC236}">
                  <a16:creationId xmlns:a16="http://schemas.microsoft.com/office/drawing/2014/main" id="{16F76072-6556-4B85-8754-8305E85DCCB7}"/>
                </a:ext>
              </a:extLst>
            </p:cNvPr>
            <p:cNvSpPr>
              <a:spLocks/>
            </p:cNvSpPr>
            <p:nvPr/>
          </p:nvSpPr>
          <p:spPr bwMode="auto">
            <a:xfrm>
              <a:off x="7386638" y="1735138"/>
              <a:ext cx="1319213" cy="1743075"/>
            </a:xfrm>
            <a:custGeom>
              <a:avLst/>
              <a:gdLst>
                <a:gd name="T0" fmla="*/ 1564 w 1609"/>
                <a:gd name="T1" fmla="*/ 2110 h 2124"/>
                <a:gd name="T2" fmla="*/ 45 w 1609"/>
                <a:gd name="T3" fmla="*/ 1233 h 2124"/>
                <a:gd name="T4" fmla="*/ 0 w 1609"/>
                <a:gd name="T5" fmla="*/ 1146 h 2124"/>
                <a:gd name="T6" fmla="*/ 0 w 1609"/>
                <a:gd name="T7" fmla="*/ 49 h 2124"/>
                <a:gd name="T8" fmla="*/ 45 w 1609"/>
                <a:gd name="T9" fmla="*/ 15 h 2124"/>
                <a:gd name="T10" fmla="*/ 1564 w 1609"/>
                <a:gd name="T11" fmla="*/ 892 h 2124"/>
                <a:gd name="T12" fmla="*/ 1609 w 1609"/>
                <a:gd name="T13" fmla="*/ 979 h 2124"/>
                <a:gd name="T14" fmla="*/ 1609 w 1609"/>
                <a:gd name="T15" fmla="*/ 2075 h 2124"/>
                <a:gd name="T16" fmla="*/ 1564 w 1609"/>
                <a:gd name="T17" fmla="*/ 2110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9" h="2124">
                  <a:moveTo>
                    <a:pt x="1564" y="2110"/>
                  </a:moveTo>
                  <a:lnTo>
                    <a:pt x="45" y="1233"/>
                  </a:lnTo>
                  <a:cubicBezTo>
                    <a:pt x="20" y="1219"/>
                    <a:pt x="0" y="1179"/>
                    <a:pt x="0" y="1146"/>
                  </a:cubicBezTo>
                  <a:lnTo>
                    <a:pt x="0" y="49"/>
                  </a:lnTo>
                  <a:cubicBezTo>
                    <a:pt x="0" y="16"/>
                    <a:pt x="20" y="0"/>
                    <a:pt x="45" y="15"/>
                  </a:cubicBezTo>
                  <a:lnTo>
                    <a:pt x="1564" y="892"/>
                  </a:lnTo>
                  <a:cubicBezTo>
                    <a:pt x="1589" y="906"/>
                    <a:pt x="1609" y="945"/>
                    <a:pt x="1609" y="979"/>
                  </a:cubicBezTo>
                  <a:lnTo>
                    <a:pt x="1609" y="2075"/>
                  </a:lnTo>
                  <a:cubicBezTo>
                    <a:pt x="1609" y="2109"/>
                    <a:pt x="1589" y="2124"/>
                    <a:pt x="1564" y="2110"/>
                  </a:cubicBezTo>
                  <a:close/>
                </a:path>
              </a:pathLst>
            </a:custGeom>
            <a:solidFill>
              <a:srgbClr val="C7AF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66">
              <a:extLst>
                <a:ext uri="{FF2B5EF4-FFF2-40B4-BE49-F238E27FC236}">
                  <a16:creationId xmlns:a16="http://schemas.microsoft.com/office/drawing/2014/main" id="{648F9D1B-A0A4-4E04-B262-65AFB36C2F53}"/>
                </a:ext>
              </a:extLst>
            </p:cNvPr>
            <p:cNvSpPr>
              <a:spLocks/>
            </p:cNvSpPr>
            <p:nvPr/>
          </p:nvSpPr>
          <p:spPr bwMode="auto">
            <a:xfrm>
              <a:off x="7472363" y="2128838"/>
              <a:ext cx="58738" cy="615950"/>
            </a:xfrm>
            <a:custGeom>
              <a:avLst/>
              <a:gdLst>
                <a:gd name="T0" fmla="*/ 38 w 71"/>
                <a:gd name="T1" fmla="*/ 13 h 751"/>
                <a:gd name="T2" fmla="*/ 33 w 71"/>
                <a:gd name="T3" fmla="*/ 11 h 751"/>
                <a:gd name="T4" fmla="*/ 0 w 71"/>
                <a:gd name="T5" fmla="*/ 36 h 751"/>
                <a:gd name="T6" fmla="*/ 0 w 71"/>
                <a:gd name="T7" fmla="*/ 702 h 751"/>
                <a:gd name="T8" fmla="*/ 8 w 71"/>
                <a:gd name="T9" fmla="*/ 717 h 751"/>
                <a:gd name="T10" fmla="*/ 63 w 71"/>
                <a:gd name="T11" fmla="*/ 749 h 751"/>
                <a:gd name="T12" fmla="*/ 71 w 71"/>
                <a:gd name="T13" fmla="*/ 743 h 751"/>
                <a:gd name="T14" fmla="*/ 71 w 71"/>
                <a:gd name="T15" fmla="*/ 77 h 751"/>
                <a:gd name="T16" fmla="*/ 38 w 71"/>
                <a:gd name="T17" fmla="*/ 13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51">
                  <a:moveTo>
                    <a:pt x="38" y="13"/>
                  </a:moveTo>
                  <a:lnTo>
                    <a:pt x="33" y="11"/>
                  </a:lnTo>
                  <a:cubicBezTo>
                    <a:pt x="15" y="0"/>
                    <a:pt x="0" y="11"/>
                    <a:pt x="0" y="36"/>
                  </a:cubicBezTo>
                  <a:lnTo>
                    <a:pt x="0" y="702"/>
                  </a:lnTo>
                  <a:cubicBezTo>
                    <a:pt x="0" y="708"/>
                    <a:pt x="3" y="714"/>
                    <a:pt x="8" y="717"/>
                  </a:cubicBezTo>
                  <a:lnTo>
                    <a:pt x="63" y="749"/>
                  </a:lnTo>
                  <a:cubicBezTo>
                    <a:pt x="67" y="751"/>
                    <a:pt x="71" y="749"/>
                    <a:pt x="71" y="743"/>
                  </a:cubicBezTo>
                  <a:lnTo>
                    <a:pt x="71" y="77"/>
                  </a:lnTo>
                  <a:cubicBezTo>
                    <a:pt x="71" y="52"/>
                    <a:pt x="56" y="24"/>
                    <a:pt x="38" y="13"/>
                  </a:cubicBezTo>
                </a:path>
              </a:pathLst>
            </a:custGeom>
            <a:solidFill>
              <a:srgbClr val="CF5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567">
              <a:extLst>
                <a:ext uri="{FF2B5EF4-FFF2-40B4-BE49-F238E27FC236}">
                  <a16:creationId xmlns:a16="http://schemas.microsoft.com/office/drawing/2014/main" id="{18D048DF-6AFA-4E1B-94D3-D078DB564EB2}"/>
                </a:ext>
              </a:extLst>
            </p:cNvPr>
            <p:cNvSpPr>
              <a:spLocks/>
            </p:cNvSpPr>
            <p:nvPr/>
          </p:nvSpPr>
          <p:spPr bwMode="auto">
            <a:xfrm>
              <a:off x="7521575" y="2160588"/>
              <a:ext cx="9525" cy="100013"/>
            </a:xfrm>
            <a:custGeom>
              <a:avLst/>
              <a:gdLst>
                <a:gd name="T0" fmla="*/ 10 w 10"/>
                <a:gd name="T1" fmla="*/ 122 h 122"/>
                <a:gd name="T2" fmla="*/ 10 w 10"/>
                <a:gd name="T3" fmla="*/ 37 h 122"/>
                <a:gd name="T4" fmla="*/ 0 w 10"/>
                <a:gd name="T5" fmla="*/ 0 h 122"/>
                <a:gd name="T6" fmla="*/ 10 w 10"/>
                <a:gd name="T7" fmla="*/ 34 h 122"/>
                <a:gd name="T8" fmla="*/ 10 w 10"/>
                <a:gd name="T9" fmla="*/ 122 h 122"/>
                <a:gd name="T10" fmla="*/ 10 w 10"/>
                <a:gd name="T11" fmla="*/ 122 h 122"/>
              </a:gdLst>
              <a:ahLst/>
              <a:cxnLst>
                <a:cxn ang="0">
                  <a:pos x="T0" y="T1"/>
                </a:cxn>
                <a:cxn ang="0">
                  <a:pos x="T2" y="T3"/>
                </a:cxn>
                <a:cxn ang="0">
                  <a:pos x="T4" y="T5"/>
                </a:cxn>
                <a:cxn ang="0">
                  <a:pos x="T6" y="T7"/>
                </a:cxn>
                <a:cxn ang="0">
                  <a:pos x="T8" y="T9"/>
                </a:cxn>
                <a:cxn ang="0">
                  <a:pos x="T10" y="T11"/>
                </a:cxn>
              </a:cxnLst>
              <a:rect l="0" t="0" r="r" b="b"/>
              <a:pathLst>
                <a:path w="10" h="122">
                  <a:moveTo>
                    <a:pt x="10" y="122"/>
                  </a:moveTo>
                  <a:lnTo>
                    <a:pt x="10" y="37"/>
                  </a:lnTo>
                  <a:cubicBezTo>
                    <a:pt x="10" y="25"/>
                    <a:pt x="6" y="12"/>
                    <a:pt x="0" y="0"/>
                  </a:cubicBezTo>
                  <a:cubicBezTo>
                    <a:pt x="6" y="11"/>
                    <a:pt x="10" y="23"/>
                    <a:pt x="10" y="34"/>
                  </a:cubicBezTo>
                  <a:lnTo>
                    <a:pt x="10" y="122"/>
                  </a:lnTo>
                  <a:lnTo>
                    <a:pt x="10" y="122"/>
                  </a:ln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568">
              <a:extLst>
                <a:ext uri="{FF2B5EF4-FFF2-40B4-BE49-F238E27FC236}">
                  <a16:creationId xmlns:a16="http://schemas.microsoft.com/office/drawing/2014/main" id="{92B5A586-521B-4280-9820-2DF98BD9B1B6}"/>
                </a:ext>
              </a:extLst>
            </p:cNvPr>
            <p:cNvSpPr>
              <a:spLocks/>
            </p:cNvSpPr>
            <p:nvPr/>
          </p:nvSpPr>
          <p:spPr bwMode="auto">
            <a:xfrm>
              <a:off x="7507288" y="2143125"/>
              <a:ext cx="23813" cy="133350"/>
            </a:xfrm>
            <a:custGeom>
              <a:avLst/>
              <a:gdLst>
                <a:gd name="T0" fmla="*/ 9 w 28"/>
                <a:gd name="T1" fmla="*/ 163 h 163"/>
                <a:gd name="T2" fmla="*/ 9 w 28"/>
                <a:gd name="T3" fmla="*/ 43 h 163"/>
                <a:gd name="T4" fmla="*/ 0 w 28"/>
                <a:gd name="T5" fmla="*/ 0 h 163"/>
                <a:gd name="T6" fmla="*/ 18 w 28"/>
                <a:gd name="T7" fmla="*/ 22 h 163"/>
                <a:gd name="T8" fmla="*/ 28 w 28"/>
                <a:gd name="T9" fmla="*/ 59 h 163"/>
                <a:gd name="T10" fmla="*/ 28 w 28"/>
                <a:gd name="T11" fmla="*/ 144 h 163"/>
                <a:gd name="T12" fmla="*/ 9 w 28"/>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8" h="163">
                  <a:moveTo>
                    <a:pt x="9" y="163"/>
                  </a:moveTo>
                  <a:lnTo>
                    <a:pt x="9" y="43"/>
                  </a:lnTo>
                  <a:cubicBezTo>
                    <a:pt x="9" y="29"/>
                    <a:pt x="6" y="13"/>
                    <a:pt x="0" y="0"/>
                  </a:cubicBezTo>
                  <a:cubicBezTo>
                    <a:pt x="7" y="6"/>
                    <a:pt x="14" y="14"/>
                    <a:pt x="18" y="22"/>
                  </a:cubicBezTo>
                  <a:cubicBezTo>
                    <a:pt x="24" y="34"/>
                    <a:pt x="28" y="47"/>
                    <a:pt x="28" y="59"/>
                  </a:cubicBezTo>
                  <a:lnTo>
                    <a:pt x="28" y="144"/>
                  </a:lnTo>
                  <a:cubicBezTo>
                    <a:pt x="22" y="150"/>
                    <a:pt x="15" y="157"/>
                    <a:pt x="9" y="163"/>
                  </a:cubicBezTo>
                  <a:close/>
                </a:path>
              </a:pathLst>
            </a:custGeom>
            <a:solidFill>
              <a:srgbClr val="B04B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569">
              <a:extLst>
                <a:ext uri="{FF2B5EF4-FFF2-40B4-BE49-F238E27FC236}">
                  <a16:creationId xmlns:a16="http://schemas.microsoft.com/office/drawing/2014/main" id="{80F63756-097A-40B6-AAD1-A566313CEDC9}"/>
                </a:ext>
              </a:extLst>
            </p:cNvPr>
            <p:cNvSpPr>
              <a:spLocks/>
            </p:cNvSpPr>
            <p:nvPr/>
          </p:nvSpPr>
          <p:spPr bwMode="auto">
            <a:xfrm>
              <a:off x="8016875" y="2214563"/>
              <a:ext cx="58738" cy="844550"/>
            </a:xfrm>
            <a:custGeom>
              <a:avLst/>
              <a:gdLst>
                <a:gd name="T0" fmla="*/ 38 w 71"/>
                <a:gd name="T1" fmla="*/ 13 h 1030"/>
                <a:gd name="T2" fmla="*/ 33 w 71"/>
                <a:gd name="T3" fmla="*/ 10 h 1030"/>
                <a:gd name="T4" fmla="*/ 0 w 71"/>
                <a:gd name="T5" fmla="*/ 35 h 1030"/>
                <a:gd name="T6" fmla="*/ 0 w 71"/>
                <a:gd name="T7" fmla="*/ 981 h 1030"/>
                <a:gd name="T8" fmla="*/ 8 w 71"/>
                <a:gd name="T9" fmla="*/ 996 h 1030"/>
                <a:gd name="T10" fmla="*/ 63 w 71"/>
                <a:gd name="T11" fmla="*/ 1028 h 1030"/>
                <a:gd name="T12" fmla="*/ 71 w 71"/>
                <a:gd name="T13" fmla="*/ 1022 h 1030"/>
                <a:gd name="T14" fmla="*/ 71 w 71"/>
                <a:gd name="T15" fmla="*/ 76 h 1030"/>
                <a:gd name="T16" fmla="*/ 38 w 71"/>
                <a:gd name="T17" fmla="*/ 1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030">
                  <a:moveTo>
                    <a:pt x="38" y="13"/>
                  </a:moveTo>
                  <a:lnTo>
                    <a:pt x="33" y="10"/>
                  </a:lnTo>
                  <a:cubicBezTo>
                    <a:pt x="15" y="0"/>
                    <a:pt x="0" y="11"/>
                    <a:pt x="0" y="35"/>
                  </a:cubicBezTo>
                  <a:lnTo>
                    <a:pt x="0" y="981"/>
                  </a:lnTo>
                  <a:cubicBezTo>
                    <a:pt x="0" y="987"/>
                    <a:pt x="4" y="993"/>
                    <a:pt x="8" y="996"/>
                  </a:cubicBezTo>
                  <a:lnTo>
                    <a:pt x="63" y="1028"/>
                  </a:lnTo>
                  <a:cubicBezTo>
                    <a:pt x="68" y="1030"/>
                    <a:pt x="71" y="1028"/>
                    <a:pt x="71" y="1022"/>
                  </a:cubicBezTo>
                  <a:lnTo>
                    <a:pt x="71" y="76"/>
                  </a:lnTo>
                  <a:cubicBezTo>
                    <a:pt x="71" y="52"/>
                    <a:pt x="56" y="24"/>
                    <a:pt x="38" y="13"/>
                  </a:cubicBezTo>
                </a:path>
              </a:pathLst>
            </a:custGeom>
            <a:solidFill>
              <a:srgbClr val="77A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570">
              <a:extLst>
                <a:ext uri="{FF2B5EF4-FFF2-40B4-BE49-F238E27FC236}">
                  <a16:creationId xmlns:a16="http://schemas.microsoft.com/office/drawing/2014/main" id="{F2EBC85D-61C5-47F7-B713-69CF7F9BC25D}"/>
                </a:ext>
              </a:extLst>
            </p:cNvPr>
            <p:cNvSpPr>
              <a:spLocks/>
            </p:cNvSpPr>
            <p:nvPr/>
          </p:nvSpPr>
          <p:spPr bwMode="auto">
            <a:xfrm>
              <a:off x="8074025" y="2909888"/>
              <a:ext cx="1588" cy="147638"/>
            </a:xfrm>
            <a:custGeom>
              <a:avLst/>
              <a:gdLst>
                <a:gd name="T0" fmla="*/ 0 w 2"/>
                <a:gd name="T1" fmla="*/ 181 h 181"/>
                <a:gd name="T2" fmla="*/ 2 w 2"/>
                <a:gd name="T3" fmla="*/ 175 h 181"/>
                <a:gd name="T4" fmla="*/ 2 w 2"/>
                <a:gd name="T5" fmla="*/ 0 h 181"/>
                <a:gd name="T6" fmla="*/ 2 w 2"/>
                <a:gd name="T7" fmla="*/ 176 h 181"/>
                <a:gd name="T8" fmla="*/ 0 w 2"/>
                <a:gd name="T9" fmla="*/ 181 h 181"/>
              </a:gdLst>
              <a:ahLst/>
              <a:cxnLst>
                <a:cxn ang="0">
                  <a:pos x="T0" y="T1"/>
                </a:cxn>
                <a:cxn ang="0">
                  <a:pos x="T2" y="T3"/>
                </a:cxn>
                <a:cxn ang="0">
                  <a:pos x="T4" y="T5"/>
                </a:cxn>
                <a:cxn ang="0">
                  <a:pos x="T6" y="T7"/>
                </a:cxn>
                <a:cxn ang="0">
                  <a:pos x="T8" y="T9"/>
                </a:cxn>
              </a:cxnLst>
              <a:rect l="0" t="0" r="r" b="b"/>
              <a:pathLst>
                <a:path w="2" h="181">
                  <a:moveTo>
                    <a:pt x="0" y="181"/>
                  </a:moveTo>
                  <a:cubicBezTo>
                    <a:pt x="1" y="180"/>
                    <a:pt x="2" y="178"/>
                    <a:pt x="2" y="175"/>
                  </a:cubicBezTo>
                  <a:lnTo>
                    <a:pt x="2" y="0"/>
                  </a:lnTo>
                  <a:lnTo>
                    <a:pt x="2" y="176"/>
                  </a:lnTo>
                  <a:cubicBezTo>
                    <a:pt x="2" y="178"/>
                    <a:pt x="1" y="180"/>
                    <a:pt x="0" y="181"/>
                  </a:cubicBezTo>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571">
              <a:extLst>
                <a:ext uri="{FF2B5EF4-FFF2-40B4-BE49-F238E27FC236}">
                  <a16:creationId xmlns:a16="http://schemas.microsoft.com/office/drawing/2014/main" id="{44042F16-686F-4D7D-BEE7-D59A4339C070}"/>
                </a:ext>
              </a:extLst>
            </p:cNvPr>
            <p:cNvSpPr>
              <a:spLocks noEditPoints="1"/>
            </p:cNvSpPr>
            <p:nvPr/>
          </p:nvSpPr>
          <p:spPr bwMode="auto">
            <a:xfrm>
              <a:off x="8051800" y="2417763"/>
              <a:ext cx="23813" cy="641350"/>
            </a:xfrm>
            <a:custGeom>
              <a:avLst/>
              <a:gdLst>
                <a:gd name="T0" fmla="*/ 24 w 28"/>
                <a:gd name="T1" fmla="*/ 782 h 782"/>
                <a:gd name="T2" fmla="*/ 20 w 28"/>
                <a:gd name="T3" fmla="*/ 781 h 782"/>
                <a:gd name="T4" fmla="*/ 0 w 28"/>
                <a:gd name="T5" fmla="*/ 769 h 782"/>
                <a:gd name="T6" fmla="*/ 3 w 28"/>
                <a:gd name="T7" fmla="*/ 770 h 782"/>
                <a:gd name="T8" fmla="*/ 9 w 28"/>
                <a:gd name="T9" fmla="*/ 760 h 782"/>
                <a:gd name="T10" fmla="*/ 9 w 28"/>
                <a:gd name="T11" fmla="*/ 619 h 782"/>
                <a:gd name="T12" fmla="*/ 28 w 28"/>
                <a:gd name="T13" fmla="*/ 600 h 782"/>
                <a:gd name="T14" fmla="*/ 28 w 28"/>
                <a:gd name="T15" fmla="*/ 775 h 782"/>
                <a:gd name="T16" fmla="*/ 26 w 28"/>
                <a:gd name="T17" fmla="*/ 781 h 782"/>
                <a:gd name="T18" fmla="*/ 24 w 28"/>
                <a:gd name="T19" fmla="*/ 782 h 782"/>
                <a:gd name="T20" fmla="*/ 9 w 28"/>
                <a:gd name="T21" fmla="*/ 489 h 782"/>
                <a:gd name="T22" fmla="*/ 9 w 28"/>
                <a:gd name="T23" fmla="*/ 19 h 782"/>
                <a:gd name="T24" fmla="*/ 28 w 28"/>
                <a:gd name="T25" fmla="*/ 0 h 782"/>
                <a:gd name="T26" fmla="*/ 28 w 28"/>
                <a:gd name="T27" fmla="*/ 470 h 782"/>
                <a:gd name="T28" fmla="*/ 9 w 28"/>
                <a:gd name="T29" fmla="*/ 48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782">
                  <a:moveTo>
                    <a:pt x="24" y="782"/>
                  </a:moveTo>
                  <a:cubicBezTo>
                    <a:pt x="23" y="782"/>
                    <a:pt x="21" y="781"/>
                    <a:pt x="20" y="781"/>
                  </a:cubicBezTo>
                  <a:lnTo>
                    <a:pt x="0" y="769"/>
                  </a:lnTo>
                  <a:cubicBezTo>
                    <a:pt x="1" y="770"/>
                    <a:pt x="2" y="770"/>
                    <a:pt x="3" y="770"/>
                  </a:cubicBezTo>
                  <a:cubicBezTo>
                    <a:pt x="7" y="770"/>
                    <a:pt x="9" y="766"/>
                    <a:pt x="9" y="760"/>
                  </a:cubicBezTo>
                  <a:lnTo>
                    <a:pt x="9" y="619"/>
                  </a:lnTo>
                  <a:lnTo>
                    <a:pt x="28" y="600"/>
                  </a:lnTo>
                  <a:lnTo>
                    <a:pt x="28" y="775"/>
                  </a:lnTo>
                  <a:cubicBezTo>
                    <a:pt x="28" y="778"/>
                    <a:pt x="27" y="780"/>
                    <a:pt x="26" y="781"/>
                  </a:cubicBezTo>
                  <a:cubicBezTo>
                    <a:pt x="25" y="781"/>
                    <a:pt x="25" y="782"/>
                    <a:pt x="24" y="782"/>
                  </a:cubicBezTo>
                  <a:moveTo>
                    <a:pt x="9" y="489"/>
                  </a:moveTo>
                  <a:lnTo>
                    <a:pt x="9" y="19"/>
                  </a:lnTo>
                  <a:lnTo>
                    <a:pt x="28" y="0"/>
                  </a:lnTo>
                  <a:lnTo>
                    <a:pt x="28" y="470"/>
                  </a:lnTo>
                  <a:cubicBezTo>
                    <a:pt x="22" y="476"/>
                    <a:pt x="16" y="482"/>
                    <a:pt x="9" y="489"/>
                  </a:cubicBezTo>
                  <a:close/>
                </a:path>
              </a:pathLst>
            </a:custGeom>
            <a:solidFill>
              <a:srgbClr val="659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572">
              <a:extLst>
                <a:ext uri="{FF2B5EF4-FFF2-40B4-BE49-F238E27FC236}">
                  <a16:creationId xmlns:a16="http://schemas.microsoft.com/office/drawing/2014/main" id="{D9381BAE-647C-4E3D-A5E4-D5BB74555EB3}"/>
                </a:ext>
              </a:extLst>
            </p:cNvPr>
            <p:cNvSpPr>
              <a:spLocks/>
            </p:cNvSpPr>
            <p:nvPr/>
          </p:nvSpPr>
          <p:spPr bwMode="auto">
            <a:xfrm>
              <a:off x="7581900" y="2271713"/>
              <a:ext cx="57150" cy="534988"/>
            </a:xfrm>
            <a:custGeom>
              <a:avLst/>
              <a:gdLst>
                <a:gd name="T0" fmla="*/ 38 w 71"/>
                <a:gd name="T1" fmla="*/ 14 h 653"/>
                <a:gd name="T2" fmla="*/ 33 w 71"/>
                <a:gd name="T3" fmla="*/ 11 h 653"/>
                <a:gd name="T4" fmla="*/ 0 w 71"/>
                <a:gd name="T5" fmla="*/ 36 h 653"/>
                <a:gd name="T6" fmla="*/ 0 w 71"/>
                <a:gd name="T7" fmla="*/ 604 h 653"/>
                <a:gd name="T8" fmla="*/ 8 w 71"/>
                <a:gd name="T9" fmla="*/ 619 h 653"/>
                <a:gd name="T10" fmla="*/ 63 w 71"/>
                <a:gd name="T11" fmla="*/ 651 h 653"/>
                <a:gd name="T12" fmla="*/ 71 w 71"/>
                <a:gd name="T13" fmla="*/ 645 h 653"/>
                <a:gd name="T14" fmla="*/ 71 w 71"/>
                <a:gd name="T15" fmla="*/ 77 h 653"/>
                <a:gd name="T16" fmla="*/ 38 w 71"/>
                <a:gd name="T17" fmla="*/ 14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653">
                  <a:moveTo>
                    <a:pt x="38" y="14"/>
                  </a:moveTo>
                  <a:lnTo>
                    <a:pt x="33" y="11"/>
                  </a:lnTo>
                  <a:cubicBezTo>
                    <a:pt x="15" y="0"/>
                    <a:pt x="0" y="11"/>
                    <a:pt x="0" y="36"/>
                  </a:cubicBezTo>
                  <a:lnTo>
                    <a:pt x="0" y="604"/>
                  </a:lnTo>
                  <a:cubicBezTo>
                    <a:pt x="0" y="610"/>
                    <a:pt x="3" y="616"/>
                    <a:pt x="8" y="619"/>
                  </a:cubicBezTo>
                  <a:lnTo>
                    <a:pt x="63" y="651"/>
                  </a:lnTo>
                  <a:cubicBezTo>
                    <a:pt x="67" y="653"/>
                    <a:pt x="71" y="651"/>
                    <a:pt x="71" y="645"/>
                  </a:cubicBezTo>
                  <a:lnTo>
                    <a:pt x="71" y="77"/>
                  </a:lnTo>
                  <a:cubicBezTo>
                    <a:pt x="71" y="52"/>
                    <a:pt x="56" y="24"/>
                    <a:pt x="38" y="14"/>
                  </a:cubicBezTo>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573">
              <a:extLst>
                <a:ext uri="{FF2B5EF4-FFF2-40B4-BE49-F238E27FC236}">
                  <a16:creationId xmlns:a16="http://schemas.microsoft.com/office/drawing/2014/main" id="{C01EFA0C-894C-49B1-8EC8-672F1F2D15FF}"/>
                </a:ext>
              </a:extLst>
            </p:cNvPr>
            <p:cNvSpPr>
              <a:spLocks/>
            </p:cNvSpPr>
            <p:nvPr/>
          </p:nvSpPr>
          <p:spPr bwMode="auto">
            <a:xfrm>
              <a:off x="8343900" y="2713038"/>
              <a:ext cx="58738" cy="534988"/>
            </a:xfrm>
            <a:custGeom>
              <a:avLst/>
              <a:gdLst>
                <a:gd name="T0" fmla="*/ 38 w 71"/>
                <a:gd name="T1" fmla="*/ 13 h 653"/>
                <a:gd name="T2" fmla="*/ 33 w 71"/>
                <a:gd name="T3" fmla="*/ 10 h 653"/>
                <a:gd name="T4" fmla="*/ 0 w 71"/>
                <a:gd name="T5" fmla="*/ 35 h 653"/>
                <a:gd name="T6" fmla="*/ 0 w 71"/>
                <a:gd name="T7" fmla="*/ 604 h 653"/>
                <a:gd name="T8" fmla="*/ 8 w 71"/>
                <a:gd name="T9" fmla="*/ 618 h 653"/>
                <a:gd name="T10" fmla="*/ 64 w 71"/>
                <a:gd name="T11" fmla="*/ 650 h 653"/>
                <a:gd name="T12" fmla="*/ 71 w 71"/>
                <a:gd name="T13" fmla="*/ 645 h 653"/>
                <a:gd name="T14" fmla="*/ 71 w 71"/>
                <a:gd name="T15" fmla="*/ 76 h 653"/>
                <a:gd name="T16" fmla="*/ 38 w 71"/>
                <a:gd name="T17" fmla="*/ 1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653">
                  <a:moveTo>
                    <a:pt x="38" y="13"/>
                  </a:moveTo>
                  <a:lnTo>
                    <a:pt x="33" y="10"/>
                  </a:lnTo>
                  <a:cubicBezTo>
                    <a:pt x="15" y="0"/>
                    <a:pt x="0" y="11"/>
                    <a:pt x="0" y="35"/>
                  </a:cubicBezTo>
                  <a:lnTo>
                    <a:pt x="0" y="604"/>
                  </a:lnTo>
                  <a:cubicBezTo>
                    <a:pt x="0" y="609"/>
                    <a:pt x="4" y="616"/>
                    <a:pt x="8" y="618"/>
                  </a:cubicBezTo>
                  <a:lnTo>
                    <a:pt x="64" y="650"/>
                  </a:lnTo>
                  <a:cubicBezTo>
                    <a:pt x="68" y="653"/>
                    <a:pt x="71" y="650"/>
                    <a:pt x="71" y="645"/>
                  </a:cubicBezTo>
                  <a:lnTo>
                    <a:pt x="71" y="76"/>
                  </a:lnTo>
                  <a:cubicBezTo>
                    <a:pt x="71" y="52"/>
                    <a:pt x="57" y="24"/>
                    <a:pt x="38" y="13"/>
                  </a:cubicBezTo>
                  <a:close/>
                </a:path>
              </a:pathLst>
            </a:custGeom>
            <a:solidFill>
              <a:srgbClr val="77A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574">
              <a:extLst>
                <a:ext uri="{FF2B5EF4-FFF2-40B4-BE49-F238E27FC236}">
                  <a16:creationId xmlns:a16="http://schemas.microsoft.com/office/drawing/2014/main" id="{C1419F77-6770-4CC8-8280-1FC7648D13D8}"/>
                </a:ext>
              </a:extLst>
            </p:cNvPr>
            <p:cNvSpPr>
              <a:spLocks/>
            </p:cNvSpPr>
            <p:nvPr/>
          </p:nvSpPr>
          <p:spPr bwMode="auto">
            <a:xfrm>
              <a:off x="8394700" y="2746375"/>
              <a:ext cx="7938" cy="220663"/>
            </a:xfrm>
            <a:custGeom>
              <a:avLst/>
              <a:gdLst>
                <a:gd name="T0" fmla="*/ 9 w 9"/>
                <a:gd name="T1" fmla="*/ 270 h 270"/>
                <a:gd name="T2" fmla="*/ 9 w 9"/>
                <a:gd name="T3" fmla="*/ 36 h 270"/>
                <a:gd name="T4" fmla="*/ 0 w 9"/>
                <a:gd name="T5" fmla="*/ 0 h 270"/>
                <a:gd name="T6" fmla="*/ 9 w 9"/>
                <a:gd name="T7" fmla="*/ 33 h 270"/>
                <a:gd name="T8" fmla="*/ 9 w 9"/>
                <a:gd name="T9" fmla="*/ 270 h 270"/>
                <a:gd name="T10" fmla="*/ 9 w 9"/>
                <a:gd name="T11" fmla="*/ 270 h 270"/>
              </a:gdLst>
              <a:ahLst/>
              <a:cxnLst>
                <a:cxn ang="0">
                  <a:pos x="T0" y="T1"/>
                </a:cxn>
                <a:cxn ang="0">
                  <a:pos x="T2" y="T3"/>
                </a:cxn>
                <a:cxn ang="0">
                  <a:pos x="T4" y="T5"/>
                </a:cxn>
                <a:cxn ang="0">
                  <a:pos x="T6" y="T7"/>
                </a:cxn>
                <a:cxn ang="0">
                  <a:pos x="T8" y="T9"/>
                </a:cxn>
                <a:cxn ang="0">
                  <a:pos x="T10" y="T11"/>
                </a:cxn>
              </a:cxnLst>
              <a:rect l="0" t="0" r="r" b="b"/>
              <a:pathLst>
                <a:path w="9" h="270">
                  <a:moveTo>
                    <a:pt x="9" y="270"/>
                  </a:moveTo>
                  <a:lnTo>
                    <a:pt x="9" y="36"/>
                  </a:lnTo>
                  <a:cubicBezTo>
                    <a:pt x="9" y="24"/>
                    <a:pt x="6" y="11"/>
                    <a:pt x="0" y="0"/>
                  </a:cubicBezTo>
                  <a:cubicBezTo>
                    <a:pt x="6" y="11"/>
                    <a:pt x="9" y="23"/>
                    <a:pt x="9" y="33"/>
                  </a:cubicBezTo>
                  <a:lnTo>
                    <a:pt x="9" y="270"/>
                  </a:lnTo>
                  <a:lnTo>
                    <a:pt x="9" y="270"/>
                  </a:ln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575">
              <a:extLst>
                <a:ext uri="{FF2B5EF4-FFF2-40B4-BE49-F238E27FC236}">
                  <a16:creationId xmlns:a16="http://schemas.microsoft.com/office/drawing/2014/main" id="{5D851718-7983-49A4-A235-31C56495BB21}"/>
                </a:ext>
              </a:extLst>
            </p:cNvPr>
            <p:cNvSpPr>
              <a:spLocks/>
            </p:cNvSpPr>
            <p:nvPr/>
          </p:nvSpPr>
          <p:spPr bwMode="auto">
            <a:xfrm>
              <a:off x="8380413" y="2727325"/>
              <a:ext cx="22225" cy="255588"/>
            </a:xfrm>
            <a:custGeom>
              <a:avLst/>
              <a:gdLst>
                <a:gd name="T0" fmla="*/ 9 w 27"/>
                <a:gd name="T1" fmla="*/ 310 h 310"/>
                <a:gd name="T2" fmla="*/ 9 w 27"/>
                <a:gd name="T3" fmla="*/ 43 h 310"/>
                <a:gd name="T4" fmla="*/ 0 w 27"/>
                <a:gd name="T5" fmla="*/ 0 h 310"/>
                <a:gd name="T6" fmla="*/ 18 w 27"/>
                <a:gd name="T7" fmla="*/ 22 h 310"/>
                <a:gd name="T8" fmla="*/ 27 w 27"/>
                <a:gd name="T9" fmla="*/ 58 h 310"/>
                <a:gd name="T10" fmla="*/ 27 w 27"/>
                <a:gd name="T11" fmla="*/ 292 h 310"/>
                <a:gd name="T12" fmla="*/ 9 w 27"/>
                <a:gd name="T13" fmla="*/ 310 h 310"/>
              </a:gdLst>
              <a:ahLst/>
              <a:cxnLst>
                <a:cxn ang="0">
                  <a:pos x="T0" y="T1"/>
                </a:cxn>
                <a:cxn ang="0">
                  <a:pos x="T2" y="T3"/>
                </a:cxn>
                <a:cxn ang="0">
                  <a:pos x="T4" y="T5"/>
                </a:cxn>
                <a:cxn ang="0">
                  <a:pos x="T6" y="T7"/>
                </a:cxn>
                <a:cxn ang="0">
                  <a:pos x="T8" y="T9"/>
                </a:cxn>
                <a:cxn ang="0">
                  <a:pos x="T10" y="T11"/>
                </a:cxn>
                <a:cxn ang="0">
                  <a:pos x="T12" y="T13"/>
                </a:cxn>
              </a:cxnLst>
              <a:rect l="0" t="0" r="r" b="b"/>
              <a:pathLst>
                <a:path w="27" h="310">
                  <a:moveTo>
                    <a:pt x="9" y="310"/>
                  </a:moveTo>
                  <a:lnTo>
                    <a:pt x="9" y="43"/>
                  </a:lnTo>
                  <a:cubicBezTo>
                    <a:pt x="9" y="28"/>
                    <a:pt x="5" y="13"/>
                    <a:pt x="0" y="0"/>
                  </a:cubicBezTo>
                  <a:cubicBezTo>
                    <a:pt x="7" y="5"/>
                    <a:pt x="13" y="13"/>
                    <a:pt x="18" y="22"/>
                  </a:cubicBezTo>
                  <a:cubicBezTo>
                    <a:pt x="24" y="33"/>
                    <a:pt x="27" y="46"/>
                    <a:pt x="27" y="58"/>
                  </a:cubicBezTo>
                  <a:lnTo>
                    <a:pt x="27" y="292"/>
                  </a:lnTo>
                  <a:cubicBezTo>
                    <a:pt x="21" y="298"/>
                    <a:pt x="15" y="304"/>
                    <a:pt x="9" y="310"/>
                  </a:cubicBezTo>
                </a:path>
              </a:pathLst>
            </a:custGeom>
            <a:solidFill>
              <a:srgbClr val="659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576">
              <a:extLst>
                <a:ext uri="{FF2B5EF4-FFF2-40B4-BE49-F238E27FC236}">
                  <a16:creationId xmlns:a16="http://schemas.microsoft.com/office/drawing/2014/main" id="{26656C18-BFB1-424B-9BC3-F448A7F3B8F5}"/>
                </a:ext>
              </a:extLst>
            </p:cNvPr>
            <p:cNvSpPr>
              <a:spLocks/>
            </p:cNvSpPr>
            <p:nvPr/>
          </p:nvSpPr>
          <p:spPr bwMode="auto">
            <a:xfrm>
              <a:off x="8234363" y="2809875"/>
              <a:ext cx="58738" cy="376238"/>
            </a:xfrm>
            <a:custGeom>
              <a:avLst/>
              <a:gdLst>
                <a:gd name="T0" fmla="*/ 38 w 71"/>
                <a:gd name="T1" fmla="*/ 13 h 459"/>
                <a:gd name="T2" fmla="*/ 33 w 71"/>
                <a:gd name="T3" fmla="*/ 11 h 459"/>
                <a:gd name="T4" fmla="*/ 0 w 71"/>
                <a:gd name="T5" fmla="*/ 36 h 459"/>
                <a:gd name="T6" fmla="*/ 0 w 71"/>
                <a:gd name="T7" fmla="*/ 410 h 459"/>
                <a:gd name="T8" fmla="*/ 8 w 71"/>
                <a:gd name="T9" fmla="*/ 425 h 459"/>
                <a:gd name="T10" fmla="*/ 64 w 71"/>
                <a:gd name="T11" fmla="*/ 457 h 459"/>
                <a:gd name="T12" fmla="*/ 71 w 71"/>
                <a:gd name="T13" fmla="*/ 451 h 459"/>
                <a:gd name="T14" fmla="*/ 71 w 71"/>
                <a:gd name="T15" fmla="*/ 77 h 459"/>
                <a:gd name="T16" fmla="*/ 38 w 71"/>
                <a:gd name="T17" fmla="*/ 1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59">
                  <a:moveTo>
                    <a:pt x="38" y="13"/>
                  </a:moveTo>
                  <a:lnTo>
                    <a:pt x="33" y="11"/>
                  </a:lnTo>
                  <a:cubicBezTo>
                    <a:pt x="15" y="0"/>
                    <a:pt x="0" y="11"/>
                    <a:pt x="0" y="36"/>
                  </a:cubicBezTo>
                  <a:lnTo>
                    <a:pt x="0" y="410"/>
                  </a:lnTo>
                  <a:cubicBezTo>
                    <a:pt x="0" y="415"/>
                    <a:pt x="4" y="422"/>
                    <a:pt x="8" y="425"/>
                  </a:cubicBezTo>
                  <a:lnTo>
                    <a:pt x="64" y="457"/>
                  </a:lnTo>
                  <a:cubicBezTo>
                    <a:pt x="68" y="459"/>
                    <a:pt x="71" y="456"/>
                    <a:pt x="71" y="451"/>
                  </a:cubicBezTo>
                  <a:lnTo>
                    <a:pt x="71" y="77"/>
                  </a:lnTo>
                  <a:cubicBezTo>
                    <a:pt x="71" y="52"/>
                    <a:pt x="57" y="24"/>
                    <a:pt x="38" y="13"/>
                  </a:cubicBezTo>
                  <a:close/>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577">
              <a:extLst>
                <a:ext uri="{FF2B5EF4-FFF2-40B4-BE49-F238E27FC236}">
                  <a16:creationId xmlns:a16="http://schemas.microsoft.com/office/drawing/2014/main" id="{9960C29B-25B4-4620-BD17-F8E03D2576FC}"/>
                </a:ext>
              </a:extLst>
            </p:cNvPr>
            <p:cNvSpPr>
              <a:spLocks/>
            </p:cNvSpPr>
            <p:nvPr/>
          </p:nvSpPr>
          <p:spPr bwMode="auto">
            <a:xfrm>
              <a:off x="8285163" y="2841625"/>
              <a:ext cx="7938" cy="234950"/>
            </a:xfrm>
            <a:custGeom>
              <a:avLst/>
              <a:gdLst>
                <a:gd name="T0" fmla="*/ 9 w 9"/>
                <a:gd name="T1" fmla="*/ 286 h 286"/>
                <a:gd name="T2" fmla="*/ 9 w 9"/>
                <a:gd name="T3" fmla="*/ 37 h 286"/>
                <a:gd name="T4" fmla="*/ 0 w 9"/>
                <a:gd name="T5" fmla="*/ 0 h 286"/>
                <a:gd name="T6" fmla="*/ 9 w 9"/>
                <a:gd name="T7" fmla="*/ 33 h 286"/>
                <a:gd name="T8" fmla="*/ 9 w 9"/>
                <a:gd name="T9" fmla="*/ 286 h 286"/>
                <a:gd name="T10" fmla="*/ 9 w 9"/>
                <a:gd name="T11" fmla="*/ 286 h 286"/>
              </a:gdLst>
              <a:ahLst/>
              <a:cxnLst>
                <a:cxn ang="0">
                  <a:pos x="T0" y="T1"/>
                </a:cxn>
                <a:cxn ang="0">
                  <a:pos x="T2" y="T3"/>
                </a:cxn>
                <a:cxn ang="0">
                  <a:pos x="T4" y="T5"/>
                </a:cxn>
                <a:cxn ang="0">
                  <a:pos x="T6" y="T7"/>
                </a:cxn>
                <a:cxn ang="0">
                  <a:pos x="T8" y="T9"/>
                </a:cxn>
                <a:cxn ang="0">
                  <a:pos x="T10" y="T11"/>
                </a:cxn>
              </a:cxnLst>
              <a:rect l="0" t="0" r="r" b="b"/>
              <a:pathLst>
                <a:path w="9" h="286">
                  <a:moveTo>
                    <a:pt x="9" y="286"/>
                  </a:moveTo>
                  <a:lnTo>
                    <a:pt x="9" y="37"/>
                  </a:lnTo>
                  <a:cubicBezTo>
                    <a:pt x="9" y="24"/>
                    <a:pt x="6" y="11"/>
                    <a:pt x="0" y="0"/>
                  </a:cubicBezTo>
                  <a:cubicBezTo>
                    <a:pt x="6" y="11"/>
                    <a:pt x="9" y="23"/>
                    <a:pt x="9" y="33"/>
                  </a:cubicBezTo>
                  <a:lnTo>
                    <a:pt x="9" y="286"/>
                  </a:lnTo>
                  <a:lnTo>
                    <a:pt x="9" y="286"/>
                  </a:ln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578">
              <a:extLst>
                <a:ext uri="{FF2B5EF4-FFF2-40B4-BE49-F238E27FC236}">
                  <a16:creationId xmlns:a16="http://schemas.microsoft.com/office/drawing/2014/main" id="{B1EE484D-AEED-4935-B5FD-F856F02F1505}"/>
                </a:ext>
              </a:extLst>
            </p:cNvPr>
            <p:cNvSpPr>
              <a:spLocks/>
            </p:cNvSpPr>
            <p:nvPr/>
          </p:nvSpPr>
          <p:spPr bwMode="auto">
            <a:xfrm>
              <a:off x="8270875" y="2824163"/>
              <a:ext cx="22225" cy="268288"/>
            </a:xfrm>
            <a:custGeom>
              <a:avLst/>
              <a:gdLst>
                <a:gd name="T0" fmla="*/ 8 w 27"/>
                <a:gd name="T1" fmla="*/ 327 h 327"/>
                <a:gd name="T2" fmla="*/ 8 w 27"/>
                <a:gd name="T3" fmla="*/ 43 h 327"/>
                <a:gd name="T4" fmla="*/ 0 w 27"/>
                <a:gd name="T5" fmla="*/ 0 h 327"/>
                <a:gd name="T6" fmla="*/ 18 w 27"/>
                <a:gd name="T7" fmla="*/ 22 h 327"/>
                <a:gd name="T8" fmla="*/ 27 w 27"/>
                <a:gd name="T9" fmla="*/ 59 h 327"/>
                <a:gd name="T10" fmla="*/ 27 w 27"/>
                <a:gd name="T11" fmla="*/ 308 h 327"/>
                <a:gd name="T12" fmla="*/ 8 w 27"/>
                <a:gd name="T13" fmla="*/ 327 h 327"/>
              </a:gdLst>
              <a:ahLst/>
              <a:cxnLst>
                <a:cxn ang="0">
                  <a:pos x="T0" y="T1"/>
                </a:cxn>
                <a:cxn ang="0">
                  <a:pos x="T2" y="T3"/>
                </a:cxn>
                <a:cxn ang="0">
                  <a:pos x="T4" y="T5"/>
                </a:cxn>
                <a:cxn ang="0">
                  <a:pos x="T6" y="T7"/>
                </a:cxn>
                <a:cxn ang="0">
                  <a:pos x="T8" y="T9"/>
                </a:cxn>
                <a:cxn ang="0">
                  <a:pos x="T10" y="T11"/>
                </a:cxn>
                <a:cxn ang="0">
                  <a:pos x="T12" y="T13"/>
                </a:cxn>
              </a:cxnLst>
              <a:rect l="0" t="0" r="r" b="b"/>
              <a:pathLst>
                <a:path w="27" h="327">
                  <a:moveTo>
                    <a:pt x="8" y="327"/>
                  </a:moveTo>
                  <a:lnTo>
                    <a:pt x="8" y="43"/>
                  </a:lnTo>
                  <a:cubicBezTo>
                    <a:pt x="8" y="28"/>
                    <a:pt x="5" y="13"/>
                    <a:pt x="0" y="0"/>
                  </a:cubicBezTo>
                  <a:cubicBezTo>
                    <a:pt x="7" y="6"/>
                    <a:pt x="13" y="13"/>
                    <a:pt x="18" y="22"/>
                  </a:cubicBezTo>
                  <a:cubicBezTo>
                    <a:pt x="24" y="33"/>
                    <a:pt x="27" y="46"/>
                    <a:pt x="27" y="59"/>
                  </a:cubicBezTo>
                  <a:lnTo>
                    <a:pt x="27" y="308"/>
                  </a:lnTo>
                  <a:cubicBezTo>
                    <a:pt x="21" y="314"/>
                    <a:pt x="15" y="320"/>
                    <a:pt x="8" y="327"/>
                  </a:cubicBezTo>
                </a:path>
              </a:pathLst>
            </a:custGeom>
            <a:solidFill>
              <a:srgbClr val="D9AC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579">
              <a:extLst>
                <a:ext uri="{FF2B5EF4-FFF2-40B4-BE49-F238E27FC236}">
                  <a16:creationId xmlns:a16="http://schemas.microsoft.com/office/drawing/2014/main" id="{66D7A50C-CBFE-458A-B56C-AA36C0B55AEC}"/>
                </a:ext>
              </a:extLst>
            </p:cNvPr>
            <p:cNvSpPr>
              <a:spLocks/>
            </p:cNvSpPr>
            <p:nvPr/>
          </p:nvSpPr>
          <p:spPr bwMode="auto">
            <a:xfrm>
              <a:off x="7907338" y="2241550"/>
              <a:ext cx="58738" cy="755650"/>
            </a:xfrm>
            <a:custGeom>
              <a:avLst/>
              <a:gdLst>
                <a:gd name="T0" fmla="*/ 38 w 71"/>
                <a:gd name="T1" fmla="*/ 13 h 921"/>
                <a:gd name="T2" fmla="*/ 33 w 71"/>
                <a:gd name="T3" fmla="*/ 10 h 921"/>
                <a:gd name="T4" fmla="*/ 0 w 71"/>
                <a:gd name="T5" fmla="*/ 35 h 921"/>
                <a:gd name="T6" fmla="*/ 0 w 71"/>
                <a:gd name="T7" fmla="*/ 871 h 921"/>
                <a:gd name="T8" fmla="*/ 8 w 71"/>
                <a:gd name="T9" fmla="*/ 886 h 921"/>
                <a:gd name="T10" fmla="*/ 63 w 71"/>
                <a:gd name="T11" fmla="*/ 918 h 921"/>
                <a:gd name="T12" fmla="*/ 71 w 71"/>
                <a:gd name="T13" fmla="*/ 912 h 921"/>
                <a:gd name="T14" fmla="*/ 71 w 71"/>
                <a:gd name="T15" fmla="*/ 76 h 921"/>
                <a:gd name="T16" fmla="*/ 38 w 71"/>
                <a:gd name="T17" fmla="*/ 13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921">
                  <a:moveTo>
                    <a:pt x="38" y="13"/>
                  </a:moveTo>
                  <a:lnTo>
                    <a:pt x="33" y="10"/>
                  </a:lnTo>
                  <a:cubicBezTo>
                    <a:pt x="15" y="0"/>
                    <a:pt x="0" y="11"/>
                    <a:pt x="0" y="35"/>
                  </a:cubicBezTo>
                  <a:lnTo>
                    <a:pt x="0" y="871"/>
                  </a:lnTo>
                  <a:cubicBezTo>
                    <a:pt x="0" y="877"/>
                    <a:pt x="4" y="884"/>
                    <a:pt x="8" y="886"/>
                  </a:cubicBezTo>
                  <a:lnTo>
                    <a:pt x="63" y="918"/>
                  </a:lnTo>
                  <a:cubicBezTo>
                    <a:pt x="68" y="921"/>
                    <a:pt x="71" y="918"/>
                    <a:pt x="71" y="912"/>
                  </a:cubicBezTo>
                  <a:lnTo>
                    <a:pt x="71" y="76"/>
                  </a:lnTo>
                  <a:cubicBezTo>
                    <a:pt x="71" y="52"/>
                    <a:pt x="56" y="24"/>
                    <a:pt x="38" y="13"/>
                  </a:cubicBezTo>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580">
              <a:extLst>
                <a:ext uri="{FF2B5EF4-FFF2-40B4-BE49-F238E27FC236}">
                  <a16:creationId xmlns:a16="http://schemas.microsoft.com/office/drawing/2014/main" id="{AACF5856-6DBD-413B-8191-07D655557194}"/>
                </a:ext>
              </a:extLst>
            </p:cNvPr>
            <p:cNvSpPr>
              <a:spLocks/>
            </p:cNvSpPr>
            <p:nvPr/>
          </p:nvSpPr>
          <p:spPr bwMode="auto">
            <a:xfrm>
              <a:off x="7950200" y="2527300"/>
              <a:ext cx="15875" cy="400050"/>
            </a:xfrm>
            <a:custGeom>
              <a:avLst/>
              <a:gdLst>
                <a:gd name="T0" fmla="*/ 0 w 19"/>
                <a:gd name="T1" fmla="*/ 488 h 488"/>
                <a:gd name="T2" fmla="*/ 0 w 19"/>
                <a:gd name="T3" fmla="*/ 18 h 488"/>
                <a:gd name="T4" fmla="*/ 19 w 19"/>
                <a:gd name="T5" fmla="*/ 0 h 488"/>
                <a:gd name="T6" fmla="*/ 19 w 19"/>
                <a:gd name="T7" fmla="*/ 469 h 488"/>
                <a:gd name="T8" fmla="*/ 0 w 19"/>
                <a:gd name="T9" fmla="*/ 488 h 488"/>
              </a:gdLst>
              <a:ahLst/>
              <a:cxnLst>
                <a:cxn ang="0">
                  <a:pos x="T0" y="T1"/>
                </a:cxn>
                <a:cxn ang="0">
                  <a:pos x="T2" y="T3"/>
                </a:cxn>
                <a:cxn ang="0">
                  <a:pos x="T4" y="T5"/>
                </a:cxn>
                <a:cxn ang="0">
                  <a:pos x="T6" y="T7"/>
                </a:cxn>
                <a:cxn ang="0">
                  <a:pos x="T8" y="T9"/>
                </a:cxn>
              </a:cxnLst>
              <a:rect l="0" t="0" r="r" b="b"/>
              <a:pathLst>
                <a:path w="19" h="488">
                  <a:moveTo>
                    <a:pt x="0" y="488"/>
                  </a:moveTo>
                  <a:lnTo>
                    <a:pt x="0" y="18"/>
                  </a:lnTo>
                  <a:lnTo>
                    <a:pt x="19" y="0"/>
                  </a:lnTo>
                  <a:lnTo>
                    <a:pt x="19" y="469"/>
                  </a:lnTo>
                  <a:cubicBezTo>
                    <a:pt x="13" y="475"/>
                    <a:pt x="7" y="481"/>
                    <a:pt x="0" y="488"/>
                  </a:cubicBezTo>
                </a:path>
              </a:pathLst>
            </a:custGeom>
            <a:solidFill>
              <a:srgbClr val="D9AC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581">
              <a:extLst>
                <a:ext uri="{FF2B5EF4-FFF2-40B4-BE49-F238E27FC236}">
                  <a16:creationId xmlns:a16="http://schemas.microsoft.com/office/drawing/2014/main" id="{60359FCD-174D-40E3-8F15-CA1766C5AC7E}"/>
                </a:ext>
              </a:extLst>
            </p:cNvPr>
            <p:cNvSpPr>
              <a:spLocks/>
            </p:cNvSpPr>
            <p:nvPr/>
          </p:nvSpPr>
          <p:spPr bwMode="auto">
            <a:xfrm>
              <a:off x="8126413" y="2460625"/>
              <a:ext cx="57150" cy="661988"/>
            </a:xfrm>
            <a:custGeom>
              <a:avLst/>
              <a:gdLst>
                <a:gd name="T0" fmla="*/ 38 w 71"/>
                <a:gd name="T1" fmla="*/ 14 h 807"/>
                <a:gd name="T2" fmla="*/ 33 w 71"/>
                <a:gd name="T3" fmla="*/ 11 h 807"/>
                <a:gd name="T4" fmla="*/ 0 w 71"/>
                <a:gd name="T5" fmla="*/ 36 h 807"/>
                <a:gd name="T6" fmla="*/ 0 w 71"/>
                <a:gd name="T7" fmla="*/ 758 h 807"/>
                <a:gd name="T8" fmla="*/ 8 w 71"/>
                <a:gd name="T9" fmla="*/ 773 h 807"/>
                <a:gd name="T10" fmla="*/ 63 w 71"/>
                <a:gd name="T11" fmla="*/ 805 h 807"/>
                <a:gd name="T12" fmla="*/ 71 w 71"/>
                <a:gd name="T13" fmla="*/ 799 h 807"/>
                <a:gd name="T14" fmla="*/ 71 w 71"/>
                <a:gd name="T15" fmla="*/ 77 h 807"/>
                <a:gd name="T16" fmla="*/ 38 w 71"/>
                <a:gd name="T17" fmla="*/ 14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807">
                  <a:moveTo>
                    <a:pt x="38" y="14"/>
                  </a:moveTo>
                  <a:lnTo>
                    <a:pt x="33" y="11"/>
                  </a:lnTo>
                  <a:cubicBezTo>
                    <a:pt x="15" y="0"/>
                    <a:pt x="0" y="12"/>
                    <a:pt x="0" y="36"/>
                  </a:cubicBezTo>
                  <a:lnTo>
                    <a:pt x="0" y="758"/>
                  </a:lnTo>
                  <a:cubicBezTo>
                    <a:pt x="0" y="764"/>
                    <a:pt x="4" y="770"/>
                    <a:pt x="8" y="773"/>
                  </a:cubicBezTo>
                  <a:lnTo>
                    <a:pt x="63" y="805"/>
                  </a:lnTo>
                  <a:cubicBezTo>
                    <a:pt x="68" y="807"/>
                    <a:pt x="71" y="805"/>
                    <a:pt x="71" y="799"/>
                  </a:cubicBezTo>
                  <a:lnTo>
                    <a:pt x="71" y="77"/>
                  </a:lnTo>
                  <a:cubicBezTo>
                    <a:pt x="71" y="53"/>
                    <a:pt x="56" y="24"/>
                    <a:pt x="38" y="14"/>
                  </a:cubicBezTo>
                </a:path>
              </a:pathLst>
            </a:custGeom>
            <a:solidFill>
              <a:srgbClr val="CF5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582">
              <a:extLst>
                <a:ext uri="{FF2B5EF4-FFF2-40B4-BE49-F238E27FC236}">
                  <a16:creationId xmlns:a16="http://schemas.microsoft.com/office/drawing/2014/main" id="{DD859F7E-CC11-4756-97C7-D7CA21A887EE}"/>
                </a:ext>
              </a:extLst>
            </p:cNvPr>
            <p:cNvSpPr>
              <a:spLocks noEditPoints="1"/>
            </p:cNvSpPr>
            <p:nvPr/>
          </p:nvSpPr>
          <p:spPr bwMode="auto">
            <a:xfrm>
              <a:off x="8177213" y="2493963"/>
              <a:ext cx="6350" cy="627063"/>
            </a:xfrm>
            <a:custGeom>
              <a:avLst/>
              <a:gdLst>
                <a:gd name="T0" fmla="*/ 7 w 9"/>
                <a:gd name="T1" fmla="*/ 764 h 764"/>
                <a:gd name="T2" fmla="*/ 9 w 9"/>
                <a:gd name="T3" fmla="*/ 758 h 764"/>
                <a:gd name="T4" fmla="*/ 9 w 9"/>
                <a:gd name="T5" fmla="*/ 373 h 764"/>
                <a:gd name="T6" fmla="*/ 9 w 9"/>
                <a:gd name="T7" fmla="*/ 373 h 764"/>
                <a:gd name="T8" fmla="*/ 9 w 9"/>
                <a:gd name="T9" fmla="*/ 759 h 764"/>
                <a:gd name="T10" fmla="*/ 7 w 9"/>
                <a:gd name="T11" fmla="*/ 764 h 764"/>
                <a:gd name="T12" fmla="*/ 9 w 9"/>
                <a:gd name="T13" fmla="*/ 243 h 764"/>
                <a:gd name="T14" fmla="*/ 9 w 9"/>
                <a:gd name="T15" fmla="*/ 36 h 764"/>
                <a:gd name="T16" fmla="*/ 0 w 9"/>
                <a:gd name="T17" fmla="*/ 0 h 764"/>
                <a:gd name="T18" fmla="*/ 9 w 9"/>
                <a:gd name="T19" fmla="*/ 33 h 764"/>
                <a:gd name="T20" fmla="*/ 9 w 9"/>
                <a:gd name="T21" fmla="*/ 243 h 764"/>
                <a:gd name="T22" fmla="*/ 9 w 9"/>
                <a:gd name="T23" fmla="*/ 243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64">
                  <a:moveTo>
                    <a:pt x="7" y="764"/>
                  </a:moveTo>
                  <a:cubicBezTo>
                    <a:pt x="8" y="763"/>
                    <a:pt x="9" y="761"/>
                    <a:pt x="9" y="758"/>
                  </a:cubicBezTo>
                  <a:lnTo>
                    <a:pt x="9" y="373"/>
                  </a:lnTo>
                  <a:lnTo>
                    <a:pt x="9" y="373"/>
                  </a:lnTo>
                  <a:lnTo>
                    <a:pt x="9" y="759"/>
                  </a:lnTo>
                  <a:cubicBezTo>
                    <a:pt x="9" y="761"/>
                    <a:pt x="8" y="763"/>
                    <a:pt x="7" y="764"/>
                  </a:cubicBezTo>
                  <a:moveTo>
                    <a:pt x="9" y="243"/>
                  </a:moveTo>
                  <a:lnTo>
                    <a:pt x="9" y="36"/>
                  </a:lnTo>
                  <a:cubicBezTo>
                    <a:pt x="9" y="24"/>
                    <a:pt x="6" y="11"/>
                    <a:pt x="0" y="0"/>
                  </a:cubicBezTo>
                  <a:cubicBezTo>
                    <a:pt x="6" y="10"/>
                    <a:pt x="9" y="22"/>
                    <a:pt x="9" y="33"/>
                  </a:cubicBezTo>
                  <a:lnTo>
                    <a:pt x="9" y="243"/>
                  </a:lnTo>
                  <a:lnTo>
                    <a:pt x="9" y="243"/>
                  </a:lnTo>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583">
              <a:extLst>
                <a:ext uri="{FF2B5EF4-FFF2-40B4-BE49-F238E27FC236}">
                  <a16:creationId xmlns:a16="http://schemas.microsoft.com/office/drawing/2014/main" id="{9910644C-16C7-4A33-BE5F-90184122B198}"/>
                </a:ext>
              </a:extLst>
            </p:cNvPr>
            <p:cNvSpPr>
              <a:spLocks noEditPoints="1"/>
            </p:cNvSpPr>
            <p:nvPr/>
          </p:nvSpPr>
          <p:spPr bwMode="auto">
            <a:xfrm>
              <a:off x="8161338" y="2474913"/>
              <a:ext cx="22225" cy="646113"/>
            </a:xfrm>
            <a:custGeom>
              <a:avLst/>
              <a:gdLst>
                <a:gd name="T0" fmla="*/ 24 w 28"/>
                <a:gd name="T1" fmla="*/ 788 h 788"/>
                <a:gd name="T2" fmla="*/ 20 w 28"/>
                <a:gd name="T3" fmla="*/ 787 h 788"/>
                <a:gd name="T4" fmla="*/ 0 w 28"/>
                <a:gd name="T5" fmla="*/ 775 h 788"/>
                <a:gd name="T6" fmla="*/ 3 w 28"/>
                <a:gd name="T7" fmla="*/ 776 h 788"/>
                <a:gd name="T8" fmla="*/ 9 w 28"/>
                <a:gd name="T9" fmla="*/ 766 h 788"/>
                <a:gd name="T10" fmla="*/ 9 w 28"/>
                <a:gd name="T11" fmla="*/ 415 h 788"/>
                <a:gd name="T12" fmla="*/ 28 w 28"/>
                <a:gd name="T13" fmla="*/ 396 h 788"/>
                <a:gd name="T14" fmla="*/ 28 w 28"/>
                <a:gd name="T15" fmla="*/ 781 h 788"/>
                <a:gd name="T16" fmla="*/ 26 w 28"/>
                <a:gd name="T17" fmla="*/ 787 h 788"/>
                <a:gd name="T18" fmla="*/ 24 w 28"/>
                <a:gd name="T19" fmla="*/ 788 h 788"/>
                <a:gd name="T20" fmla="*/ 9 w 28"/>
                <a:gd name="T21" fmla="*/ 285 h 788"/>
                <a:gd name="T22" fmla="*/ 9 w 28"/>
                <a:gd name="T23" fmla="*/ 43 h 788"/>
                <a:gd name="T24" fmla="*/ 1 w 28"/>
                <a:gd name="T25" fmla="*/ 0 h 788"/>
                <a:gd name="T26" fmla="*/ 19 w 28"/>
                <a:gd name="T27" fmla="*/ 23 h 788"/>
                <a:gd name="T28" fmla="*/ 28 w 28"/>
                <a:gd name="T29" fmla="*/ 59 h 788"/>
                <a:gd name="T30" fmla="*/ 28 w 28"/>
                <a:gd name="T31" fmla="*/ 266 h 788"/>
                <a:gd name="T32" fmla="*/ 9 w 28"/>
                <a:gd name="T33" fmla="*/ 285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788">
                  <a:moveTo>
                    <a:pt x="24" y="788"/>
                  </a:moveTo>
                  <a:cubicBezTo>
                    <a:pt x="23" y="788"/>
                    <a:pt x="21" y="787"/>
                    <a:pt x="20" y="787"/>
                  </a:cubicBezTo>
                  <a:lnTo>
                    <a:pt x="0" y="775"/>
                  </a:lnTo>
                  <a:cubicBezTo>
                    <a:pt x="1" y="776"/>
                    <a:pt x="2" y="776"/>
                    <a:pt x="3" y="776"/>
                  </a:cubicBezTo>
                  <a:cubicBezTo>
                    <a:pt x="7" y="776"/>
                    <a:pt x="9" y="772"/>
                    <a:pt x="9" y="766"/>
                  </a:cubicBezTo>
                  <a:lnTo>
                    <a:pt x="9" y="415"/>
                  </a:lnTo>
                  <a:lnTo>
                    <a:pt x="28" y="396"/>
                  </a:lnTo>
                  <a:lnTo>
                    <a:pt x="28" y="781"/>
                  </a:lnTo>
                  <a:cubicBezTo>
                    <a:pt x="28" y="784"/>
                    <a:pt x="27" y="786"/>
                    <a:pt x="26" y="787"/>
                  </a:cubicBezTo>
                  <a:cubicBezTo>
                    <a:pt x="25" y="787"/>
                    <a:pt x="25" y="788"/>
                    <a:pt x="24" y="788"/>
                  </a:cubicBezTo>
                  <a:moveTo>
                    <a:pt x="9" y="285"/>
                  </a:moveTo>
                  <a:lnTo>
                    <a:pt x="9" y="43"/>
                  </a:lnTo>
                  <a:cubicBezTo>
                    <a:pt x="9" y="29"/>
                    <a:pt x="6" y="14"/>
                    <a:pt x="1" y="0"/>
                  </a:cubicBezTo>
                  <a:cubicBezTo>
                    <a:pt x="8" y="6"/>
                    <a:pt x="14" y="14"/>
                    <a:pt x="19" y="23"/>
                  </a:cubicBezTo>
                  <a:cubicBezTo>
                    <a:pt x="25" y="34"/>
                    <a:pt x="28" y="47"/>
                    <a:pt x="28" y="59"/>
                  </a:cubicBezTo>
                  <a:lnTo>
                    <a:pt x="28" y="266"/>
                  </a:lnTo>
                  <a:lnTo>
                    <a:pt x="9" y="285"/>
                  </a:lnTo>
                </a:path>
              </a:pathLst>
            </a:custGeom>
            <a:solidFill>
              <a:srgbClr val="B04B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584">
              <a:extLst>
                <a:ext uri="{FF2B5EF4-FFF2-40B4-BE49-F238E27FC236}">
                  <a16:creationId xmlns:a16="http://schemas.microsoft.com/office/drawing/2014/main" id="{BF221632-E3B5-4233-83F0-924E1ED42081}"/>
                </a:ext>
              </a:extLst>
            </p:cNvPr>
            <p:cNvSpPr>
              <a:spLocks/>
            </p:cNvSpPr>
            <p:nvPr/>
          </p:nvSpPr>
          <p:spPr bwMode="auto">
            <a:xfrm>
              <a:off x="7689850" y="2557463"/>
              <a:ext cx="58738" cy="312738"/>
            </a:xfrm>
            <a:custGeom>
              <a:avLst/>
              <a:gdLst>
                <a:gd name="T0" fmla="*/ 38 w 71"/>
                <a:gd name="T1" fmla="*/ 13 h 382"/>
                <a:gd name="T2" fmla="*/ 33 w 71"/>
                <a:gd name="T3" fmla="*/ 10 h 382"/>
                <a:gd name="T4" fmla="*/ 0 w 71"/>
                <a:gd name="T5" fmla="*/ 35 h 382"/>
                <a:gd name="T6" fmla="*/ 0 w 71"/>
                <a:gd name="T7" fmla="*/ 333 h 382"/>
                <a:gd name="T8" fmla="*/ 8 w 71"/>
                <a:gd name="T9" fmla="*/ 347 h 382"/>
                <a:gd name="T10" fmla="*/ 63 w 71"/>
                <a:gd name="T11" fmla="*/ 380 h 382"/>
                <a:gd name="T12" fmla="*/ 71 w 71"/>
                <a:gd name="T13" fmla="*/ 374 h 382"/>
                <a:gd name="T14" fmla="*/ 71 w 71"/>
                <a:gd name="T15" fmla="*/ 76 h 382"/>
                <a:gd name="T16" fmla="*/ 38 w 71"/>
                <a:gd name="T17" fmla="*/ 1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82">
                  <a:moveTo>
                    <a:pt x="38" y="13"/>
                  </a:moveTo>
                  <a:lnTo>
                    <a:pt x="33" y="10"/>
                  </a:lnTo>
                  <a:cubicBezTo>
                    <a:pt x="15" y="0"/>
                    <a:pt x="0" y="11"/>
                    <a:pt x="0" y="35"/>
                  </a:cubicBezTo>
                  <a:lnTo>
                    <a:pt x="0" y="333"/>
                  </a:lnTo>
                  <a:cubicBezTo>
                    <a:pt x="0" y="338"/>
                    <a:pt x="3" y="345"/>
                    <a:pt x="8" y="347"/>
                  </a:cubicBezTo>
                  <a:lnTo>
                    <a:pt x="63" y="380"/>
                  </a:lnTo>
                  <a:cubicBezTo>
                    <a:pt x="68" y="382"/>
                    <a:pt x="71" y="379"/>
                    <a:pt x="71" y="374"/>
                  </a:cubicBezTo>
                  <a:lnTo>
                    <a:pt x="71" y="76"/>
                  </a:lnTo>
                  <a:cubicBezTo>
                    <a:pt x="71" y="52"/>
                    <a:pt x="56" y="24"/>
                    <a:pt x="38" y="13"/>
                  </a:cubicBezTo>
                </a:path>
              </a:pathLst>
            </a:custGeom>
            <a:solidFill>
              <a:srgbClr val="77A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585">
              <a:extLst>
                <a:ext uri="{FF2B5EF4-FFF2-40B4-BE49-F238E27FC236}">
                  <a16:creationId xmlns:a16="http://schemas.microsoft.com/office/drawing/2014/main" id="{89BD5FDA-4361-4282-8DE3-DB0D4CD1A7A8}"/>
                </a:ext>
              </a:extLst>
            </p:cNvPr>
            <p:cNvSpPr>
              <a:spLocks/>
            </p:cNvSpPr>
            <p:nvPr/>
          </p:nvSpPr>
          <p:spPr bwMode="auto">
            <a:xfrm>
              <a:off x="7747000" y="2744788"/>
              <a:ext cx="1588" cy="123825"/>
            </a:xfrm>
            <a:custGeom>
              <a:avLst/>
              <a:gdLst>
                <a:gd name="T0" fmla="*/ 0 w 2"/>
                <a:gd name="T1" fmla="*/ 151 h 151"/>
                <a:gd name="T2" fmla="*/ 2 w 2"/>
                <a:gd name="T3" fmla="*/ 145 h 151"/>
                <a:gd name="T4" fmla="*/ 2 w 2"/>
                <a:gd name="T5" fmla="*/ 0 h 151"/>
                <a:gd name="T6" fmla="*/ 2 w 2"/>
                <a:gd name="T7" fmla="*/ 145 h 151"/>
                <a:gd name="T8" fmla="*/ 0 w 2"/>
                <a:gd name="T9" fmla="*/ 151 h 151"/>
              </a:gdLst>
              <a:ahLst/>
              <a:cxnLst>
                <a:cxn ang="0">
                  <a:pos x="T0" y="T1"/>
                </a:cxn>
                <a:cxn ang="0">
                  <a:pos x="T2" y="T3"/>
                </a:cxn>
                <a:cxn ang="0">
                  <a:pos x="T4" y="T5"/>
                </a:cxn>
                <a:cxn ang="0">
                  <a:pos x="T6" y="T7"/>
                </a:cxn>
                <a:cxn ang="0">
                  <a:pos x="T8" y="T9"/>
                </a:cxn>
              </a:cxnLst>
              <a:rect l="0" t="0" r="r" b="b"/>
              <a:pathLst>
                <a:path w="2" h="151">
                  <a:moveTo>
                    <a:pt x="0" y="151"/>
                  </a:moveTo>
                  <a:cubicBezTo>
                    <a:pt x="1" y="149"/>
                    <a:pt x="2" y="147"/>
                    <a:pt x="2" y="145"/>
                  </a:cubicBezTo>
                  <a:lnTo>
                    <a:pt x="2" y="0"/>
                  </a:lnTo>
                  <a:lnTo>
                    <a:pt x="2" y="145"/>
                  </a:lnTo>
                  <a:cubicBezTo>
                    <a:pt x="2" y="148"/>
                    <a:pt x="1" y="150"/>
                    <a:pt x="0" y="151"/>
                  </a:cubicBez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586">
              <a:extLst>
                <a:ext uri="{FF2B5EF4-FFF2-40B4-BE49-F238E27FC236}">
                  <a16:creationId xmlns:a16="http://schemas.microsoft.com/office/drawing/2014/main" id="{44CCE66D-9213-44C2-94B4-499EAAA44729}"/>
                </a:ext>
              </a:extLst>
            </p:cNvPr>
            <p:cNvSpPr>
              <a:spLocks/>
            </p:cNvSpPr>
            <p:nvPr/>
          </p:nvSpPr>
          <p:spPr bwMode="auto">
            <a:xfrm>
              <a:off x="7724775" y="2744788"/>
              <a:ext cx="23813" cy="123825"/>
            </a:xfrm>
            <a:custGeom>
              <a:avLst/>
              <a:gdLst>
                <a:gd name="T0" fmla="*/ 23 w 28"/>
                <a:gd name="T1" fmla="*/ 151 h 151"/>
                <a:gd name="T2" fmla="*/ 20 w 28"/>
                <a:gd name="T3" fmla="*/ 150 h 151"/>
                <a:gd name="T4" fmla="*/ 0 w 28"/>
                <a:gd name="T5" fmla="*/ 139 h 151"/>
                <a:gd name="T6" fmla="*/ 3 w 28"/>
                <a:gd name="T7" fmla="*/ 140 h 151"/>
                <a:gd name="T8" fmla="*/ 9 w 28"/>
                <a:gd name="T9" fmla="*/ 130 h 151"/>
                <a:gd name="T10" fmla="*/ 9 w 28"/>
                <a:gd name="T11" fmla="*/ 18 h 151"/>
                <a:gd name="T12" fmla="*/ 28 w 28"/>
                <a:gd name="T13" fmla="*/ 0 h 151"/>
                <a:gd name="T14" fmla="*/ 28 w 28"/>
                <a:gd name="T15" fmla="*/ 145 h 151"/>
                <a:gd name="T16" fmla="*/ 26 w 28"/>
                <a:gd name="T17" fmla="*/ 151 h 151"/>
                <a:gd name="T18" fmla="*/ 23 w 28"/>
                <a:gd name="T19"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51">
                  <a:moveTo>
                    <a:pt x="23" y="151"/>
                  </a:moveTo>
                  <a:cubicBezTo>
                    <a:pt x="22" y="151"/>
                    <a:pt x="21" y="151"/>
                    <a:pt x="20" y="150"/>
                  </a:cubicBezTo>
                  <a:lnTo>
                    <a:pt x="0" y="139"/>
                  </a:lnTo>
                  <a:cubicBezTo>
                    <a:pt x="1" y="139"/>
                    <a:pt x="2" y="140"/>
                    <a:pt x="3" y="140"/>
                  </a:cubicBezTo>
                  <a:cubicBezTo>
                    <a:pt x="7" y="140"/>
                    <a:pt x="9" y="136"/>
                    <a:pt x="9" y="130"/>
                  </a:cubicBezTo>
                  <a:lnTo>
                    <a:pt x="9" y="18"/>
                  </a:lnTo>
                  <a:lnTo>
                    <a:pt x="28" y="0"/>
                  </a:lnTo>
                  <a:lnTo>
                    <a:pt x="28" y="145"/>
                  </a:lnTo>
                  <a:cubicBezTo>
                    <a:pt x="28" y="147"/>
                    <a:pt x="27" y="149"/>
                    <a:pt x="26" y="151"/>
                  </a:cubicBezTo>
                  <a:cubicBezTo>
                    <a:pt x="25" y="151"/>
                    <a:pt x="24" y="151"/>
                    <a:pt x="23" y="151"/>
                  </a:cubicBezTo>
                </a:path>
              </a:pathLst>
            </a:custGeom>
            <a:solidFill>
              <a:srgbClr val="659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587">
              <a:extLst>
                <a:ext uri="{FF2B5EF4-FFF2-40B4-BE49-F238E27FC236}">
                  <a16:creationId xmlns:a16="http://schemas.microsoft.com/office/drawing/2014/main" id="{A59E19FC-ED17-4917-8D87-994A3481B513}"/>
                </a:ext>
              </a:extLst>
            </p:cNvPr>
            <p:cNvSpPr>
              <a:spLocks/>
            </p:cNvSpPr>
            <p:nvPr/>
          </p:nvSpPr>
          <p:spPr bwMode="auto">
            <a:xfrm>
              <a:off x="8453438" y="2998788"/>
              <a:ext cx="57150" cy="312738"/>
            </a:xfrm>
            <a:custGeom>
              <a:avLst/>
              <a:gdLst>
                <a:gd name="T0" fmla="*/ 38 w 71"/>
                <a:gd name="T1" fmla="*/ 13 h 382"/>
                <a:gd name="T2" fmla="*/ 33 w 71"/>
                <a:gd name="T3" fmla="*/ 10 h 382"/>
                <a:gd name="T4" fmla="*/ 0 w 71"/>
                <a:gd name="T5" fmla="*/ 35 h 382"/>
                <a:gd name="T6" fmla="*/ 0 w 71"/>
                <a:gd name="T7" fmla="*/ 332 h 382"/>
                <a:gd name="T8" fmla="*/ 8 w 71"/>
                <a:gd name="T9" fmla="*/ 347 h 382"/>
                <a:gd name="T10" fmla="*/ 64 w 71"/>
                <a:gd name="T11" fmla="*/ 379 h 382"/>
                <a:gd name="T12" fmla="*/ 71 w 71"/>
                <a:gd name="T13" fmla="*/ 373 h 382"/>
                <a:gd name="T14" fmla="*/ 71 w 71"/>
                <a:gd name="T15" fmla="*/ 76 h 382"/>
                <a:gd name="T16" fmla="*/ 38 w 71"/>
                <a:gd name="T17" fmla="*/ 1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82">
                  <a:moveTo>
                    <a:pt x="38" y="13"/>
                  </a:moveTo>
                  <a:lnTo>
                    <a:pt x="33" y="10"/>
                  </a:lnTo>
                  <a:cubicBezTo>
                    <a:pt x="15" y="0"/>
                    <a:pt x="0" y="11"/>
                    <a:pt x="0" y="35"/>
                  </a:cubicBezTo>
                  <a:lnTo>
                    <a:pt x="0" y="332"/>
                  </a:lnTo>
                  <a:cubicBezTo>
                    <a:pt x="0" y="338"/>
                    <a:pt x="4" y="345"/>
                    <a:pt x="8" y="347"/>
                  </a:cubicBezTo>
                  <a:lnTo>
                    <a:pt x="64" y="379"/>
                  </a:lnTo>
                  <a:cubicBezTo>
                    <a:pt x="68" y="382"/>
                    <a:pt x="71" y="379"/>
                    <a:pt x="71" y="373"/>
                  </a:cubicBezTo>
                  <a:lnTo>
                    <a:pt x="71" y="76"/>
                  </a:lnTo>
                  <a:cubicBezTo>
                    <a:pt x="71" y="52"/>
                    <a:pt x="57" y="23"/>
                    <a:pt x="38" y="13"/>
                  </a:cubicBezTo>
                </a:path>
              </a:pathLst>
            </a:custGeom>
            <a:solidFill>
              <a:srgbClr val="CF5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588">
              <a:extLst>
                <a:ext uri="{FF2B5EF4-FFF2-40B4-BE49-F238E27FC236}">
                  <a16:creationId xmlns:a16="http://schemas.microsoft.com/office/drawing/2014/main" id="{9C9612D7-951E-4345-9A23-F086C9710489}"/>
                </a:ext>
              </a:extLst>
            </p:cNvPr>
            <p:cNvSpPr>
              <a:spLocks/>
            </p:cNvSpPr>
            <p:nvPr/>
          </p:nvSpPr>
          <p:spPr bwMode="auto">
            <a:xfrm>
              <a:off x="7799388" y="2508250"/>
              <a:ext cx="58738" cy="425450"/>
            </a:xfrm>
            <a:custGeom>
              <a:avLst/>
              <a:gdLst>
                <a:gd name="T0" fmla="*/ 38 w 71"/>
                <a:gd name="T1" fmla="*/ 14 h 519"/>
                <a:gd name="T2" fmla="*/ 33 w 71"/>
                <a:gd name="T3" fmla="*/ 11 h 519"/>
                <a:gd name="T4" fmla="*/ 0 w 71"/>
                <a:gd name="T5" fmla="*/ 36 h 519"/>
                <a:gd name="T6" fmla="*/ 0 w 71"/>
                <a:gd name="T7" fmla="*/ 469 h 519"/>
                <a:gd name="T8" fmla="*/ 8 w 71"/>
                <a:gd name="T9" fmla="*/ 484 h 519"/>
                <a:gd name="T10" fmla="*/ 63 w 71"/>
                <a:gd name="T11" fmla="*/ 516 h 519"/>
                <a:gd name="T12" fmla="*/ 71 w 71"/>
                <a:gd name="T13" fmla="*/ 510 h 519"/>
                <a:gd name="T14" fmla="*/ 71 w 71"/>
                <a:gd name="T15" fmla="*/ 77 h 519"/>
                <a:gd name="T16" fmla="*/ 38 w 71"/>
                <a:gd name="T17" fmla="*/ 14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519">
                  <a:moveTo>
                    <a:pt x="38" y="14"/>
                  </a:moveTo>
                  <a:lnTo>
                    <a:pt x="33" y="11"/>
                  </a:lnTo>
                  <a:cubicBezTo>
                    <a:pt x="15" y="0"/>
                    <a:pt x="0" y="12"/>
                    <a:pt x="0" y="36"/>
                  </a:cubicBezTo>
                  <a:lnTo>
                    <a:pt x="0" y="469"/>
                  </a:lnTo>
                  <a:cubicBezTo>
                    <a:pt x="0" y="475"/>
                    <a:pt x="4" y="482"/>
                    <a:pt x="8" y="484"/>
                  </a:cubicBezTo>
                  <a:lnTo>
                    <a:pt x="63" y="516"/>
                  </a:lnTo>
                  <a:cubicBezTo>
                    <a:pt x="68" y="519"/>
                    <a:pt x="71" y="516"/>
                    <a:pt x="71" y="510"/>
                  </a:cubicBezTo>
                  <a:lnTo>
                    <a:pt x="71" y="77"/>
                  </a:lnTo>
                  <a:cubicBezTo>
                    <a:pt x="71" y="52"/>
                    <a:pt x="56" y="24"/>
                    <a:pt x="38" y="14"/>
                  </a:cubicBezTo>
                </a:path>
              </a:pathLst>
            </a:custGeom>
            <a:solidFill>
              <a:srgbClr val="CF5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589">
              <a:extLst>
                <a:ext uri="{FF2B5EF4-FFF2-40B4-BE49-F238E27FC236}">
                  <a16:creationId xmlns:a16="http://schemas.microsoft.com/office/drawing/2014/main" id="{EF2B8A23-39CD-4F4D-96B9-508A0460688A}"/>
                </a:ext>
              </a:extLst>
            </p:cNvPr>
            <p:cNvSpPr>
              <a:spLocks/>
            </p:cNvSpPr>
            <p:nvPr/>
          </p:nvSpPr>
          <p:spPr bwMode="auto">
            <a:xfrm>
              <a:off x="7854950" y="2635250"/>
              <a:ext cx="3175" cy="295275"/>
            </a:xfrm>
            <a:custGeom>
              <a:avLst/>
              <a:gdLst>
                <a:gd name="T0" fmla="*/ 0 w 2"/>
                <a:gd name="T1" fmla="*/ 360 h 360"/>
                <a:gd name="T2" fmla="*/ 2 w 2"/>
                <a:gd name="T3" fmla="*/ 354 h 360"/>
                <a:gd name="T4" fmla="*/ 2 w 2"/>
                <a:gd name="T5" fmla="*/ 0 h 360"/>
                <a:gd name="T6" fmla="*/ 2 w 2"/>
                <a:gd name="T7" fmla="*/ 355 h 360"/>
                <a:gd name="T8" fmla="*/ 0 w 2"/>
                <a:gd name="T9" fmla="*/ 360 h 360"/>
              </a:gdLst>
              <a:ahLst/>
              <a:cxnLst>
                <a:cxn ang="0">
                  <a:pos x="T0" y="T1"/>
                </a:cxn>
                <a:cxn ang="0">
                  <a:pos x="T2" y="T3"/>
                </a:cxn>
                <a:cxn ang="0">
                  <a:pos x="T4" y="T5"/>
                </a:cxn>
                <a:cxn ang="0">
                  <a:pos x="T6" y="T7"/>
                </a:cxn>
                <a:cxn ang="0">
                  <a:pos x="T8" y="T9"/>
                </a:cxn>
              </a:cxnLst>
              <a:rect l="0" t="0" r="r" b="b"/>
              <a:pathLst>
                <a:path w="2" h="360">
                  <a:moveTo>
                    <a:pt x="0" y="360"/>
                  </a:moveTo>
                  <a:cubicBezTo>
                    <a:pt x="1" y="359"/>
                    <a:pt x="2" y="357"/>
                    <a:pt x="2" y="354"/>
                  </a:cubicBezTo>
                  <a:lnTo>
                    <a:pt x="2" y="0"/>
                  </a:lnTo>
                  <a:lnTo>
                    <a:pt x="2" y="355"/>
                  </a:lnTo>
                  <a:cubicBezTo>
                    <a:pt x="2" y="358"/>
                    <a:pt x="1" y="359"/>
                    <a:pt x="0" y="360"/>
                  </a:cubicBez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590">
              <a:extLst>
                <a:ext uri="{FF2B5EF4-FFF2-40B4-BE49-F238E27FC236}">
                  <a16:creationId xmlns:a16="http://schemas.microsoft.com/office/drawing/2014/main" id="{5E58A6C4-EFB2-4E98-BE43-16F3FA9C367D}"/>
                </a:ext>
              </a:extLst>
            </p:cNvPr>
            <p:cNvSpPr>
              <a:spLocks/>
            </p:cNvSpPr>
            <p:nvPr/>
          </p:nvSpPr>
          <p:spPr bwMode="auto">
            <a:xfrm>
              <a:off x="7834313" y="2635250"/>
              <a:ext cx="23813" cy="296863"/>
            </a:xfrm>
            <a:custGeom>
              <a:avLst/>
              <a:gdLst>
                <a:gd name="T0" fmla="*/ 23 w 28"/>
                <a:gd name="T1" fmla="*/ 361 h 361"/>
                <a:gd name="T2" fmla="*/ 20 w 28"/>
                <a:gd name="T3" fmla="*/ 360 h 361"/>
                <a:gd name="T4" fmla="*/ 0 w 28"/>
                <a:gd name="T5" fmla="*/ 348 h 361"/>
                <a:gd name="T6" fmla="*/ 3 w 28"/>
                <a:gd name="T7" fmla="*/ 349 h 361"/>
                <a:gd name="T8" fmla="*/ 9 w 28"/>
                <a:gd name="T9" fmla="*/ 339 h 361"/>
                <a:gd name="T10" fmla="*/ 9 w 28"/>
                <a:gd name="T11" fmla="*/ 18 h 361"/>
                <a:gd name="T12" fmla="*/ 28 w 28"/>
                <a:gd name="T13" fmla="*/ 0 h 361"/>
                <a:gd name="T14" fmla="*/ 28 w 28"/>
                <a:gd name="T15" fmla="*/ 354 h 361"/>
                <a:gd name="T16" fmla="*/ 26 w 28"/>
                <a:gd name="T17" fmla="*/ 360 h 361"/>
                <a:gd name="T18" fmla="*/ 23 w 28"/>
                <a:gd name="T1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61">
                  <a:moveTo>
                    <a:pt x="23" y="361"/>
                  </a:moveTo>
                  <a:cubicBezTo>
                    <a:pt x="22" y="361"/>
                    <a:pt x="21" y="361"/>
                    <a:pt x="20" y="360"/>
                  </a:cubicBezTo>
                  <a:lnTo>
                    <a:pt x="0" y="348"/>
                  </a:lnTo>
                  <a:cubicBezTo>
                    <a:pt x="1" y="349"/>
                    <a:pt x="2" y="349"/>
                    <a:pt x="3" y="349"/>
                  </a:cubicBezTo>
                  <a:cubicBezTo>
                    <a:pt x="7" y="349"/>
                    <a:pt x="9" y="346"/>
                    <a:pt x="9" y="339"/>
                  </a:cubicBezTo>
                  <a:lnTo>
                    <a:pt x="9" y="18"/>
                  </a:lnTo>
                  <a:lnTo>
                    <a:pt x="28" y="0"/>
                  </a:lnTo>
                  <a:lnTo>
                    <a:pt x="28" y="354"/>
                  </a:lnTo>
                  <a:cubicBezTo>
                    <a:pt x="28" y="357"/>
                    <a:pt x="27" y="359"/>
                    <a:pt x="26" y="360"/>
                  </a:cubicBezTo>
                  <a:cubicBezTo>
                    <a:pt x="25" y="361"/>
                    <a:pt x="24" y="361"/>
                    <a:pt x="23" y="361"/>
                  </a:cubicBezTo>
                  <a:close/>
                </a:path>
              </a:pathLst>
            </a:custGeom>
            <a:solidFill>
              <a:srgbClr val="B04B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591">
              <a:extLst>
                <a:ext uri="{FF2B5EF4-FFF2-40B4-BE49-F238E27FC236}">
                  <a16:creationId xmlns:a16="http://schemas.microsoft.com/office/drawing/2014/main" id="{75CC93B6-98E3-4475-9DF9-DF691B0D93AB}"/>
                </a:ext>
              </a:extLst>
            </p:cNvPr>
            <p:cNvSpPr>
              <a:spLocks/>
            </p:cNvSpPr>
            <p:nvPr/>
          </p:nvSpPr>
          <p:spPr bwMode="auto">
            <a:xfrm>
              <a:off x="8562975" y="2949575"/>
              <a:ext cx="57150" cy="425450"/>
            </a:xfrm>
            <a:custGeom>
              <a:avLst/>
              <a:gdLst>
                <a:gd name="T0" fmla="*/ 37 w 70"/>
                <a:gd name="T1" fmla="*/ 13 h 519"/>
                <a:gd name="T2" fmla="*/ 33 w 70"/>
                <a:gd name="T3" fmla="*/ 11 h 519"/>
                <a:gd name="T4" fmla="*/ 0 w 70"/>
                <a:gd name="T5" fmla="*/ 36 h 519"/>
                <a:gd name="T6" fmla="*/ 0 w 70"/>
                <a:gd name="T7" fmla="*/ 469 h 519"/>
                <a:gd name="T8" fmla="*/ 7 w 70"/>
                <a:gd name="T9" fmla="*/ 484 h 519"/>
                <a:gd name="T10" fmla="*/ 63 w 70"/>
                <a:gd name="T11" fmla="*/ 516 h 519"/>
                <a:gd name="T12" fmla="*/ 70 w 70"/>
                <a:gd name="T13" fmla="*/ 510 h 519"/>
                <a:gd name="T14" fmla="*/ 70 w 70"/>
                <a:gd name="T15" fmla="*/ 77 h 519"/>
                <a:gd name="T16" fmla="*/ 37 w 70"/>
                <a:gd name="T17" fmla="*/ 13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519">
                  <a:moveTo>
                    <a:pt x="37" y="13"/>
                  </a:moveTo>
                  <a:lnTo>
                    <a:pt x="33" y="11"/>
                  </a:lnTo>
                  <a:cubicBezTo>
                    <a:pt x="14" y="0"/>
                    <a:pt x="0" y="11"/>
                    <a:pt x="0" y="36"/>
                  </a:cubicBezTo>
                  <a:lnTo>
                    <a:pt x="0" y="469"/>
                  </a:lnTo>
                  <a:cubicBezTo>
                    <a:pt x="0" y="475"/>
                    <a:pt x="3" y="482"/>
                    <a:pt x="7" y="484"/>
                  </a:cubicBezTo>
                  <a:lnTo>
                    <a:pt x="63" y="516"/>
                  </a:lnTo>
                  <a:cubicBezTo>
                    <a:pt x="67" y="519"/>
                    <a:pt x="70" y="516"/>
                    <a:pt x="70" y="510"/>
                  </a:cubicBezTo>
                  <a:lnTo>
                    <a:pt x="70" y="77"/>
                  </a:lnTo>
                  <a:cubicBezTo>
                    <a:pt x="70" y="52"/>
                    <a:pt x="56" y="24"/>
                    <a:pt x="37" y="13"/>
                  </a:cubicBezTo>
                  <a:close/>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592">
              <a:extLst>
                <a:ext uri="{FF2B5EF4-FFF2-40B4-BE49-F238E27FC236}">
                  <a16:creationId xmlns:a16="http://schemas.microsoft.com/office/drawing/2014/main" id="{FC2C252F-2614-4975-941E-DEBF7E82EAC7}"/>
                </a:ext>
              </a:extLst>
            </p:cNvPr>
            <p:cNvSpPr>
              <a:spLocks/>
            </p:cNvSpPr>
            <p:nvPr/>
          </p:nvSpPr>
          <p:spPr bwMode="auto">
            <a:xfrm>
              <a:off x="7386638" y="2836863"/>
              <a:ext cx="1319213" cy="2327275"/>
            </a:xfrm>
            <a:custGeom>
              <a:avLst/>
              <a:gdLst>
                <a:gd name="T0" fmla="*/ 1561 w 1609"/>
                <a:gd name="T1" fmla="*/ 2823 h 2838"/>
                <a:gd name="T2" fmla="*/ 49 w 1609"/>
                <a:gd name="T3" fmla="*/ 1950 h 2838"/>
                <a:gd name="T4" fmla="*/ 0 w 1609"/>
                <a:gd name="T5" fmla="*/ 1856 h 2838"/>
                <a:gd name="T6" fmla="*/ 0 w 1609"/>
                <a:gd name="T7" fmla="*/ 53 h 2838"/>
                <a:gd name="T8" fmla="*/ 49 w 1609"/>
                <a:gd name="T9" fmla="*/ 16 h 2838"/>
                <a:gd name="T10" fmla="*/ 1561 w 1609"/>
                <a:gd name="T11" fmla="*/ 889 h 2838"/>
                <a:gd name="T12" fmla="*/ 1609 w 1609"/>
                <a:gd name="T13" fmla="*/ 982 h 2838"/>
                <a:gd name="T14" fmla="*/ 1609 w 1609"/>
                <a:gd name="T15" fmla="*/ 2786 h 2838"/>
                <a:gd name="T16" fmla="*/ 1561 w 1609"/>
                <a:gd name="T17" fmla="*/ 2823 h 2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9" h="2838">
                  <a:moveTo>
                    <a:pt x="1561" y="2823"/>
                  </a:moveTo>
                  <a:lnTo>
                    <a:pt x="49" y="1950"/>
                  </a:lnTo>
                  <a:cubicBezTo>
                    <a:pt x="22" y="1934"/>
                    <a:pt x="0" y="1892"/>
                    <a:pt x="0" y="1856"/>
                  </a:cubicBezTo>
                  <a:lnTo>
                    <a:pt x="0" y="53"/>
                  </a:lnTo>
                  <a:cubicBezTo>
                    <a:pt x="0" y="17"/>
                    <a:pt x="22" y="0"/>
                    <a:pt x="49" y="16"/>
                  </a:cubicBezTo>
                  <a:lnTo>
                    <a:pt x="1561" y="889"/>
                  </a:lnTo>
                  <a:cubicBezTo>
                    <a:pt x="1587" y="904"/>
                    <a:pt x="1609" y="946"/>
                    <a:pt x="1609" y="982"/>
                  </a:cubicBezTo>
                  <a:lnTo>
                    <a:pt x="1609" y="2786"/>
                  </a:lnTo>
                  <a:cubicBezTo>
                    <a:pt x="1609" y="2821"/>
                    <a:pt x="1587" y="2838"/>
                    <a:pt x="1561" y="2823"/>
                  </a:cubicBezTo>
                  <a:close/>
                </a:path>
              </a:pathLst>
            </a:custGeom>
            <a:solidFill>
              <a:srgbClr val="C7AF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593">
              <a:extLst>
                <a:ext uri="{FF2B5EF4-FFF2-40B4-BE49-F238E27FC236}">
                  <a16:creationId xmlns:a16="http://schemas.microsoft.com/office/drawing/2014/main" id="{1FEBC62B-0676-46AE-A7B0-8289753B4255}"/>
                </a:ext>
              </a:extLst>
            </p:cNvPr>
            <p:cNvSpPr>
              <a:spLocks/>
            </p:cNvSpPr>
            <p:nvPr/>
          </p:nvSpPr>
          <p:spPr bwMode="auto">
            <a:xfrm>
              <a:off x="7470775" y="3160713"/>
              <a:ext cx="309563" cy="531813"/>
            </a:xfrm>
            <a:custGeom>
              <a:avLst/>
              <a:gdLst>
                <a:gd name="T0" fmla="*/ 190 w 378"/>
                <a:gd name="T1" fmla="*/ 486 h 648"/>
                <a:gd name="T2" fmla="*/ 378 w 378"/>
                <a:gd name="T3" fmla="*/ 248 h 648"/>
                <a:gd name="T4" fmla="*/ 295 w 378"/>
                <a:gd name="T5" fmla="*/ 3 h 648"/>
                <a:gd name="T6" fmla="*/ 0 w 378"/>
                <a:gd name="T7" fmla="*/ 377 h 648"/>
                <a:gd name="T8" fmla="*/ 40 w 378"/>
                <a:gd name="T9" fmla="*/ 630 h 648"/>
                <a:gd name="T10" fmla="*/ 215 w 378"/>
                <a:gd name="T11" fmla="*/ 648 h 648"/>
                <a:gd name="T12" fmla="*/ 190 w 378"/>
                <a:gd name="T13" fmla="*/ 486 h 648"/>
              </a:gdLst>
              <a:ahLst/>
              <a:cxnLst>
                <a:cxn ang="0">
                  <a:pos x="T0" y="T1"/>
                </a:cxn>
                <a:cxn ang="0">
                  <a:pos x="T2" y="T3"/>
                </a:cxn>
                <a:cxn ang="0">
                  <a:pos x="T4" y="T5"/>
                </a:cxn>
                <a:cxn ang="0">
                  <a:pos x="T6" y="T7"/>
                </a:cxn>
                <a:cxn ang="0">
                  <a:pos x="T8" y="T9"/>
                </a:cxn>
                <a:cxn ang="0">
                  <a:pos x="T10" y="T11"/>
                </a:cxn>
                <a:cxn ang="0">
                  <a:pos x="T12" y="T13"/>
                </a:cxn>
              </a:cxnLst>
              <a:rect l="0" t="0" r="r" b="b"/>
              <a:pathLst>
                <a:path w="378" h="648">
                  <a:moveTo>
                    <a:pt x="190" y="486"/>
                  </a:moveTo>
                  <a:cubicBezTo>
                    <a:pt x="190" y="333"/>
                    <a:pt x="267" y="246"/>
                    <a:pt x="378" y="248"/>
                  </a:cubicBezTo>
                  <a:lnTo>
                    <a:pt x="295" y="3"/>
                  </a:lnTo>
                  <a:cubicBezTo>
                    <a:pt x="120" y="0"/>
                    <a:pt x="0" y="137"/>
                    <a:pt x="0" y="377"/>
                  </a:cubicBezTo>
                  <a:cubicBezTo>
                    <a:pt x="0" y="458"/>
                    <a:pt x="14" y="544"/>
                    <a:pt x="40" y="630"/>
                  </a:cubicBezTo>
                  <a:lnTo>
                    <a:pt x="215" y="648"/>
                  </a:lnTo>
                  <a:cubicBezTo>
                    <a:pt x="199" y="593"/>
                    <a:pt x="190" y="538"/>
                    <a:pt x="190" y="486"/>
                  </a:cubicBezTo>
                  <a:close/>
                </a:path>
              </a:pathLst>
            </a:custGeom>
            <a:solidFill>
              <a:srgbClr val="92C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594">
              <a:extLst>
                <a:ext uri="{FF2B5EF4-FFF2-40B4-BE49-F238E27FC236}">
                  <a16:creationId xmlns:a16="http://schemas.microsoft.com/office/drawing/2014/main" id="{42285E61-99AE-4968-89B1-E10105C2DC8F}"/>
                </a:ext>
              </a:extLst>
            </p:cNvPr>
            <p:cNvSpPr>
              <a:spLocks/>
            </p:cNvSpPr>
            <p:nvPr/>
          </p:nvSpPr>
          <p:spPr bwMode="auto">
            <a:xfrm>
              <a:off x="7712075" y="3163888"/>
              <a:ext cx="573088" cy="558800"/>
            </a:xfrm>
            <a:custGeom>
              <a:avLst/>
              <a:gdLst>
                <a:gd name="T0" fmla="*/ 229 w 700"/>
                <a:gd name="T1" fmla="*/ 290 h 681"/>
                <a:gd name="T2" fmla="*/ 529 w 700"/>
                <a:gd name="T3" fmla="*/ 679 h 681"/>
                <a:gd name="T4" fmla="*/ 700 w 700"/>
                <a:gd name="T5" fmla="*/ 681 h 681"/>
                <a:gd name="T6" fmla="*/ 229 w 700"/>
                <a:gd name="T7" fmla="*/ 71 h 681"/>
                <a:gd name="T8" fmla="*/ 0 w 700"/>
                <a:gd name="T9" fmla="*/ 0 h 681"/>
                <a:gd name="T10" fmla="*/ 83 w 700"/>
                <a:gd name="T11" fmla="*/ 245 h 681"/>
                <a:gd name="T12" fmla="*/ 229 w 700"/>
                <a:gd name="T13" fmla="*/ 290 h 681"/>
              </a:gdLst>
              <a:ahLst/>
              <a:cxnLst>
                <a:cxn ang="0">
                  <a:pos x="T0" y="T1"/>
                </a:cxn>
                <a:cxn ang="0">
                  <a:pos x="T2" y="T3"/>
                </a:cxn>
                <a:cxn ang="0">
                  <a:pos x="T4" y="T5"/>
                </a:cxn>
                <a:cxn ang="0">
                  <a:pos x="T6" y="T7"/>
                </a:cxn>
                <a:cxn ang="0">
                  <a:pos x="T8" y="T9"/>
                </a:cxn>
                <a:cxn ang="0">
                  <a:pos x="T10" y="T11"/>
                </a:cxn>
                <a:cxn ang="0">
                  <a:pos x="T12" y="T13"/>
                </a:cxn>
              </a:cxnLst>
              <a:rect l="0" t="0" r="r" b="b"/>
              <a:pathLst>
                <a:path w="700" h="681">
                  <a:moveTo>
                    <a:pt x="229" y="290"/>
                  </a:moveTo>
                  <a:cubicBezTo>
                    <a:pt x="361" y="366"/>
                    <a:pt x="475" y="520"/>
                    <a:pt x="529" y="679"/>
                  </a:cubicBezTo>
                  <a:lnTo>
                    <a:pt x="700" y="681"/>
                  </a:lnTo>
                  <a:cubicBezTo>
                    <a:pt x="614" y="432"/>
                    <a:pt x="436" y="190"/>
                    <a:pt x="229" y="71"/>
                  </a:cubicBezTo>
                  <a:cubicBezTo>
                    <a:pt x="147" y="24"/>
                    <a:pt x="69" y="1"/>
                    <a:pt x="0" y="0"/>
                  </a:cubicBezTo>
                  <a:lnTo>
                    <a:pt x="83" y="245"/>
                  </a:lnTo>
                  <a:cubicBezTo>
                    <a:pt x="127" y="245"/>
                    <a:pt x="177" y="260"/>
                    <a:pt x="229" y="290"/>
                  </a:cubicBezTo>
                </a:path>
              </a:pathLst>
            </a:custGeom>
            <a:solidFill>
              <a:srgbClr val="CF5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595">
              <a:extLst>
                <a:ext uri="{FF2B5EF4-FFF2-40B4-BE49-F238E27FC236}">
                  <a16:creationId xmlns:a16="http://schemas.microsoft.com/office/drawing/2014/main" id="{5FA326B0-1938-42CE-8308-BF426C46DA00}"/>
                </a:ext>
              </a:extLst>
            </p:cNvPr>
            <p:cNvSpPr>
              <a:spLocks/>
            </p:cNvSpPr>
            <p:nvPr/>
          </p:nvSpPr>
          <p:spPr bwMode="auto">
            <a:xfrm>
              <a:off x="7962900" y="3719513"/>
              <a:ext cx="366713" cy="596900"/>
            </a:xfrm>
            <a:custGeom>
              <a:avLst/>
              <a:gdLst>
                <a:gd name="T0" fmla="*/ 257 w 447"/>
                <a:gd name="T1" fmla="*/ 190 h 726"/>
                <a:gd name="T2" fmla="*/ 0 w 447"/>
                <a:gd name="T3" fmla="*/ 417 h 726"/>
                <a:gd name="T4" fmla="*/ 44 w 447"/>
                <a:gd name="T5" fmla="*/ 655 h 726"/>
                <a:gd name="T6" fmla="*/ 447 w 447"/>
                <a:gd name="T7" fmla="*/ 300 h 726"/>
                <a:gd name="T8" fmla="*/ 394 w 447"/>
                <a:gd name="T9" fmla="*/ 2 h 726"/>
                <a:gd name="T10" fmla="*/ 223 w 447"/>
                <a:gd name="T11" fmla="*/ 0 h 726"/>
                <a:gd name="T12" fmla="*/ 257 w 447"/>
                <a:gd name="T13" fmla="*/ 190 h 726"/>
              </a:gdLst>
              <a:ahLst/>
              <a:cxnLst>
                <a:cxn ang="0">
                  <a:pos x="T0" y="T1"/>
                </a:cxn>
                <a:cxn ang="0">
                  <a:pos x="T2" y="T3"/>
                </a:cxn>
                <a:cxn ang="0">
                  <a:pos x="T4" y="T5"/>
                </a:cxn>
                <a:cxn ang="0">
                  <a:pos x="T6" y="T7"/>
                </a:cxn>
                <a:cxn ang="0">
                  <a:pos x="T8" y="T9"/>
                </a:cxn>
                <a:cxn ang="0">
                  <a:pos x="T10" y="T11"/>
                </a:cxn>
                <a:cxn ang="0">
                  <a:pos x="T12" y="T13"/>
                </a:cxn>
              </a:cxnLst>
              <a:rect l="0" t="0" r="r" b="b"/>
              <a:pathLst>
                <a:path w="447" h="726">
                  <a:moveTo>
                    <a:pt x="257" y="190"/>
                  </a:moveTo>
                  <a:cubicBezTo>
                    <a:pt x="257" y="373"/>
                    <a:pt x="148" y="462"/>
                    <a:pt x="0" y="417"/>
                  </a:cubicBezTo>
                  <a:lnTo>
                    <a:pt x="44" y="655"/>
                  </a:lnTo>
                  <a:cubicBezTo>
                    <a:pt x="275" y="726"/>
                    <a:pt x="447" y="586"/>
                    <a:pt x="447" y="300"/>
                  </a:cubicBezTo>
                  <a:cubicBezTo>
                    <a:pt x="447" y="204"/>
                    <a:pt x="428" y="103"/>
                    <a:pt x="394" y="2"/>
                  </a:cubicBezTo>
                  <a:lnTo>
                    <a:pt x="223" y="0"/>
                  </a:lnTo>
                  <a:cubicBezTo>
                    <a:pt x="245" y="64"/>
                    <a:pt x="257" y="129"/>
                    <a:pt x="257" y="190"/>
                  </a:cubicBezTo>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596">
              <a:extLst>
                <a:ext uri="{FF2B5EF4-FFF2-40B4-BE49-F238E27FC236}">
                  <a16:creationId xmlns:a16="http://schemas.microsoft.com/office/drawing/2014/main" id="{1DC1D973-ABA0-49D0-B743-A314ED5B72D5}"/>
                </a:ext>
              </a:extLst>
            </p:cNvPr>
            <p:cNvSpPr>
              <a:spLocks/>
            </p:cNvSpPr>
            <p:nvPr/>
          </p:nvSpPr>
          <p:spPr bwMode="auto">
            <a:xfrm>
              <a:off x="7504113" y="3678238"/>
              <a:ext cx="495300" cy="579438"/>
            </a:xfrm>
            <a:custGeom>
              <a:avLst/>
              <a:gdLst>
                <a:gd name="T0" fmla="*/ 484 w 605"/>
                <a:gd name="T1" fmla="*/ 654 h 707"/>
                <a:gd name="T2" fmla="*/ 605 w 605"/>
                <a:gd name="T3" fmla="*/ 707 h 707"/>
                <a:gd name="T4" fmla="*/ 561 w 605"/>
                <a:gd name="T5" fmla="*/ 469 h 707"/>
                <a:gd name="T6" fmla="*/ 484 w 605"/>
                <a:gd name="T7" fmla="*/ 435 h 707"/>
                <a:gd name="T8" fmla="*/ 175 w 605"/>
                <a:gd name="T9" fmla="*/ 18 h 707"/>
                <a:gd name="T10" fmla="*/ 0 w 605"/>
                <a:gd name="T11" fmla="*/ 0 h 707"/>
                <a:gd name="T12" fmla="*/ 484 w 605"/>
                <a:gd name="T13" fmla="*/ 654 h 707"/>
              </a:gdLst>
              <a:ahLst/>
              <a:cxnLst>
                <a:cxn ang="0">
                  <a:pos x="T0" y="T1"/>
                </a:cxn>
                <a:cxn ang="0">
                  <a:pos x="T2" y="T3"/>
                </a:cxn>
                <a:cxn ang="0">
                  <a:pos x="T4" y="T5"/>
                </a:cxn>
                <a:cxn ang="0">
                  <a:pos x="T6" y="T7"/>
                </a:cxn>
                <a:cxn ang="0">
                  <a:pos x="T8" y="T9"/>
                </a:cxn>
                <a:cxn ang="0">
                  <a:pos x="T10" y="T11"/>
                </a:cxn>
                <a:cxn ang="0">
                  <a:pos x="T12" y="T13"/>
                </a:cxn>
              </a:cxnLst>
              <a:rect l="0" t="0" r="r" b="b"/>
              <a:pathLst>
                <a:path w="605" h="707">
                  <a:moveTo>
                    <a:pt x="484" y="654"/>
                  </a:moveTo>
                  <a:cubicBezTo>
                    <a:pt x="526" y="678"/>
                    <a:pt x="566" y="696"/>
                    <a:pt x="605" y="707"/>
                  </a:cubicBezTo>
                  <a:lnTo>
                    <a:pt x="561" y="469"/>
                  </a:lnTo>
                  <a:cubicBezTo>
                    <a:pt x="536" y="461"/>
                    <a:pt x="511" y="450"/>
                    <a:pt x="484" y="435"/>
                  </a:cubicBezTo>
                  <a:cubicBezTo>
                    <a:pt x="345" y="355"/>
                    <a:pt x="225" y="187"/>
                    <a:pt x="175" y="18"/>
                  </a:cubicBezTo>
                  <a:lnTo>
                    <a:pt x="0" y="0"/>
                  </a:lnTo>
                  <a:cubicBezTo>
                    <a:pt x="78" y="265"/>
                    <a:pt x="266" y="528"/>
                    <a:pt x="484" y="654"/>
                  </a:cubicBezTo>
                  <a:close/>
                </a:path>
              </a:pathLst>
            </a:custGeom>
            <a:solidFill>
              <a:srgbClr val="E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597">
              <a:extLst>
                <a:ext uri="{FF2B5EF4-FFF2-40B4-BE49-F238E27FC236}">
                  <a16:creationId xmlns:a16="http://schemas.microsoft.com/office/drawing/2014/main" id="{99A43430-7450-4A0B-8772-3899C579E22C}"/>
                </a:ext>
              </a:extLst>
            </p:cNvPr>
            <p:cNvSpPr>
              <a:spLocks noEditPoints="1"/>
            </p:cNvSpPr>
            <p:nvPr/>
          </p:nvSpPr>
          <p:spPr bwMode="auto">
            <a:xfrm>
              <a:off x="7472363" y="3162300"/>
              <a:ext cx="857250" cy="1111250"/>
            </a:xfrm>
            <a:custGeom>
              <a:avLst/>
              <a:gdLst>
                <a:gd name="T0" fmla="*/ 756 w 1046"/>
                <a:gd name="T1" fmla="*/ 1354 h 1354"/>
                <a:gd name="T2" fmla="*/ 668 w 1046"/>
                <a:gd name="T3" fmla="*/ 1343 h 1354"/>
                <a:gd name="T4" fmla="*/ 668 w 1046"/>
                <a:gd name="T5" fmla="*/ 1343 h 1354"/>
                <a:gd name="T6" fmla="*/ 756 w 1046"/>
                <a:gd name="T7" fmla="*/ 1354 h 1354"/>
                <a:gd name="T8" fmla="*/ 1046 w 1046"/>
                <a:gd name="T9" fmla="*/ 980 h 1354"/>
                <a:gd name="T10" fmla="*/ 1046 w 1046"/>
                <a:gd name="T11" fmla="*/ 980 h 1354"/>
                <a:gd name="T12" fmla="*/ 756 w 1046"/>
                <a:gd name="T13" fmla="*/ 1354 h 1354"/>
                <a:gd name="T14" fmla="*/ 584 w 1046"/>
                <a:gd name="T15" fmla="*/ 1313 h 1354"/>
                <a:gd name="T16" fmla="*/ 525 w 1046"/>
                <a:gd name="T17" fmla="*/ 1284 h 1354"/>
                <a:gd name="T18" fmla="*/ 584 w 1046"/>
                <a:gd name="T19" fmla="*/ 1313 h 1354"/>
                <a:gd name="T20" fmla="*/ 584 w 1046"/>
                <a:gd name="T21" fmla="*/ 1313 h 1354"/>
                <a:gd name="T22" fmla="*/ 457 w 1046"/>
                <a:gd name="T23" fmla="*/ 1240 h 1354"/>
                <a:gd name="T24" fmla="*/ 315 w 1046"/>
                <a:gd name="T25" fmla="*/ 1113 h 1354"/>
                <a:gd name="T26" fmla="*/ 315 w 1046"/>
                <a:gd name="T27" fmla="*/ 1113 h 1354"/>
                <a:gd name="T28" fmla="*/ 457 w 1046"/>
                <a:gd name="T29" fmla="*/ 1240 h 1354"/>
                <a:gd name="T30" fmla="*/ 102 w 1046"/>
                <a:gd name="T31" fmla="*/ 795 h 1354"/>
                <a:gd name="T32" fmla="*/ 0 w 1046"/>
                <a:gd name="T33" fmla="*/ 428 h 1354"/>
                <a:gd name="T34" fmla="*/ 0 w 1046"/>
                <a:gd name="T35" fmla="*/ 428 h 1354"/>
                <a:gd name="T36" fmla="*/ 38 w 1046"/>
                <a:gd name="T37" fmla="*/ 628 h 1354"/>
                <a:gd name="T38" fmla="*/ 62 w 1046"/>
                <a:gd name="T39" fmla="*/ 631 h 1354"/>
                <a:gd name="T40" fmla="*/ 62 w 1046"/>
                <a:gd name="T41" fmla="*/ 631 h 1354"/>
                <a:gd name="T42" fmla="*/ 38 w 1046"/>
                <a:gd name="T43" fmla="*/ 628 h 1354"/>
                <a:gd name="T44" fmla="*/ 102 w 1046"/>
                <a:gd name="T45" fmla="*/ 795 h 1354"/>
                <a:gd name="T46" fmla="*/ 102 w 1046"/>
                <a:gd name="T47" fmla="*/ 795 h 1354"/>
                <a:gd name="T48" fmla="*/ 3 w 1046"/>
                <a:gd name="T49" fmla="*/ 294 h 1354"/>
                <a:gd name="T50" fmla="*/ 16 w 1046"/>
                <a:gd name="T51" fmla="*/ 227 h 1354"/>
                <a:gd name="T52" fmla="*/ 16 w 1046"/>
                <a:gd name="T53" fmla="*/ 227 h 1354"/>
                <a:gd name="T54" fmla="*/ 3 w 1046"/>
                <a:gd name="T55" fmla="*/ 294 h 1354"/>
                <a:gd name="T56" fmla="*/ 3 w 1046"/>
                <a:gd name="T57" fmla="*/ 294 h 1354"/>
                <a:gd name="T58" fmla="*/ 80 w 1046"/>
                <a:gd name="T59" fmla="*/ 97 h 1354"/>
                <a:gd name="T60" fmla="*/ 80 w 1046"/>
                <a:gd name="T61" fmla="*/ 97 h 1354"/>
                <a:gd name="T62" fmla="*/ 288 w 1046"/>
                <a:gd name="T63" fmla="*/ 0 h 1354"/>
                <a:gd name="T64" fmla="*/ 296 w 1046"/>
                <a:gd name="T65" fmla="*/ 1 h 1354"/>
                <a:gd name="T66" fmla="*/ 296 w 1046"/>
                <a:gd name="T67" fmla="*/ 1 h 1354"/>
                <a:gd name="T68" fmla="*/ 293 w 1046"/>
                <a:gd name="T69" fmla="*/ 1 h 1354"/>
                <a:gd name="T70" fmla="*/ 293 w 1046"/>
                <a:gd name="T71" fmla="*/ 1 h 1354"/>
                <a:gd name="T72" fmla="*/ 288 w 1046"/>
                <a:gd name="T73" fmla="*/ 1 h 1354"/>
                <a:gd name="T74" fmla="*/ 80 w 1046"/>
                <a:gd name="T75" fmla="*/ 97 h 1354"/>
                <a:gd name="T76" fmla="*/ 507 w 1046"/>
                <a:gd name="T77" fmla="*/ 63 h 1354"/>
                <a:gd name="T78" fmla="*/ 407 w 1046"/>
                <a:gd name="T79" fmla="*/ 20 h 1354"/>
                <a:gd name="T80" fmla="*/ 407 w 1046"/>
                <a:gd name="T81" fmla="*/ 20 h 1354"/>
                <a:gd name="T82" fmla="*/ 507 w 1046"/>
                <a:gd name="T83" fmla="*/ 63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46" h="1354">
                  <a:moveTo>
                    <a:pt x="756" y="1354"/>
                  </a:moveTo>
                  <a:cubicBezTo>
                    <a:pt x="728" y="1354"/>
                    <a:pt x="699" y="1350"/>
                    <a:pt x="668" y="1343"/>
                  </a:cubicBezTo>
                  <a:lnTo>
                    <a:pt x="668" y="1343"/>
                  </a:lnTo>
                  <a:cubicBezTo>
                    <a:pt x="699" y="1350"/>
                    <a:pt x="728" y="1354"/>
                    <a:pt x="756" y="1354"/>
                  </a:cubicBezTo>
                  <a:cubicBezTo>
                    <a:pt x="928" y="1354"/>
                    <a:pt x="1046" y="1217"/>
                    <a:pt x="1046" y="980"/>
                  </a:cubicBezTo>
                  <a:lnTo>
                    <a:pt x="1046" y="980"/>
                  </a:lnTo>
                  <a:cubicBezTo>
                    <a:pt x="1046" y="1217"/>
                    <a:pt x="928" y="1354"/>
                    <a:pt x="756" y="1354"/>
                  </a:cubicBezTo>
                  <a:moveTo>
                    <a:pt x="584" y="1313"/>
                  </a:moveTo>
                  <a:cubicBezTo>
                    <a:pt x="564" y="1305"/>
                    <a:pt x="545" y="1295"/>
                    <a:pt x="525" y="1284"/>
                  </a:cubicBezTo>
                  <a:cubicBezTo>
                    <a:pt x="545" y="1295"/>
                    <a:pt x="564" y="1305"/>
                    <a:pt x="584" y="1313"/>
                  </a:cubicBezTo>
                  <a:lnTo>
                    <a:pt x="584" y="1313"/>
                  </a:lnTo>
                  <a:close/>
                  <a:moveTo>
                    <a:pt x="457" y="1240"/>
                  </a:moveTo>
                  <a:cubicBezTo>
                    <a:pt x="407" y="1204"/>
                    <a:pt x="359" y="1161"/>
                    <a:pt x="315" y="1113"/>
                  </a:cubicBezTo>
                  <a:lnTo>
                    <a:pt x="315" y="1113"/>
                  </a:lnTo>
                  <a:cubicBezTo>
                    <a:pt x="359" y="1161"/>
                    <a:pt x="407" y="1204"/>
                    <a:pt x="457" y="1240"/>
                  </a:cubicBezTo>
                  <a:close/>
                  <a:moveTo>
                    <a:pt x="102" y="795"/>
                  </a:moveTo>
                  <a:cubicBezTo>
                    <a:pt x="45" y="675"/>
                    <a:pt x="9" y="548"/>
                    <a:pt x="0" y="428"/>
                  </a:cubicBezTo>
                  <a:lnTo>
                    <a:pt x="0" y="428"/>
                  </a:lnTo>
                  <a:cubicBezTo>
                    <a:pt x="5" y="493"/>
                    <a:pt x="18" y="561"/>
                    <a:pt x="38" y="628"/>
                  </a:cubicBezTo>
                  <a:lnTo>
                    <a:pt x="62" y="631"/>
                  </a:lnTo>
                  <a:lnTo>
                    <a:pt x="62" y="631"/>
                  </a:lnTo>
                  <a:lnTo>
                    <a:pt x="38" y="628"/>
                  </a:lnTo>
                  <a:cubicBezTo>
                    <a:pt x="54" y="685"/>
                    <a:pt x="76" y="741"/>
                    <a:pt x="102" y="795"/>
                  </a:cubicBezTo>
                  <a:lnTo>
                    <a:pt x="102" y="795"/>
                  </a:lnTo>
                  <a:moveTo>
                    <a:pt x="3" y="294"/>
                  </a:moveTo>
                  <a:cubicBezTo>
                    <a:pt x="6" y="270"/>
                    <a:pt x="11" y="248"/>
                    <a:pt x="16" y="227"/>
                  </a:cubicBezTo>
                  <a:lnTo>
                    <a:pt x="16" y="227"/>
                  </a:lnTo>
                  <a:cubicBezTo>
                    <a:pt x="11" y="248"/>
                    <a:pt x="6" y="270"/>
                    <a:pt x="3" y="294"/>
                  </a:cubicBezTo>
                  <a:lnTo>
                    <a:pt x="3" y="294"/>
                  </a:lnTo>
                  <a:close/>
                  <a:moveTo>
                    <a:pt x="80" y="97"/>
                  </a:moveTo>
                  <a:lnTo>
                    <a:pt x="80" y="97"/>
                  </a:lnTo>
                  <a:cubicBezTo>
                    <a:pt x="131" y="34"/>
                    <a:pt x="203" y="0"/>
                    <a:pt x="288" y="0"/>
                  </a:cubicBezTo>
                  <a:cubicBezTo>
                    <a:pt x="291" y="0"/>
                    <a:pt x="294" y="0"/>
                    <a:pt x="296" y="1"/>
                  </a:cubicBezTo>
                  <a:lnTo>
                    <a:pt x="296" y="1"/>
                  </a:lnTo>
                  <a:cubicBezTo>
                    <a:pt x="295" y="1"/>
                    <a:pt x="294" y="1"/>
                    <a:pt x="293" y="1"/>
                  </a:cubicBezTo>
                  <a:lnTo>
                    <a:pt x="293" y="1"/>
                  </a:lnTo>
                  <a:cubicBezTo>
                    <a:pt x="291" y="1"/>
                    <a:pt x="290" y="1"/>
                    <a:pt x="288" y="1"/>
                  </a:cubicBezTo>
                  <a:cubicBezTo>
                    <a:pt x="203" y="1"/>
                    <a:pt x="131" y="34"/>
                    <a:pt x="80" y="97"/>
                  </a:cubicBezTo>
                  <a:close/>
                  <a:moveTo>
                    <a:pt x="507" y="63"/>
                  </a:moveTo>
                  <a:cubicBezTo>
                    <a:pt x="473" y="45"/>
                    <a:pt x="439" y="31"/>
                    <a:pt x="407" y="20"/>
                  </a:cubicBezTo>
                  <a:lnTo>
                    <a:pt x="407" y="20"/>
                  </a:lnTo>
                  <a:cubicBezTo>
                    <a:pt x="439" y="31"/>
                    <a:pt x="473" y="45"/>
                    <a:pt x="507" y="63"/>
                  </a:cubicBez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598">
              <a:extLst>
                <a:ext uri="{FF2B5EF4-FFF2-40B4-BE49-F238E27FC236}">
                  <a16:creationId xmlns:a16="http://schemas.microsoft.com/office/drawing/2014/main" id="{37C1127A-28EC-4C97-ADF9-712425FA7281}"/>
                </a:ext>
              </a:extLst>
            </p:cNvPr>
            <p:cNvSpPr>
              <a:spLocks noEditPoints="1"/>
            </p:cNvSpPr>
            <p:nvPr/>
          </p:nvSpPr>
          <p:spPr bwMode="auto">
            <a:xfrm>
              <a:off x="7472363" y="3163888"/>
              <a:ext cx="241300" cy="515938"/>
            </a:xfrm>
            <a:custGeom>
              <a:avLst/>
              <a:gdLst>
                <a:gd name="T0" fmla="*/ 62 w 294"/>
                <a:gd name="T1" fmla="*/ 630 h 630"/>
                <a:gd name="T2" fmla="*/ 38 w 294"/>
                <a:gd name="T3" fmla="*/ 627 h 630"/>
                <a:gd name="T4" fmla="*/ 0 w 294"/>
                <a:gd name="T5" fmla="*/ 427 h 630"/>
                <a:gd name="T6" fmla="*/ 25 w 294"/>
                <a:gd name="T7" fmla="*/ 402 h 630"/>
                <a:gd name="T8" fmla="*/ 62 w 294"/>
                <a:gd name="T9" fmla="*/ 630 h 630"/>
                <a:gd name="T10" fmla="*/ 3 w 294"/>
                <a:gd name="T11" fmla="*/ 293 h 630"/>
                <a:gd name="T12" fmla="*/ 16 w 294"/>
                <a:gd name="T13" fmla="*/ 226 h 630"/>
                <a:gd name="T14" fmla="*/ 30 w 294"/>
                <a:gd name="T15" fmla="*/ 219 h 630"/>
                <a:gd name="T16" fmla="*/ 30 w 294"/>
                <a:gd name="T17" fmla="*/ 219 h 630"/>
                <a:gd name="T18" fmla="*/ 44 w 294"/>
                <a:gd name="T19" fmla="*/ 209 h 630"/>
                <a:gd name="T20" fmla="*/ 53 w 294"/>
                <a:gd name="T21" fmla="*/ 214 h 630"/>
                <a:gd name="T22" fmla="*/ 40 w 294"/>
                <a:gd name="T23" fmla="*/ 256 h 630"/>
                <a:gd name="T24" fmla="*/ 3 w 294"/>
                <a:gd name="T25" fmla="*/ 293 h 630"/>
                <a:gd name="T26" fmla="*/ 95 w 294"/>
                <a:gd name="T27" fmla="*/ 135 h 630"/>
                <a:gd name="T28" fmla="*/ 80 w 294"/>
                <a:gd name="T29" fmla="*/ 96 h 630"/>
                <a:gd name="T30" fmla="*/ 288 w 294"/>
                <a:gd name="T31" fmla="*/ 0 h 630"/>
                <a:gd name="T32" fmla="*/ 293 w 294"/>
                <a:gd name="T33" fmla="*/ 0 h 630"/>
                <a:gd name="T34" fmla="*/ 293 w 294"/>
                <a:gd name="T35" fmla="*/ 0 h 630"/>
                <a:gd name="T36" fmla="*/ 293 w 294"/>
                <a:gd name="T37" fmla="*/ 0 h 630"/>
                <a:gd name="T38" fmla="*/ 294 w 294"/>
                <a:gd name="T39" fmla="*/ 2 h 630"/>
                <a:gd name="T40" fmla="*/ 259 w 294"/>
                <a:gd name="T41" fmla="*/ 37 h 630"/>
                <a:gd name="T42" fmla="*/ 95 w 294"/>
                <a:gd name="T43" fmla="*/ 135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4" h="630">
                  <a:moveTo>
                    <a:pt x="62" y="630"/>
                  </a:moveTo>
                  <a:lnTo>
                    <a:pt x="38" y="627"/>
                  </a:lnTo>
                  <a:cubicBezTo>
                    <a:pt x="18" y="560"/>
                    <a:pt x="5" y="492"/>
                    <a:pt x="0" y="427"/>
                  </a:cubicBezTo>
                  <a:lnTo>
                    <a:pt x="25" y="402"/>
                  </a:lnTo>
                  <a:cubicBezTo>
                    <a:pt x="26" y="475"/>
                    <a:pt x="40" y="553"/>
                    <a:pt x="62" y="630"/>
                  </a:cubicBezTo>
                  <a:moveTo>
                    <a:pt x="3" y="293"/>
                  </a:moveTo>
                  <a:cubicBezTo>
                    <a:pt x="6" y="269"/>
                    <a:pt x="11" y="247"/>
                    <a:pt x="16" y="226"/>
                  </a:cubicBezTo>
                  <a:lnTo>
                    <a:pt x="30" y="219"/>
                  </a:lnTo>
                  <a:lnTo>
                    <a:pt x="30" y="219"/>
                  </a:lnTo>
                  <a:cubicBezTo>
                    <a:pt x="36" y="218"/>
                    <a:pt x="42" y="213"/>
                    <a:pt x="44" y="209"/>
                  </a:cubicBezTo>
                  <a:lnTo>
                    <a:pt x="53" y="214"/>
                  </a:lnTo>
                  <a:cubicBezTo>
                    <a:pt x="48" y="227"/>
                    <a:pt x="44" y="241"/>
                    <a:pt x="40" y="256"/>
                  </a:cubicBezTo>
                  <a:cubicBezTo>
                    <a:pt x="28" y="268"/>
                    <a:pt x="15" y="281"/>
                    <a:pt x="3" y="293"/>
                  </a:cubicBezTo>
                  <a:moveTo>
                    <a:pt x="95" y="135"/>
                  </a:moveTo>
                  <a:lnTo>
                    <a:pt x="80" y="96"/>
                  </a:lnTo>
                  <a:cubicBezTo>
                    <a:pt x="131" y="33"/>
                    <a:pt x="203" y="0"/>
                    <a:pt x="288" y="0"/>
                  </a:cubicBezTo>
                  <a:cubicBezTo>
                    <a:pt x="290" y="0"/>
                    <a:pt x="291" y="0"/>
                    <a:pt x="293" y="0"/>
                  </a:cubicBezTo>
                  <a:lnTo>
                    <a:pt x="293" y="0"/>
                  </a:lnTo>
                  <a:lnTo>
                    <a:pt x="293" y="0"/>
                  </a:lnTo>
                  <a:lnTo>
                    <a:pt x="294" y="2"/>
                  </a:lnTo>
                  <a:cubicBezTo>
                    <a:pt x="282" y="14"/>
                    <a:pt x="271" y="25"/>
                    <a:pt x="259" y="37"/>
                  </a:cubicBezTo>
                  <a:cubicBezTo>
                    <a:pt x="192" y="47"/>
                    <a:pt x="136" y="80"/>
                    <a:pt x="95" y="135"/>
                  </a:cubicBezTo>
                  <a:close/>
                </a:path>
              </a:pathLst>
            </a:custGeom>
            <a:solidFill>
              <a:srgbClr val="7CA3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599">
              <a:extLst>
                <a:ext uri="{FF2B5EF4-FFF2-40B4-BE49-F238E27FC236}">
                  <a16:creationId xmlns:a16="http://schemas.microsoft.com/office/drawing/2014/main" id="{211EDE38-8AD9-4AC9-ACD8-1DE595399DEA}"/>
                </a:ext>
              </a:extLst>
            </p:cNvPr>
            <p:cNvSpPr>
              <a:spLocks noEditPoints="1"/>
            </p:cNvSpPr>
            <p:nvPr/>
          </p:nvSpPr>
          <p:spPr bwMode="auto">
            <a:xfrm>
              <a:off x="7888288" y="3214688"/>
              <a:ext cx="441325" cy="750888"/>
            </a:xfrm>
            <a:custGeom>
              <a:avLst/>
              <a:gdLst>
                <a:gd name="T0" fmla="*/ 539 w 539"/>
                <a:gd name="T1" fmla="*/ 916 h 917"/>
                <a:gd name="T2" fmla="*/ 539 w 539"/>
                <a:gd name="T3" fmla="*/ 915 h 917"/>
                <a:gd name="T4" fmla="*/ 539 w 539"/>
                <a:gd name="T5" fmla="*/ 915 h 917"/>
                <a:gd name="T6" fmla="*/ 539 w 539"/>
                <a:gd name="T7" fmla="*/ 913 h 917"/>
                <a:gd name="T8" fmla="*/ 539 w 539"/>
                <a:gd name="T9" fmla="*/ 913 h 917"/>
                <a:gd name="T10" fmla="*/ 539 w 539"/>
                <a:gd name="T11" fmla="*/ 913 h 917"/>
                <a:gd name="T12" fmla="*/ 539 w 539"/>
                <a:gd name="T13" fmla="*/ 911 h 917"/>
                <a:gd name="T14" fmla="*/ 539 w 539"/>
                <a:gd name="T15" fmla="*/ 911 h 917"/>
                <a:gd name="T16" fmla="*/ 539 w 539"/>
                <a:gd name="T17" fmla="*/ 902 h 917"/>
                <a:gd name="T18" fmla="*/ 530 w 539"/>
                <a:gd name="T19" fmla="*/ 797 h 917"/>
                <a:gd name="T20" fmla="*/ 462 w 539"/>
                <a:gd name="T21" fmla="*/ 619 h 917"/>
                <a:gd name="T22" fmla="*/ 486 w 539"/>
                <a:gd name="T23" fmla="*/ 619 h 917"/>
                <a:gd name="T24" fmla="*/ 411 w 539"/>
                <a:gd name="T25" fmla="*/ 446 h 917"/>
                <a:gd name="T26" fmla="*/ 530 w 539"/>
                <a:gd name="T27" fmla="*/ 797 h 917"/>
                <a:gd name="T28" fmla="*/ 20 w 539"/>
                <a:gd name="T29" fmla="*/ 12 h 917"/>
                <a:gd name="T30" fmla="*/ 186 w 539"/>
                <a:gd name="T31" fmla="*/ 141 h 917"/>
                <a:gd name="T32" fmla="*/ 19 w 539"/>
                <a:gd name="T33" fmla="*/ 11 h 917"/>
                <a:gd name="T34" fmla="*/ 19 w 539"/>
                <a:gd name="T35" fmla="*/ 11 h 917"/>
                <a:gd name="T36" fmla="*/ 19 w 539"/>
                <a:gd name="T37" fmla="*/ 11 h 917"/>
                <a:gd name="T38" fmla="*/ 16 w 539"/>
                <a:gd name="T39" fmla="*/ 10 h 917"/>
                <a:gd name="T40" fmla="*/ 16 w 539"/>
                <a:gd name="T41" fmla="*/ 10 h 917"/>
                <a:gd name="T42" fmla="*/ 16 w 539"/>
                <a:gd name="T43" fmla="*/ 10 h 917"/>
                <a:gd name="T44" fmla="*/ 14 w 539"/>
                <a:gd name="T45" fmla="*/ 8 h 917"/>
                <a:gd name="T46" fmla="*/ 13 w 539"/>
                <a:gd name="T47" fmla="*/ 8 h 917"/>
                <a:gd name="T48" fmla="*/ 13 w 539"/>
                <a:gd name="T49" fmla="*/ 8 h 917"/>
                <a:gd name="T50" fmla="*/ 12 w 539"/>
                <a:gd name="T51" fmla="*/ 7 h 917"/>
                <a:gd name="T52" fmla="*/ 11 w 539"/>
                <a:gd name="T53" fmla="*/ 7 h 917"/>
                <a:gd name="T54" fmla="*/ 11 w 539"/>
                <a:gd name="T55" fmla="*/ 7 h 917"/>
                <a:gd name="T56" fmla="*/ 10 w 539"/>
                <a:gd name="T57" fmla="*/ 6 h 917"/>
                <a:gd name="T58" fmla="*/ 9 w 539"/>
                <a:gd name="T59" fmla="*/ 6 h 917"/>
                <a:gd name="T60" fmla="*/ 9 w 539"/>
                <a:gd name="T61" fmla="*/ 6 h 917"/>
                <a:gd name="T62" fmla="*/ 8 w 539"/>
                <a:gd name="T63" fmla="*/ 5 h 917"/>
                <a:gd name="T64" fmla="*/ 7 w 539"/>
                <a:gd name="T65" fmla="*/ 5 h 917"/>
                <a:gd name="T66" fmla="*/ 7 w 539"/>
                <a:gd name="T67" fmla="*/ 5 h 917"/>
                <a:gd name="T68" fmla="*/ 6 w 539"/>
                <a:gd name="T69" fmla="*/ 4 h 917"/>
                <a:gd name="T70" fmla="*/ 5 w 539"/>
                <a:gd name="T71" fmla="*/ 4 h 917"/>
                <a:gd name="T72" fmla="*/ 5 w 539"/>
                <a:gd name="T73" fmla="*/ 4 h 917"/>
                <a:gd name="T74" fmla="*/ 4 w 539"/>
                <a:gd name="T75" fmla="*/ 3 h 917"/>
                <a:gd name="T76" fmla="*/ 4 w 539"/>
                <a:gd name="T77" fmla="*/ 2 h 917"/>
                <a:gd name="T78" fmla="*/ 4 w 539"/>
                <a:gd name="T79" fmla="*/ 2 h 917"/>
                <a:gd name="T80" fmla="*/ 2 w 539"/>
                <a:gd name="T81" fmla="*/ 2 h 917"/>
                <a:gd name="T82" fmla="*/ 2 w 539"/>
                <a:gd name="T83" fmla="*/ 1 h 917"/>
                <a:gd name="T84" fmla="*/ 2 w 539"/>
                <a:gd name="T85" fmla="*/ 1 h 917"/>
                <a:gd name="T86" fmla="*/ 0 w 539"/>
                <a:gd name="T87" fmla="*/ 0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9" h="917">
                  <a:moveTo>
                    <a:pt x="539" y="917"/>
                  </a:moveTo>
                  <a:lnTo>
                    <a:pt x="539" y="916"/>
                  </a:lnTo>
                  <a:lnTo>
                    <a:pt x="539" y="917"/>
                  </a:lnTo>
                  <a:close/>
                  <a:moveTo>
                    <a:pt x="539" y="915"/>
                  </a:moveTo>
                  <a:lnTo>
                    <a:pt x="539" y="914"/>
                  </a:lnTo>
                  <a:lnTo>
                    <a:pt x="539" y="915"/>
                  </a:lnTo>
                  <a:close/>
                  <a:moveTo>
                    <a:pt x="539" y="914"/>
                  </a:moveTo>
                  <a:cubicBezTo>
                    <a:pt x="539" y="914"/>
                    <a:pt x="539" y="914"/>
                    <a:pt x="539" y="913"/>
                  </a:cubicBezTo>
                  <a:cubicBezTo>
                    <a:pt x="539" y="914"/>
                    <a:pt x="539" y="914"/>
                    <a:pt x="539" y="914"/>
                  </a:cubicBezTo>
                  <a:close/>
                  <a:moveTo>
                    <a:pt x="539" y="913"/>
                  </a:moveTo>
                  <a:lnTo>
                    <a:pt x="539" y="912"/>
                  </a:lnTo>
                  <a:lnTo>
                    <a:pt x="539" y="913"/>
                  </a:lnTo>
                  <a:close/>
                  <a:moveTo>
                    <a:pt x="539" y="912"/>
                  </a:moveTo>
                  <a:lnTo>
                    <a:pt x="539" y="911"/>
                  </a:lnTo>
                  <a:lnTo>
                    <a:pt x="539" y="912"/>
                  </a:lnTo>
                  <a:close/>
                  <a:moveTo>
                    <a:pt x="539" y="911"/>
                  </a:moveTo>
                  <a:cubicBezTo>
                    <a:pt x="539" y="908"/>
                    <a:pt x="539" y="905"/>
                    <a:pt x="539" y="902"/>
                  </a:cubicBezTo>
                  <a:lnTo>
                    <a:pt x="539" y="902"/>
                  </a:lnTo>
                  <a:cubicBezTo>
                    <a:pt x="539" y="905"/>
                    <a:pt x="539" y="908"/>
                    <a:pt x="539" y="911"/>
                  </a:cubicBezTo>
                  <a:close/>
                  <a:moveTo>
                    <a:pt x="530" y="797"/>
                  </a:moveTo>
                  <a:cubicBezTo>
                    <a:pt x="521" y="738"/>
                    <a:pt x="506" y="679"/>
                    <a:pt x="486" y="619"/>
                  </a:cubicBezTo>
                  <a:lnTo>
                    <a:pt x="462" y="619"/>
                  </a:lnTo>
                  <a:lnTo>
                    <a:pt x="462" y="619"/>
                  </a:lnTo>
                  <a:lnTo>
                    <a:pt x="486" y="619"/>
                  </a:lnTo>
                  <a:cubicBezTo>
                    <a:pt x="466" y="561"/>
                    <a:pt x="441" y="503"/>
                    <a:pt x="411" y="447"/>
                  </a:cubicBezTo>
                  <a:lnTo>
                    <a:pt x="411" y="446"/>
                  </a:lnTo>
                  <a:cubicBezTo>
                    <a:pt x="470" y="560"/>
                    <a:pt x="512" y="680"/>
                    <a:pt x="530" y="797"/>
                  </a:cubicBezTo>
                  <a:lnTo>
                    <a:pt x="530" y="797"/>
                  </a:lnTo>
                  <a:close/>
                  <a:moveTo>
                    <a:pt x="186" y="141"/>
                  </a:moveTo>
                  <a:cubicBezTo>
                    <a:pt x="134" y="90"/>
                    <a:pt x="78" y="46"/>
                    <a:pt x="20" y="12"/>
                  </a:cubicBezTo>
                  <a:cubicBezTo>
                    <a:pt x="78" y="46"/>
                    <a:pt x="134" y="90"/>
                    <a:pt x="186" y="141"/>
                  </a:cubicBezTo>
                  <a:cubicBezTo>
                    <a:pt x="186" y="141"/>
                    <a:pt x="186" y="141"/>
                    <a:pt x="186" y="141"/>
                  </a:cubicBezTo>
                  <a:close/>
                  <a:moveTo>
                    <a:pt x="20" y="12"/>
                  </a:moveTo>
                  <a:cubicBezTo>
                    <a:pt x="20" y="12"/>
                    <a:pt x="19" y="11"/>
                    <a:pt x="19" y="11"/>
                  </a:cubicBezTo>
                  <a:cubicBezTo>
                    <a:pt x="19" y="11"/>
                    <a:pt x="20" y="12"/>
                    <a:pt x="20" y="12"/>
                  </a:cubicBezTo>
                  <a:close/>
                  <a:moveTo>
                    <a:pt x="19" y="11"/>
                  </a:moveTo>
                  <a:cubicBezTo>
                    <a:pt x="18" y="11"/>
                    <a:pt x="18" y="11"/>
                    <a:pt x="18" y="10"/>
                  </a:cubicBezTo>
                  <a:cubicBezTo>
                    <a:pt x="18" y="11"/>
                    <a:pt x="18" y="11"/>
                    <a:pt x="19" y="11"/>
                  </a:cubicBezTo>
                  <a:close/>
                  <a:moveTo>
                    <a:pt x="17" y="10"/>
                  </a:moveTo>
                  <a:cubicBezTo>
                    <a:pt x="17" y="10"/>
                    <a:pt x="17" y="10"/>
                    <a:pt x="16" y="10"/>
                  </a:cubicBezTo>
                  <a:cubicBezTo>
                    <a:pt x="17" y="10"/>
                    <a:pt x="17" y="10"/>
                    <a:pt x="17" y="10"/>
                  </a:cubicBezTo>
                  <a:close/>
                  <a:moveTo>
                    <a:pt x="16" y="10"/>
                  </a:moveTo>
                  <a:cubicBezTo>
                    <a:pt x="16" y="9"/>
                    <a:pt x="15" y="9"/>
                    <a:pt x="15" y="9"/>
                  </a:cubicBezTo>
                  <a:cubicBezTo>
                    <a:pt x="15" y="9"/>
                    <a:pt x="16" y="9"/>
                    <a:pt x="16" y="10"/>
                  </a:cubicBezTo>
                  <a:close/>
                  <a:moveTo>
                    <a:pt x="14" y="8"/>
                  </a:moveTo>
                  <a:cubicBezTo>
                    <a:pt x="14" y="8"/>
                    <a:pt x="14" y="8"/>
                    <a:pt x="14" y="8"/>
                  </a:cubicBezTo>
                  <a:lnTo>
                    <a:pt x="14" y="8"/>
                  </a:lnTo>
                  <a:close/>
                  <a:moveTo>
                    <a:pt x="13" y="8"/>
                  </a:moveTo>
                  <a:cubicBezTo>
                    <a:pt x="13" y="8"/>
                    <a:pt x="13" y="8"/>
                    <a:pt x="13" y="8"/>
                  </a:cubicBezTo>
                  <a:cubicBezTo>
                    <a:pt x="13" y="8"/>
                    <a:pt x="13" y="8"/>
                    <a:pt x="13" y="8"/>
                  </a:cubicBezTo>
                  <a:close/>
                  <a:moveTo>
                    <a:pt x="12" y="7"/>
                  </a:moveTo>
                  <a:cubicBezTo>
                    <a:pt x="12" y="7"/>
                    <a:pt x="12" y="7"/>
                    <a:pt x="12" y="7"/>
                  </a:cubicBezTo>
                  <a:cubicBezTo>
                    <a:pt x="12" y="7"/>
                    <a:pt x="12" y="7"/>
                    <a:pt x="12" y="7"/>
                  </a:cubicBezTo>
                  <a:close/>
                  <a:moveTo>
                    <a:pt x="11" y="7"/>
                  </a:moveTo>
                  <a:lnTo>
                    <a:pt x="11" y="7"/>
                  </a:lnTo>
                  <a:lnTo>
                    <a:pt x="11" y="7"/>
                  </a:lnTo>
                  <a:close/>
                  <a:moveTo>
                    <a:pt x="10" y="6"/>
                  </a:moveTo>
                  <a:cubicBezTo>
                    <a:pt x="10" y="6"/>
                    <a:pt x="10" y="6"/>
                    <a:pt x="10" y="6"/>
                  </a:cubicBezTo>
                  <a:cubicBezTo>
                    <a:pt x="10" y="6"/>
                    <a:pt x="10" y="6"/>
                    <a:pt x="10" y="6"/>
                  </a:cubicBezTo>
                  <a:close/>
                  <a:moveTo>
                    <a:pt x="9" y="6"/>
                  </a:moveTo>
                  <a:cubicBezTo>
                    <a:pt x="9" y="6"/>
                    <a:pt x="9" y="6"/>
                    <a:pt x="9" y="6"/>
                  </a:cubicBezTo>
                  <a:cubicBezTo>
                    <a:pt x="9" y="6"/>
                    <a:pt x="9" y="6"/>
                    <a:pt x="9" y="6"/>
                  </a:cubicBezTo>
                  <a:close/>
                  <a:moveTo>
                    <a:pt x="8" y="5"/>
                  </a:moveTo>
                  <a:cubicBezTo>
                    <a:pt x="8" y="5"/>
                    <a:pt x="8" y="5"/>
                    <a:pt x="8" y="5"/>
                  </a:cubicBezTo>
                  <a:cubicBezTo>
                    <a:pt x="8" y="5"/>
                    <a:pt x="8" y="5"/>
                    <a:pt x="8" y="5"/>
                  </a:cubicBezTo>
                  <a:close/>
                  <a:moveTo>
                    <a:pt x="7" y="5"/>
                  </a:moveTo>
                  <a:cubicBezTo>
                    <a:pt x="7" y="5"/>
                    <a:pt x="7" y="4"/>
                    <a:pt x="7" y="4"/>
                  </a:cubicBezTo>
                  <a:cubicBezTo>
                    <a:pt x="7" y="4"/>
                    <a:pt x="7" y="4"/>
                    <a:pt x="7" y="5"/>
                  </a:cubicBezTo>
                  <a:close/>
                  <a:moveTo>
                    <a:pt x="6" y="4"/>
                  </a:moveTo>
                  <a:cubicBezTo>
                    <a:pt x="6" y="4"/>
                    <a:pt x="6" y="4"/>
                    <a:pt x="6" y="4"/>
                  </a:cubicBezTo>
                  <a:cubicBezTo>
                    <a:pt x="6" y="4"/>
                    <a:pt x="6" y="4"/>
                    <a:pt x="6" y="4"/>
                  </a:cubicBezTo>
                  <a:close/>
                  <a:moveTo>
                    <a:pt x="5" y="4"/>
                  </a:moveTo>
                  <a:cubicBezTo>
                    <a:pt x="5" y="3"/>
                    <a:pt x="5" y="3"/>
                    <a:pt x="5" y="3"/>
                  </a:cubicBezTo>
                  <a:cubicBezTo>
                    <a:pt x="5" y="3"/>
                    <a:pt x="5" y="3"/>
                    <a:pt x="5" y="4"/>
                  </a:cubicBezTo>
                  <a:close/>
                  <a:moveTo>
                    <a:pt x="4" y="3"/>
                  </a:moveTo>
                  <a:lnTo>
                    <a:pt x="4" y="3"/>
                  </a:lnTo>
                  <a:lnTo>
                    <a:pt x="4" y="3"/>
                  </a:lnTo>
                  <a:close/>
                  <a:moveTo>
                    <a:pt x="4" y="2"/>
                  </a:moveTo>
                  <a:cubicBezTo>
                    <a:pt x="3" y="2"/>
                    <a:pt x="3" y="2"/>
                    <a:pt x="3" y="2"/>
                  </a:cubicBezTo>
                  <a:cubicBezTo>
                    <a:pt x="3" y="2"/>
                    <a:pt x="3" y="2"/>
                    <a:pt x="4" y="2"/>
                  </a:cubicBezTo>
                  <a:close/>
                  <a:moveTo>
                    <a:pt x="3" y="2"/>
                  </a:moveTo>
                  <a:cubicBezTo>
                    <a:pt x="2" y="2"/>
                    <a:pt x="2" y="2"/>
                    <a:pt x="2" y="2"/>
                  </a:cubicBezTo>
                  <a:cubicBezTo>
                    <a:pt x="2" y="2"/>
                    <a:pt x="2" y="2"/>
                    <a:pt x="3" y="2"/>
                  </a:cubicBezTo>
                  <a:close/>
                  <a:moveTo>
                    <a:pt x="2" y="1"/>
                  </a:moveTo>
                  <a:cubicBezTo>
                    <a:pt x="1" y="1"/>
                    <a:pt x="1" y="1"/>
                    <a:pt x="1" y="1"/>
                  </a:cubicBezTo>
                  <a:cubicBezTo>
                    <a:pt x="1" y="1"/>
                    <a:pt x="1" y="1"/>
                    <a:pt x="2" y="1"/>
                  </a:cubicBezTo>
                  <a:close/>
                  <a:moveTo>
                    <a:pt x="1" y="1"/>
                  </a:moveTo>
                  <a:cubicBezTo>
                    <a:pt x="0" y="1"/>
                    <a:pt x="0" y="1"/>
                    <a:pt x="0" y="0"/>
                  </a:cubicBezTo>
                  <a:cubicBezTo>
                    <a:pt x="0" y="1"/>
                    <a:pt x="0" y="1"/>
                    <a:pt x="1" y="1"/>
                  </a:cubicBez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600">
              <a:extLst>
                <a:ext uri="{FF2B5EF4-FFF2-40B4-BE49-F238E27FC236}">
                  <a16:creationId xmlns:a16="http://schemas.microsoft.com/office/drawing/2014/main" id="{EDD653E0-CCB8-4EB0-AE23-D2733ACCA936}"/>
                </a:ext>
              </a:extLst>
            </p:cNvPr>
            <p:cNvSpPr>
              <a:spLocks noEditPoints="1"/>
            </p:cNvSpPr>
            <p:nvPr/>
          </p:nvSpPr>
          <p:spPr bwMode="auto">
            <a:xfrm>
              <a:off x="7712075" y="3163888"/>
              <a:ext cx="573088" cy="558800"/>
            </a:xfrm>
            <a:custGeom>
              <a:avLst/>
              <a:gdLst>
                <a:gd name="T0" fmla="*/ 700 w 700"/>
                <a:gd name="T1" fmla="*/ 681 h 681"/>
                <a:gd name="T2" fmla="*/ 676 w 700"/>
                <a:gd name="T3" fmla="*/ 681 h 681"/>
                <a:gd name="T4" fmla="*/ 609 w 700"/>
                <a:gd name="T5" fmla="*/ 525 h 681"/>
                <a:gd name="T6" fmla="*/ 625 w 700"/>
                <a:gd name="T7" fmla="*/ 509 h 681"/>
                <a:gd name="T8" fmla="*/ 700 w 700"/>
                <a:gd name="T9" fmla="*/ 681 h 681"/>
                <a:gd name="T10" fmla="*/ 384 w 700"/>
                <a:gd name="T11" fmla="*/ 219 h 681"/>
                <a:gd name="T12" fmla="*/ 229 w 700"/>
                <a:gd name="T13" fmla="*/ 102 h 681"/>
                <a:gd name="T14" fmla="*/ 89 w 700"/>
                <a:gd name="T15" fmla="*/ 44 h 681"/>
                <a:gd name="T16" fmla="*/ 114 w 700"/>
                <a:gd name="T17" fmla="*/ 19 h 681"/>
                <a:gd name="T18" fmla="*/ 214 w 700"/>
                <a:gd name="T19" fmla="*/ 62 h 681"/>
                <a:gd name="T20" fmla="*/ 214 w 700"/>
                <a:gd name="T21" fmla="*/ 62 h 681"/>
                <a:gd name="T22" fmla="*/ 215 w 700"/>
                <a:gd name="T23" fmla="*/ 63 h 681"/>
                <a:gd name="T24" fmla="*/ 215 w 700"/>
                <a:gd name="T25" fmla="*/ 63 h 681"/>
                <a:gd name="T26" fmla="*/ 216 w 700"/>
                <a:gd name="T27" fmla="*/ 63 h 681"/>
                <a:gd name="T28" fmla="*/ 216 w 700"/>
                <a:gd name="T29" fmla="*/ 64 h 681"/>
                <a:gd name="T30" fmla="*/ 217 w 700"/>
                <a:gd name="T31" fmla="*/ 64 h 681"/>
                <a:gd name="T32" fmla="*/ 217 w 700"/>
                <a:gd name="T33" fmla="*/ 64 h 681"/>
                <a:gd name="T34" fmla="*/ 218 w 700"/>
                <a:gd name="T35" fmla="*/ 64 h 681"/>
                <a:gd name="T36" fmla="*/ 218 w 700"/>
                <a:gd name="T37" fmla="*/ 65 h 681"/>
                <a:gd name="T38" fmla="*/ 218 w 700"/>
                <a:gd name="T39" fmla="*/ 65 h 681"/>
                <a:gd name="T40" fmla="*/ 219 w 700"/>
                <a:gd name="T41" fmla="*/ 65 h 681"/>
                <a:gd name="T42" fmla="*/ 219 w 700"/>
                <a:gd name="T43" fmla="*/ 66 h 681"/>
                <a:gd name="T44" fmla="*/ 220 w 700"/>
                <a:gd name="T45" fmla="*/ 66 h 681"/>
                <a:gd name="T46" fmla="*/ 220 w 700"/>
                <a:gd name="T47" fmla="*/ 66 h 681"/>
                <a:gd name="T48" fmla="*/ 221 w 700"/>
                <a:gd name="T49" fmla="*/ 66 h 681"/>
                <a:gd name="T50" fmla="*/ 221 w 700"/>
                <a:gd name="T51" fmla="*/ 67 h 681"/>
                <a:gd name="T52" fmla="*/ 222 w 700"/>
                <a:gd name="T53" fmla="*/ 67 h 681"/>
                <a:gd name="T54" fmla="*/ 222 w 700"/>
                <a:gd name="T55" fmla="*/ 67 h 681"/>
                <a:gd name="T56" fmla="*/ 223 w 700"/>
                <a:gd name="T57" fmla="*/ 68 h 681"/>
                <a:gd name="T58" fmla="*/ 223 w 700"/>
                <a:gd name="T59" fmla="*/ 68 h 681"/>
                <a:gd name="T60" fmla="*/ 224 w 700"/>
                <a:gd name="T61" fmla="*/ 68 h 681"/>
                <a:gd name="T62" fmla="*/ 224 w 700"/>
                <a:gd name="T63" fmla="*/ 68 h 681"/>
                <a:gd name="T64" fmla="*/ 225 w 700"/>
                <a:gd name="T65" fmla="*/ 69 h 681"/>
                <a:gd name="T66" fmla="*/ 225 w 700"/>
                <a:gd name="T67" fmla="*/ 69 h 681"/>
                <a:gd name="T68" fmla="*/ 226 w 700"/>
                <a:gd name="T69" fmla="*/ 69 h 681"/>
                <a:gd name="T70" fmla="*/ 226 w 700"/>
                <a:gd name="T71" fmla="*/ 69 h 681"/>
                <a:gd name="T72" fmla="*/ 227 w 700"/>
                <a:gd name="T73" fmla="*/ 70 h 681"/>
                <a:gd name="T74" fmla="*/ 227 w 700"/>
                <a:gd name="T75" fmla="*/ 70 h 681"/>
                <a:gd name="T76" fmla="*/ 228 w 700"/>
                <a:gd name="T77" fmla="*/ 70 h 681"/>
                <a:gd name="T78" fmla="*/ 228 w 700"/>
                <a:gd name="T79" fmla="*/ 70 h 681"/>
                <a:gd name="T80" fmla="*/ 229 w 700"/>
                <a:gd name="T81" fmla="*/ 71 h 681"/>
                <a:gd name="T82" fmla="*/ 229 w 700"/>
                <a:gd name="T83" fmla="*/ 71 h 681"/>
                <a:gd name="T84" fmla="*/ 230 w 700"/>
                <a:gd name="T85" fmla="*/ 72 h 681"/>
                <a:gd name="T86" fmla="*/ 230 w 700"/>
                <a:gd name="T87" fmla="*/ 72 h 681"/>
                <a:gd name="T88" fmla="*/ 231 w 700"/>
                <a:gd name="T89" fmla="*/ 72 h 681"/>
                <a:gd name="T90" fmla="*/ 232 w 700"/>
                <a:gd name="T91" fmla="*/ 72 h 681"/>
                <a:gd name="T92" fmla="*/ 233 w 700"/>
                <a:gd name="T93" fmla="*/ 73 h 681"/>
                <a:gd name="T94" fmla="*/ 233 w 700"/>
                <a:gd name="T95" fmla="*/ 73 h 681"/>
                <a:gd name="T96" fmla="*/ 234 w 700"/>
                <a:gd name="T97" fmla="*/ 74 h 681"/>
                <a:gd name="T98" fmla="*/ 234 w 700"/>
                <a:gd name="T99" fmla="*/ 74 h 681"/>
                <a:gd name="T100" fmla="*/ 400 w 700"/>
                <a:gd name="T101" fmla="*/ 203 h 681"/>
                <a:gd name="T102" fmla="*/ 384 w 700"/>
                <a:gd name="T103" fmla="*/ 219 h 681"/>
                <a:gd name="T104" fmla="*/ 1 w 700"/>
                <a:gd name="T105" fmla="*/ 2 h 681"/>
                <a:gd name="T106" fmla="*/ 0 w 700"/>
                <a:gd name="T107" fmla="*/ 0 h 681"/>
                <a:gd name="T108" fmla="*/ 0 w 700"/>
                <a:gd name="T109" fmla="*/ 0 h 681"/>
                <a:gd name="T110" fmla="*/ 3 w 700"/>
                <a:gd name="T111" fmla="*/ 0 h 681"/>
                <a:gd name="T112" fmla="*/ 1 w 700"/>
                <a:gd name="T113" fmla="*/ 2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0" h="681">
                  <a:moveTo>
                    <a:pt x="700" y="681"/>
                  </a:moveTo>
                  <a:lnTo>
                    <a:pt x="676" y="681"/>
                  </a:lnTo>
                  <a:cubicBezTo>
                    <a:pt x="658" y="628"/>
                    <a:pt x="635" y="576"/>
                    <a:pt x="609" y="525"/>
                  </a:cubicBezTo>
                  <a:lnTo>
                    <a:pt x="625" y="509"/>
                  </a:lnTo>
                  <a:cubicBezTo>
                    <a:pt x="655" y="565"/>
                    <a:pt x="680" y="623"/>
                    <a:pt x="700" y="681"/>
                  </a:cubicBezTo>
                  <a:moveTo>
                    <a:pt x="384" y="219"/>
                  </a:moveTo>
                  <a:cubicBezTo>
                    <a:pt x="335" y="173"/>
                    <a:pt x="283" y="133"/>
                    <a:pt x="229" y="102"/>
                  </a:cubicBezTo>
                  <a:cubicBezTo>
                    <a:pt x="181" y="74"/>
                    <a:pt x="134" y="55"/>
                    <a:pt x="89" y="44"/>
                  </a:cubicBezTo>
                  <a:lnTo>
                    <a:pt x="114" y="19"/>
                  </a:lnTo>
                  <a:cubicBezTo>
                    <a:pt x="146" y="30"/>
                    <a:pt x="180" y="44"/>
                    <a:pt x="214" y="62"/>
                  </a:cubicBezTo>
                  <a:lnTo>
                    <a:pt x="214" y="62"/>
                  </a:lnTo>
                  <a:cubicBezTo>
                    <a:pt x="214" y="63"/>
                    <a:pt x="214" y="63"/>
                    <a:pt x="215" y="63"/>
                  </a:cubicBezTo>
                  <a:cubicBezTo>
                    <a:pt x="215" y="63"/>
                    <a:pt x="215" y="63"/>
                    <a:pt x="215" y="63"/>
                  </a:cubicBezTo>
                  <a:cubicBezTo>
                    <a:pt x="215" y="63"/>
                    <a:pt x="215" y="63"/>
                    <a:pt x="216" y="63"/>
                  </a:cubicBezTo>
                  <a:cubicBezTo>
                    <a:pt x="216" y="63"/>
                    <a:pt x="216" y="63"/>
                    <a:pt x="216" y="64"/>
                  </a:cubicBezTo>
                  <a:cubicBezTo>
                    <a:pt x="216" y="64"/>
                    <a:pt x="216" y="64"/>
                    <a:pt x="217" y="64"/>
                  </a:cubicBezTo>
                  <a:cubicBezTo>
                    <a:pt x="217" y="64"/>
                    <a:pt x="217" y="64"/>
                    <a:pt x="217" y="64"/>
                  </a:cubicBezTo>
                  <a:cubicBezTo>
                    <a:pt x="217" y="64"/>
                    <a:pt x="217" y="64"/>
                    <a:pt x="218" y="64"/>
                  </a:cubicBezTo>
                  <a:cubicBezTo>
                    <a:pt x="218" y="65"/>
                    <a:pt x="218" y="65"/>
                    <a:pt x="218" y="65"/>
                  </a:cubicBezTo>
                  <a:lnTo>
                    <a:pt x="218" y="65"/>
                  </a:lnTo>
                  <a:cubicBezTo>
                    <a:pt x="219" y="65"/>
                    <a:pt x="219" y="65"/>
                    <a:pt x="219" y="65"/>
                  </a:cubicBezTo>
                  <a:cubicBezTo>
                    <a:pt x="219" y="65"/>
                    <a:pt x="219" y="65"/>
                    <a:pt x="219" y="66"/>
                  </a:cubicBezTo>
                  <a:cubicBezTo>
                    <a:pt x="220" y="66"/>
                    <a:pt x="220" y="66"/>
                    <a:pt x="220" y="66"/>
                  </a:cubicBezTo>
                  <a:cubicBezTo>
                    <a:pt x="220" y="66"/>
                    <a:pt x="220" y="66"/>
                    <a:pt x="220" y="66"/>
                  </a:cubicBezTo>
                  <a:cubicBezTo>
                    <a:pt x="221" y="66"/>
                    <a:pt x="221" y="66"/>
                    <a:pt x="221" y="66"/>
                  </a:cubicBezTo>
                  <a:cubicBezTo>
                    <a:pt x="221" y="66"/>
                    <a:pt x="221" y="67"/>
                    <a:pt x="221" y="67"/>
                  </a:cubicBezTo>
                  <a:cubicBezTo>
                    <a:pt x="222" y="67"/>
                    <a:pt x="222" y="67"/>
                    <a:pt x="222" y="67"/>
                  </a:cubicBezTo>
                  <a:cubicBezTo>
                    <a:pt x="222" y="67"/>
                    <a:pt x="222" y="67"/>
                    <a:pt x="222" y="67"/>
                  </a:cubicBezTo>
                  <a:cubicBezTo>
                    <a:pt x="223" y="67"/>
                    <a:pt x="223" y="67"/>
                    <a:pt x="223" y="68"/>
                  </a:cubicBezTo>
                  <a:cubicBezTo>
                    <a:pt x="223" y="68"/>
                    <a:pt x="223" y="68"/>
                    <a:pt x="223" y="68"/>
                  </a:cubicBezTo>
                  <a:cubicBezTo>
                    <a:pt x="224" y="68"/>
                    <a:pt x="224" y="68"/>
                    <a:pt x="224" y="68"/>
                  </a:cubicBezTo>
                  <a:cubicBezTo>
                    <a:pt x="224" y="68"/>
                    <a:pt x="224" y="68"/>
                    <a:pt x="224" y="68"/>
                  </a:cubicBezTo>
                  <a:cubicBezTo>
                    <a:pt x="225" y="68"/>
                    <a:pt x="225" y="69"/>
                    <a:pt x="225" y="69"/>
                  </a:cubicBezTo>
                  <a:lnTo>
                    <a:pt x="225" y="69"/>
                  </a:lnTo>
                  <a:cubicBezTo>
                    <a:pt x="225" y="69"/>
                    <a:pt x="226" y="69"/>
                    <a:pt x="226" y="69"/>
                  </a:cubicBezTo>
                  <a:cubicBezTo>
                    <a:pt x="226" y="69"/>
                    <a:pt x="226" y="69"/>
                    <a:pt x="226" y="69"/>
                  </a:cubicBezTo>
                  <a:cubicBezTo>
                    <a:pt x="226" y="69"/>
                    <a:pt x="227" y="70"/>
                    <a:pt x="227" y="70"/>
                  </a:cubicBezTo>
                  <a:cubicBezTo>
                    <a:pt x="227" y="70"/>
                    <a:pt x="227" y="70"/>
                    <a:pt x="227" y="70"/>
                  </a:cubicBezTo>
                  <a:cubicBezTo>
                    <a:pt x="227" y="70"/>
                    <a:pt x="228" y="70"/>
                    <a:pt x="228" y="70"/>
                  </a:cubicBezTo>
                  <a:cubicBezTo>
                    <a:pt x="228" y="70"/>
                    <a:pt x="228" y="70"/>
                    <a:pt x="228" y="70"/>
                  </a:cubicBezTo>
                  <a:cubicBezTo>
                    <a:pt x="228" y="71"/>
                    <a:pt x="229" y="71"/>
                    <a:pt x="229" y="71"/>
                  </a:cubicBezTo>
                  <a:lnTo>
                    <a:pt x="229" y="71"/>
                  </a:lnTo>
                  <a:cubicBezTo>
                    <a:pt x="229" y="71"/>
                    <a:pt x="230" y="71"/>
                    <a:pt x="230" y="72"/>
                  </a:cubicBezTo>
                  <a:cubicBezTo>
                    <a:pt x="230" y="72"/>
                    <a:pt x="230" y="72"/>
                    <a:pt x="230" y="72"/>
                  </a:cubicBezTo>
                  <a:cubicBezTo>
                    <a:pt x="231" y="72"/>
                    <a:pt x="231" y="72"/>
                    <a:pt x="231" y="72"/>
                  </a:cubicBezTo>
                  <a:cubicBezTo>
                    <a:pt x="231" y="72"/>
                    <a:pt x="232" y="72"/>
                    <a:pt x="232" y="72"/>
                  </a:cubicBezTo>
                  <a:cubicBezTo>
                    <a:pt x="232" y="73"/>
                    <a:pt x="232" y="73"/>
                    <a:pt x="233" y="73"/>
                  </a:cubicBezTo>
                  <a:cubicBezTo>
                    <a:pt x="233" y="73"/>
                    <a:pt x="233" y="73"/>
                    <a:pt x="233" y="73"/>
                  </a:cubicBezTo>
                  <a:cubicBezTo>
                    <a:pt x="233" y="73"/>
                    <a:pt x="234" y="74"/>
                    <a:pt x="234" y="74"/>
                  </a:cubicBezTo>
                  <a:cubicBezTo>
                    <a:pt x="234" y="74"/>
                    <a:pt x="234" y="74"/>
                    <a:pt x="234" y="74"/>
                  </a:cubicBezTo>
                  <a:cubicBezTo>
                    <a:pt x="292" y="108"/>
                    <a:pt x="348" y="152"/>
                    <a:pt x="400" y="203"/>
                  </a:cubicBezTo>
                  <a:cubicBezTo>
                    <a:pt x="395" y="208"/>
                    <a:pt x="389" y="214"/>
                    <a:pt x="384" y="219"/>
                  </a:cubicBezTo>
                  <a:moveTo>
                    <a:pt x="1" y="2"/>
                  </a:moveTo>
                  <a:lnTo>
                    <a:pt x="0" y="0"/>
                  </a:lnTo>
                  <a:lnTo>
                    <a:pt x="0" y="0"/>
                  </a:lnTo>
                  <a:cubicBezTo>
                    <a:pt x="1" y="0"/>
                    <a:pt x="2" y="0"/>
                    <a:pt x="3" y="0"/>
                  </a:cubicBezTo>
                  <a:lnTo>
                    <a:pt x="1" y="2"/>
                  </a:lnTo>
                  <a:close/>
                </a:path>
              </a:pathLst>
            </a:custGeom>
            <a:solidFill>
              <a:srgbClr val="B04B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601">
              <a:extLst>
                <a:ext uri="{FF2B5EF4-FFF2-40B4-BE49-F238E27FC236}">
                  <a16:creationId xmlns:a16="http://schemas.microsoft.com/office/drawing/2014/main" id="{F9FD1008-7864-45DA-9D1F-2E1303C9BF26}"/>
                </a:ext>
              </a:extLst>
            </p:cNvPr>
            <p:cNvSpPr>
              <a:spLocks noEditPoints="1"/>
            </p:cNvSpPr>
            <p:nvPr/>
          </p:nvSpPr>
          <p:spPr bwMode="auto">
            <a:xfrm>
              <a:off x="8020050" y="3722688"/>
              <a:ext cx="309563" cy="550863"/>
            </a:xfrm>
            <a:custGeom>
              <a:avLst/>
              <a:gdLst>
                <a:gd name="T0" fmla="*/ 88 w 378"/>
                <a:gd name="T1" fmla="*/ 672 h 672"/>
                <a:gd name="T2" fmla="*/ 0 w 378"/>
                <a:gd name="T3" fmla="*/ 661 h 672"/>
                <a:gd name="T4" fmla="*/ 28 w 378"/>
                <a:gd name="T5" fmla="*/ 633 h 672"/>
                <a:gd name="T6" fmla="*/ 76 w 378"/>
                <a:gd name="T7" fmla="*/ 637 h 672"/>
                <a:gd name="T8" fmla="*/ 351 w 378"/>
                <a:gd name="T9" fmla="*/ 310 h 672"/>
                <a:gd name="T10" fmla="*/ 378 w 378"/>
                <a:gd name="T11" fmla="*/ 283 h 672"/>
                <a:gd name="T12" fmla="*/ 378 w 378"/>
                <a:gd name="T13" fmla="*/ 292 h 672"/>
                <a:gd name="T14" fmla="*/ 378 w 378"/>
                <a:gd name="T15" fmla="*/ 292 h 672"/>
                <a:gd name="T16" fmla="*/ 378 w 378"/>
                <a:gd name="T17" fmla="*/ 293 h 672"/>
                <a:gd name="T18" fmla="*/ 378 w 378"/>
                <a:gd name="T19" fmla="*/ 293 h 672"/>
                <a:gd name="T20" fmla="*/ 378 w 378"/>
                <a:gd name="T21" fmla="*/ 294 h 672"/>
                <a:gd name="T22" fmla="*/ 378 w 378"/>
                <a:gd name="T23" fmla="*/ 294 h 672"/>
                <a:gd name="T24" fmla="*/ 378 w 378"/>
                <a:gd name="T25" fmla="*/ 295 h 672"/>
                <a:gd name="T26" fmla="*/ 378 w 378"/>
                <a:gd name="T27" fmla="*/ 295 h 672"/>
                <a:gd name="T28" fmla="*/ 378 w 378"/>
                <a:gd name="T29" fmla="*/ 296 h 672"/>
                <a:gd name="T30" fmla="*/ 378 w 378"/>
                <a:gd name="T31" fmla="*/ 297 h 672"/>
                <a:gd name="T32" fmla="*/ 378 w 378"/>
                <a:gd name="T33" fmla="*/ 298 h 672"/>
                <a:gd name="T34" fmla="*/ 378 w 378"/>
                <a:gd name="T35" fmla="*/ 298 h 672"/>
                <a:gd name="T36" fmla="*/ 88 w 378"/>
                <a:gd name="T37" fmla="*/ 672 h 672"/>
                <a:gd name="T38" fmla="*/ 347 w 378"/>
                <a:gd name="T39" fmla="*/ 200 h 672"/>
                <a:gd name="T40" fmla="*/ 301 w 378"/>
                <a:gd name="T41" fmla="*/ 0 h 672"/>
                <a:gd name="T42" fmla="*/ 325 w 378"/>
                <a:gd name="T43" fmla="*/ 0 h 672"/>
                <a:gd name="T44" fmla="*/ 369 w 378"/>
                <a:gd name="T45" fmla="*/ 178 h 672"/>
                <a:gd name="T46" fmla="*/ 347 w 378"/>
                <a:gd name="T47" fmla="*/ 20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8" h="672">
                  <a:moveTo>
                    <a:pt x="88" y="672"/>
                  </a:moveTo>
                  <a:cubicBezTo>
                    <a:pt x="60" y="672"/>
                    <a:pt x="31" y="668"/>
                    <a:pt x="0" y="661"/>
                  </a:cubicBezTo>
                  <a:lnTo>
                    <a:pt x="28" y="633"/>
                  </a:lnTo>
                  <a:cubicBezTo>
                    <a:pt x="44" y="636"/>
                    <a:pt x="60" y="637"/>
                    <a:pt x="76" y="637"/>
                  </a:cubicBezTo>
                  <a:cubicBezTo>
                    <a:pt x="232" y="637"/>
                    <a:pt x="342" y="518"/>
                    <a:pt x="351" y="310"/>
                  </a:cubicBezTo>
                  <a:lnTo>
                    <a:pt x="378" y="283"/>
                  </a:lnTo>
                  <a:cubicBezTo>
                    <a:pt x="378" y="286"/>
                    <a:pt x="378" y="289"/>
                    <a:pt x="378" y="292"/>
                  </a:cubicBezTo>
                  <a:lnTo>
                    <a:pt x="378" y="292"/>
                  </a:lnTo>
                  <a:lnTo>
                    <a:pt x="378" y="293"/>
                  </a:lnTo>
                  <a:lnTo>
                    <a:pt x="378" y="293"/>
                  </a:lnTo>
                  <a:lnTo>
                    <a:pt x="378" y="294"/>
                  </a:lnTo>
                  <a:lnTo>
                    <a:pt x="378" y="294"/>
                  </a:lnTo>
                  <a:cubicBezTo>
                    <a:pt x="378" y="295"/>
                    <a:pt x="378" y="295"/>
                    <a:pt x="378" y="295"/>
                  </a:cubicBezTo>
                  <a:lnTo>
                    <a:pt x="378" y="295"/>
                  </a:lnTo>
                  <a:lnTo>
                    <a:pt x="378" y="296"/>
                  </a:lnTo>
                  <a:lnTo>
                    <a:pt x="378" y="297"/>
                  </a:lnTo>
                  <a:lnTo>
                    <a:pt x="378" y="298"/>
                  </a:lnTo>
                  <a:lnTo>
                    <a:pt x="378" y="298"/>
                  </a:lnTo>
                  <a:cubicBezTo>
                    <a:pt x="378" y="535"/>
                    <a:pt x="260" y="672"/>
                    <a:pt x="88" y="672"/>
                  </a:cubicBezTo>
                  <a:moveTo>
                    <a:pt x="347" y="200"/>
                  </a:moveTo>
                  <a:cubicBezTo>
                    <a:pt x="339" y="135"/>
                    <a:pt x="323" y="67"/>
                    <a:pt x="301" y="0"/>
                  </a:cubicBezTo>
                  <a:lnTo>
                    <a:pt x="325" y="0"/>
                  </a:lnTo>
                  <a:cubicBezTo>
                    <a:pt x="345" y="60"/>
                    <a:pt x="360" y="119"/>
                    <a:pt x="369" y="178"/>
                  </a:cubicBezTo>
                  <a:lnTo>
                    <a:pt x="347" y="200"/>
                  </a:lnTo>
                  <a:close/>
                </a:path>
              </a:pathLst>
            </a:custGeom>
            <a:solidFill>
              <a:srgbClr val="D9AC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603">
              <a:extLst>
                <a:ext uri="{FF2B5EF4-FFF2-40B4-BE49-F238E27FC236}">
                  <a16:creationId xmlns:a16="http://schemas.microsoft.com/office/drawing/2014/main" id="{258BC81E-BE29-42A2-AEBE-590C63A4633B}"/>
                </a:ext>
              </a:extLst>
            </p:cNvPr>
            <p:cNvSpPr>
              <a:spLocks noEditPoints="1"/>
            </p:cNvSpPr>
            <p:nvPr/>
          </p:nvSpPr>
          <p:spPr bwMode="auto">
            <a:xfrm>
              <a:off x="7847013" y="4179888"/>
              <a:ext cx="52388" cy="34925"/>
            </a:xfrm>
            <a:custGeom>
              <a:avLst/>
              <a:gdLst>
                <a:gd name="T0" fmla="*/ 64 w 65"/>
                <a:gd name="T1" fmla="*/ 41 h 42"/>
                <a:gd name="T2" fmla="*/ 64 w 65"/>
                <a:gd name="T3" fmla="*/ 41 h 42"/>
                <a:gd name="T4" fmla="*/ 62 w 65"/>
                <a:gd name="T5" fmla="*/ 41 h 42"/>
                <a:gd name="T6" fmla="*/ 61 w 65"/>
                <a:gd name="T7" fmla="*/ 40 h 42"/>
                <a:gd name="T8" fmla="*/ 60 w 65"/>
                <a:gd name="T9" fmla="*/ 39 h 42"/>
                <a:gd name="T10" fmla="*/ 59 w 65"/>
                <a:gd name="T11" fmla="*/ 38 h 42"/>
                <a:gd name="T12" fmla="*/ 57 w 65"/>
                <a:gd name="T13" fmla="*/ 37 h 42"/>
                <a:gd name="T14" fmla="*/ 56 w 65"/>
                <a:gd name="T15" fmla="*/ 37 h 42"/>
                <a:gd name="T16" fmla="*/ 54 w 65"/>
                <a:gd name="T17" fmla="*/ 36 h 42"/>
                <a:gd name="T18" fmla="*/ 53 w 65"/>
                <a:gd name="T19" fmla="*/ 35 h 42"/>
                <a:gd name="T20" fmla="*/ 52 w 65"/>
                <a:gd name="T21" fmla="*/ 34 h 42"/>
                <a:gd name="T22" fmla="*/ 51 w 65"/>
                <a:gd name="T23" fmla="*/ 34 h 42"/>
                <a:gd name="T24" fmla="*/ 49 w 65"/>
                <a:gd name="T25" fmla="*/ 33 h 42"/>
                <a:gd name="T26" fmla="*/ 48 w 65"/>
                <a:gd name="T27" fmla="*/ 32 h 42"/>
                <a:gd name="T28" fmla="*/ 47 w 65"/>
                <a:gd name="T29" fmla="*/ 31 h 42"/>
                <a:gd name="T30" fmla="*/ 46 w 65"/>
                <a:gd name="T31" fmla="*/ 31 h 42"/>
                <a:gd name="T32" fmla="*/ 44 w 65"/>
                <a:gd name="T33" fmla="*/ 30 h 42"/>
                <a:gd name="T34" fmla="*/ 43 w 65"/>
                <a:gd name="T35" fmla="*/ 29 h 42"/>
                <a:gd name="T36" fmla="*/ 42 w 65"/>
                <a:gd name="T37" fmla="*/ 28 h 42"/>
                <a:gd name="T38" fmla="*/ 39 w 65"/>
                <a:gd name="T39" fmla="*/ 26 h 42"/>
                <a:gd name="T40" fmla="*/ 37 w 65"/>
                <a:gd name="T41" fmla="*/ 25 h 42"/>
                <a:gd name="T42" fmla="*/ 34 w 65"/>
                <a:gd name="T43" fmla="*/ 23 h 42"/>
                <a:gd name="T44" fmla="*/ 32 w 65"/>
                <a:gd name="T45" fmla="*/ 22 h 42"/>
                <a:gd name="T46" fmla="*/ 29 w 65"/>
                <a:gd name="T47" fmla="*/ 20 h 42"/>
                <a:gd name="T48" fmla="*/ 27 w 65"/>
                <a:gd name="T49" fmla="*/ 18 h 42"/>
                <a:gd name="T50" fmla="*/ 25 w 65"/>
                <a:gd name="T51" fmla="*/ 17 h 42"/>
                <a:gd name="T52" fmla="*/ 24 w 65"/>
                <a:gd name="T53" fmla="*/ 17 h 42"/>
                <a:gd name="T54" fmla="*/ 23 w 65"/>
                <a:gd name="T55" fmla="*/ 16 h 42"/>
                <a:gd name="T56" fmla="*/ 22 w 65"/>
                <a:gd name="T57" fmla="*/ 15 h 42"/>
                <a:gd name="T58" fmla="*/ 20 w 65"/>
                <a:gd name="T59" fmla="*/ 14 h 42"/>
                <a:gd name="T60" fmla="*/ 19 w 65"/>
                <a:gd name="T61" fmla="*/ 13 h 42"/>
                <a:gd name="T62" fmla="*/ 18 w 65"/>
                <a:gd name="T63" fmla="*/ 12 h 42"/>
                <a:gd name="T64" fmla="*/ 17 w 65"/>
                <a:gd name="T65" fmla="*/ 12 h 42"/>
                <a:gd name="T66" fmla="*/ 15 w 65"/>
                <a:gd name="T67" fmla="*/ 11 h 42"/>
                <a:gd name="T68" fmla="*/ 14 w 65"/>
                <a:gd name="T69" fmla="*/ 10 h 42"/>
                <a:gd name="T70" fmla="*/ 13 w 65"/>
                <a:gd name="T71" fmla="*/ 9 h 42"/>
                <a:gd name="T72" fmla="*/ 12 w 65"/>
                <a:gd name="T73" fmla="*/ 8 h 42"/>
                <a:gd name="T74" fmla="*/ 11 w 65"/>
                <a:gd name="T75" fmla="*/ 7 h 42"/>
                <a:gd name="T76" fmla="*/ 9 w 65"/>
                <a:gd name="T77" fmla="*/ 7 h 42"/>
                <a:gd name="T78" fmla="*/ 8 w 65"/>
                <a:gd name="T79" fmla="*/ 6 h 42"/>
                <a:gd name="T80" fmla="*/ 7 w 65"/>
                <a:gd name="T81" fmla="*/ 5 h 42"/>
                <a:gd name="T82" fmla="*/ 6 w 65"/>
                <a:gd name="T83" fmla="*/ 4 h 42"/>
                <a:gd name="T84" fmla="*/ 4 w 65"/>
                <a:gd name="T85" fmla="*/ 3 h 42"/>
                <a:gd name="T86" fmla="*/ 2 w 65"/>
                <a:gd name="T87"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42">
                  <a:moveTo>
                    <a:pt x="65" y="42"/>
                  </a:moveTo>
                  <a:lnTo>
                    <a:pt x="65" y="42"/>
                  </a:lnTo>
                  <a:cubicBezTo>
                    <a:pt x="65" y="42"/>
                    <a:pt x="64" y="42"/>
                    <a:pt x="64" y="41"/>
                  </a:cubicBezTo>
                  <a:cubicBezTo>
                    <a:pt x="64" y="42"/>
                    <a:pt x="65" y="42"/>
                    <a:pt x="65" y="42"/>
                  </a:cubicBezTo>
                  <a:lnTo>
                    <a:pt x="65" y="42"/>
                  </a:lnTo>
                  <a:close/>
                  <a:moveTo>
                    <a:pt x="64" y="41"/>
                  </a:moveTo>
                  <a:cubicBezTo>
                    <a:pt x="63" y="41"/>
                    <a:pt x="63" y="41"/>
                    <a:pt x="63" y="41"/>
                  </a:cubicBezTo>
                  <a:cubicBezTo>
                    <a:pt x="63" y="41"/>
                    <a:pt x="63" y="41"/>
                    <a:pt x="64" y="41"/>
                  </a:cubicBezTo>
                  <a:close/>
                  <a:moveTo>
                    <a:pt x="62" y="41"/>
                  </a:moveTo>
                  <a:cubicBezTo>
                    <a:pt x="62" y="40"/>
                    <a:pt x="62" y="40"/>
                    <a:pt x="61" y="40"/>
                  </a:cubicBezTo>
                  <a:cubicBezTo>
                    <a:pt x="62" y="40"/>
                    <a:pt x="62" y="40"/>
                    <a:pt x="62" y="41"/>
                  </a:cubicBezTo>
                  <a:close/>
                  <a:moveTo>
                    <a:pt x="61" y="40"/>
                  </a:moveTo>
                  <a:cubicBezTo>
                    <a:pt x="61" y="40"/>
                    <a:pt x="60" y="39"/>
                    <a:pt x="60" y="39"/>
                  </a:cubicBezTo>
                  <a:cubicBezTo>
                    <a:pt x="60" y="39"/>
                    <a:pt x="61" y="40"/>
                    <a:pt x="61" y="40"/>
                  </a:cubicBezTo>
                  <a:close/>
                  <a:moveTo>
                    <a:pt x="60" y="39"/>
                  </a:moveTo>
                  <a:cubicBezTo>
                    <a:pt x="59" y="39"/>
                    <a:pt x="59" y="39"/>
                    <a:pt x="59" y="39"/>
                  </a:cubicBezTo>
                  <a:cubicBezTo>
                    <a:pt x="59" y="39"/>
                    <a:pt x="59" y="39"/>
                    <a:pt x="60" y="39"/>
                  </a:cubicBezTo>
                  <a:close/>
                  <a:moveTo>
                    <a:pt x="59" y="38"/>
                  </a:moveTo>
                  <a:cubicBezTo>
                    <a:pt x="58" y="38"/>
                    <a:pt x="58" y="38"/>
                    <a:pt x="58" y="38"/>
                  </a:cubicBezTo>
                  <a:cubicBezTo>
                    <a:pt x="58" y="38"/>
                    <a:pt x="58" y="38"/>
                    <a:pt x="59" y="38"/>
                  </a:cubicBezTo>
                  <a:close/>
                  <a:moveTo>
                    <a:pt x="57" y="37"/>
                  </a:moveTo>
                  <a:cubicBezTo>
                    <a:pt x="57" y="37"/>
                    <a:pt x="57" y="37"/>
                    <a:pt x="56" y="37"/>
                  </a:cubicBezTo>
                  <a:cubicBezTo>
                    <a:pt x="57" y="37"/>
                    <a:pt x="57" y="37"/>
                    <a:pt x="57" y="37"/>
                  </a:cubicBezTo>
                  <a:close/>
                  <a:moveTo>
                    <a:pt x="56" y="37"/>
                  </a:moveTo>
                  <a:cubicBezTo>
                    <a:pt x="56" y="37"/>
                    <a:pt x="55" y="36"/>
                    <a:pt x="55" y="36"/>
                  </a:cubicBezTo>
                  <a:cubicBezTo>
                    <a:pt x="55" y="36"/>
                    <a:pt x="56" y="37"/>
                    <a:pt x="56" y="37"/>
                  </a:cubicBezTo>
                  <a:close/>
                  <a:moveTo>
                    <a:pt x="54" y="36"/>
                  </a:moveTo>
                  <a:cubicBezTo>
                    <a:pt x="54" y="36"/>
                    <a:pt x="54" y="36"/>
                    <a:pt x="54" y="36"/>
                  </a:cubicBezTo>
                  <a:cubicBezTo>
                    <a:pt x="54" y="36"/>
                    <a:pt x="54" y="36"/>
                    <a:pt x="54" y="36"/>
                  </a:cubicBezTo>
                  <a:close/>
                  <a:moveTo>
                    <a:pt x="53" y="35"/>
                  </a:moveTo>
                  <a:cubicBezTo>
                    <a:pt x="53" y="35"/>
                    <a:pt x="53" y="35"/>
                    <a:pt x="53" y="35"/>
                  </a:cubicBezTo>
                  <a:cubicBezTo>
                    <a:pt x="53" y="35"/>
                    <a:pt x="53" y="35"/>
                    <a:pt x="53" y="35"/>
                  </a:cubicBezTo>
                  <a:close/>
                  <a:moveTo>
                    <a:pt x="52" y="34"/>
                  </a:moveTo>
                  <a:cubicBezTo>
                    <a:pt x="52" y="34"/>
                    <a:pt x="52" y="34"/>
                    <a:pt x="51" y="34"/>
                  </a:cubicBezTo>
                  <a:cubicBezTo>
                    <a:pt x="52" y="34"/>
                    <a:pt x="52" y="34"/>
                    <a:pt x="52" y="34"/>
                  </a:cubicBezTo>
                  <a:close/>
                  <a:moveTo>
                    <a:pt x="51" y="34"/>
                  </a:moveTo>
                  <a:cubicBezTo>
                    <a:pt x="51" y="34"/>
                    <a:pt x="50" y="33"/>
                    <a:pt x="50" y="33"/>
                  </a:cubicBezTo>
                  <a:cubicBezTo>
                    <a:pt x="50" y="33"/>
                    <a:pt x="51" y="34"/>
                    <a:pt x="51" y="34"/>
                  </a:cubicBezTo>
                  <a:close/>
                  <a:moveTo>
                    <a:pt x="49" y="33"/>
                  </a:moveTo>
                  <a:cubicBezTo>
                    <a:pt x="49" y="33"/>
                    <a:pt x="49" y="33"/>
                    <a:pt x="49" y="32"/>
                  </a:cubicBezTo>
                  <a:cubicBezTo>
                    <a:pt x="49" y="33"/>
                    <a:pt x="49" y="33"/>
                    <a:pt x="49" y="33"/>
                  </a:cubicBezTo>
                  <a:close/>
                  <a:moveTo>
                    <a:pt x="48" y="32"/>
                  </a:moveTo>
                  <a:cubicBezTo>
                    <a:pt x="48" y="32"/>
                    <a:pt x="48" y="32"/>
                    <a:pt x="48" y="32"/>
                  </a:cubicBezTo>
                  <a:cubicBezTo>
                    <a:pt x="48" y="32"/>
                    <a:pt x="48" y="32"/>
                    <a:pt x="48" y="32"/>
                  </a:cubicBezTo>
                  <a:close/>
                  <a:moveTo>
                    <a:pt x="47" y="31"/>
                  </a:moveTo>
                  <a:cubicBezTo>
                    <a:pt x="47" y="31"/>
                    <a:pt x="47" y="31"/>
                    <a:pt x="46" y="31"/>
                  </a:cubicBezTo>
                  <a:lnTo>
                    <a:pt x="47" y="31"/>
                  </a:lnTo>
                  <a:close/>
                  <a:moveTo>
                    <a:pt x="46" y="31"/>
                  </a:moveTo>
                  <a:cubicBezTo>
                    <a:pt x="46" y="30"/>
                    <a:pt x="46" y="30"/>
                    <a:pt x="45" y="30"/>
                  </a:cubicBezTo>
                  <a:cubicBezTo>
                    <a:pt x="46" y="30"/>
                    <a:pt x="46" y="30"/>
                    <a:pt x="46" y="31"/>
                  </a:cubicBezTo>
                  <a:close/>
                  <a:moveTo>
                    <a:pt x="44" y="30"/>
                  </a:moveTo>
                  <a:cubicBezTo>
                    <a:pt x="44" y="30"/>
                    <a:pt x="44" y="29"/>
                    <a:pt x="44" y="29"/>
                  </a:cubicBezTo>
                  <a:cubicBezTo>
                    <a:pt x="44" y="29"/>
                    <a:pt x="44" y="30"/>
                    <a:pt x="44" y="30"/>
                  </a:cubicBezTo>
                  <a:close/>
                  <a:moveTo>
                    <a:pt x="43" y="29"/>
                  </a:moveTo>
                  <a:lnTo>
                    <a:pt x="43" y="29"/>
                  </a:lnTo>
                  <a:lnTo>
                    <a:pt x="43" y="29"/>
                  </a:lnTo>
                  <a:close/>
                  <a:moveTo>
                    <a:pt x="42" y="28"/>
                  </a:moveTo>
                  <a:cubicBezTo>
                    <a:pt x="42" y="28"/>
                    <a:pt x="41" y="28"/>
                    <a:pt x="41" y="28"/>
                  </a:cubicBezTo>
                  <a:cubicBezTo>
                    <a:pt x="41" y="28"/>
                    <a:pt x="42" y="28"/>
                    <a:pt x="42" y="28"/>
                  </a:cubicBezTo>
                  <a:close/>
                  <a:moveTo>
                    <a:pt x="39" y="26"/>
                  </a:moveTo>
                  <a:cubicBezTo>
                    <a:pt x="39" y="26"/>
                    <a:pt x="39" y="26"/>
                    <a:pt x="39" y="26"/>
                  </a:cubicBezTo>
                  <a:cubicBezTo>
                    <a:pt x="39" y="26"/>
                    <a:pt x="39" y="26"/>
                    <a:pt x="39" y="26"/>
                  </a:cubicBezTo>
                  <a:close/>
                  <a:moveTo>
                    <a:pt x="37" y="25"/>
                  </a:moveTo>
                  <a:cubicBezTo>
                    <a:pt x="37" y="25"/>
                    <a:pt x="36" y="25"/>
                    <a:pt x="36" y="25"/>
                  </a:cubicBezTo>
                  <a:cubicBezTo>
                    <a:pt x="36" y="25"/>
                    <a:pt x="37" y="25"/>
                    <a:pt x="37" y="25"/>
                  </a:cubicBezTo>
                  <a:close/>
                  <a:moveTo>
                    <a:pt x="34" y="23"/>
                  </a:moveTo>
                  <a:cubicBezTo>
                    <a:pt x="34" y="23"/>
                    <a:pt x="34" y="23"/>
                    <a:pt x="34" y="23"/>
                  </a:cubicBezTo>
                  <a:cubicBezTo>
                    <a:pt x="34" y="23"/>
                    <a:pt x="34" y="23"/>
                    <a:pt x="34" y="23"/>
                  </a:cubicBezTo>
                  <a:close/>
                  <a:moveTo>
                    <a:pt x="32" y="22"/>
                  </a:moveTo>
                  <a:cubicBezTo>
                    <a:pt x="31" y="21"/>
                    <a:pt x="31" y="21"/>
                    <a:pt x="31" y="21"/>
                  </a:cubicBezTo>
                  <a:cubicBezTo>
                    <a:pt x="31" y="21"/>
                    <a:pt x="32" y="22"/>
                    <a:pt x="32" y="22"/>
                  </a:cubicBezTo>
                  <a:close/>
                  <a:moveTo>
                    <a:pt x="29" y="20"/>
                  </a:moveTo>
                  <a:cubicBezTo>
                    <a:pt x="29" y="20"/>
                    <a:pt x="29" y="20"/>
                    <a:pt x="29" y="20"/>
                  </a:cubicBezTo>
                  <a:cubicBezTo>
                    <a:pt x="29" y="20"/>
                    <a:pt x="29" y="20"/>
                    <a:pt x="29" y="20"/>
                  </a:cubicBezTo>
                  <a:close/>
                  <a:moveTo>
                    <a:pt x="27" y="18"/>
                  </a:moveTo>
                  <a:cubicBezTo>
                    <a:pt x="26" y="18"/>
                    <a:pt x="26" y="18"/>
                    <a:pt x="26" y="18"/>
                  </a:cubicBezTo>
                  <a:cubicBezTo>
                    <a:pt x="26" y="18"/>
                    <a:pt x="26" y="18"/>
                    <a:pt x="27" y="18"/>
                  </a:cubicBezTo>
                  <a:close/>
                  <a:moveTo>
                    <a:pt x="25" y="17"/>
                  </a:moveTo>
                  <a:cubicBezTo>
                    <a:pt x="25" y="17"/>
                    <a:pt x="25" y="17"/>
                    <a:pt x="25" y="17"/>
                  </a:cubicBezTo>
                  <a:cubicBezTo>
                    <a:pt x="25" y="17"/>
                    <a:pt x="25" y="17"/>
                    <a:pt x="25" y="17"/>
                  </a:cubicBezTo>
                  <a:close/>
                  <a:moveTo>
                    <a:pt x="24" y="17"/>
                  </a:moveTo>
                  <a:cubicBezTo>
                    <a:pt x="24" y="17"/>
                    <a:pt x="24" y="16"/>
                    <a:pt x="24" y="16"/>
                  </a:cubicBezTo>
                  <a:lnTo>
                    <a:pt x="24" y="17"/>
                  </a:lnTo>
                  <a:close/>
                  <a:moveTo>
                    <a:pt x="23" y="16"/>
                  </a:moveTo>
                  <a:cubicBezTo>
                    <a:pt x="22" y="16"/>
                    <a:pt x="22" y="15"/>
                    <a:pt x="22" y="15"/>
                  </a:cubicBezTo>
                  <a:cubicBezTo>
                    <a:pt x="22" y="15"/>
                    <a:pt x="22" y="16"/>
                    <a:pt x="23" y="16"/>
                  </a:cubicBezTo>
                  <a:close/>
                  <a:moveTo>
                    <a:pt x="22" y="15"/>
                  </a:moveTo>
                  <a:cubicBezTo>
                    <a:pt x="21" y="15"/>
                    <a:pt x="21" y="15"/>
                    <a:pt x="21" y="15"/>
                  </a:cubicBezTo>
                  <a:cubicBezTo>
                    <a:pt x="21" y="15"/>
                    <a:pt x="21" y="15"/>
                    <a:pt x="22" y="15"/>
                  </a:cubicBezTo>
                  <a:close/>
                  <a:moveTo>
                    <a:pt x="20" y="14"/>
                  </a:moveTo>
                  <a:cubicBezTo>
                    <a:pt x="20" y="14"/>
                    <a:pt x="20" y="14"/>
                    <a:pt x="20" y="14"/>
                  </a:cubicBezTo>
                  <a:cubicBezTo>
                    <a:pt x="20" y="14"/>
                    <a:pt x="20" y="14"/>
                    <a:pt x="20" y="14"/>
                  </a:cubicBezTo>
                  <a:close/>
                  <a:moveTo>
                    <a:pt x="19" y="13"/>
                  </a:moveTo>
                  <a:cubicBezTo>
                    <a:pt x="19" y="13"/>
                    <a:pt x="19" y="13"/>
                    <a:pt x="19" y="13"/>
                  </a:cubicBezTo>
                  <a:cubicBezTo>
                    <a:pt x="19" y="13"/>
                    <a:pt x="19" y="13"/>
                    <a:pt x="19" y="13"/>
                  </a:cubicBezTo>
                  <a:close/>
                  <a:moveTo>
                    <a:pt x="18" y="12"/>
                  </a:moveTo>
                  <a:cubicBezTo>
                    <a:pt x="18" y="12"/>
                    <a:pt x="17" y="12"/>
                    <a:pt x="17" y="12"/>
                  </a:cubicBezTo>
                  <a:cubicBezTo>
                    <a:pt x="17" y="12"/>
                    <a:pt x="18" y="12"/>
                    <a:pt x="18" y="12"/>
                  </a:cubicBezTo>
                  <a:close/>
                  <a:moveTo>
                    <a:pt x="17" y="12"/>
                  </a:moveTo>
                  <a:cubicBezTo>
                    <a:pt x="17" y="11"/>
                    <a:pt x="16" y="11"/>
                    <a:pt x="16" y="11"/>
                  </a:cubicBezTo>
                  <a:cubicBezTo>
                    <a:pt x="16" y="11"/>
                    <a:pt x="17" y="11"/>
                    <a:pt x="17" y="12"/>
                  </a:cubicBezTo>
                  <a:close/>
                  <a:moveTo>
                    <a:pt x="15" y="11"/>
                  </a:moveTo>
                  <a:cubicBezTo>
                    <a:pt x="15" y="11"/>
                    <a:pt x="15" y="10"/>
                    <a:pt x="15" y="10"/>
                  </a:cubicBezTo>
                  <a:cubicBezTo>
                    <a:pt x="15" y="10"/>
                    <a:pt x="15" y="11"/>
                    <a:pt x="15" y="11"/>
                  </a:cubicBezTo>
                  <a:close/>
                  <a:moveTo>
                    <a:pt x="14" y="10"/>
                  </a:moveTo>
                  <a:cubicBezTo>
                    <a:pt x="14" y="10"/>
                    <a:pt x="14" y="10"/>
                    <a:pt x="14" y="9"/>
                  </a:cubicBezTo>
                  <a:cubicBezTo>
                    <a:pt x="14" y="10"/>
                    <a:pt x="14" y="10"/>
                    <a:pt x="14" y="10"/>
                  </a:cubicBezTo>
                  <a:close/>
                  <a:moveTo>
                    <a:pt x="13" y="9"/>
                  </a:moveTo>
                  <a:cubicBezTo>
                    <a:pt x="13" y="9"/>
                    <a:pt x="12" y="9"/>
                    <a:pt x="12" y="9"/>
                  </a:cubicBezTo>
                  <a:cubicBezTo>
                    <a:pt x="12" y="9"/>
                    <a:pt x="13" y="9"/>
                    <a:pt x="13" y="9"/>
                  </a:cubicBezTo>
                  <a:close/>
                  <a:moveTo>
                    <a:pt x="12" y="8"/>
                  </a:moveTo>
                  <a:cubicBezTo>
                    <a:pt x="12" y="8"/>
                    <a:pt x="11" y="8"/>
                    <a:pt x="11" y="8"/>
                  </a:cubicBezTo>
                  <a:cubicBezTo>
                    <a:pt x="11" y="8"/>
                    <a:pt x="12" y="8"/>
                    <a:pt x="12" y="8"/>
                  </a:cubicBezTo>
                  <a:close/>
                  <a:moveTo>
                    <a:pt x="11" y="7"/>
                  </a:moveTo>
                  <a:cubicBezTo>
                    <a:pt x="10" y="7"/>
                    <a:pt x="10" y="7"/>
                    <a:pt x="10" y="7"/>
                  </a:cubicBezTo>
                  <a:cubicBezTo>
                    <a:pt x="10" y="7"/>
                    <a:pt x="10" y="7"/>
                    <a:pt x="11" y="7"/>
                  </a:cubicBezTo>
                  <a:close/>
                  <a:moveTo>
                    <a:pt x="9" y="7"/>
                  </a:moveTo>
                  <a:cubicBezTo>
                    <a:pt x="9" y="6"/>
                    <a:pt x="9" y="6"/>
                    <a:pt x="8" y="6"/>
                  </a:cubicBezTo>
                  <a:cubicBezTo>
                    <a:pt x="9" y="6"/>
                    <a:pt x="9" y="6"/>
                    <a:pt x="9" y="7"/>
                  </a:cubicBezTo>
                  <a:close/>
                  <a:moveTo>
                    <a:pt x="8" y="6"/>
                  </a:moveTo>
                  <a:cubicBezTo>
                    <a:pt x="8" y="5"/>
                    <a:pt x="8" y="5"/>
                    <a:pt x="7" y="5"/>
                  </a:cubicBezTo>
                  <a:cubicBezTo>
                    <a:pt x="8" y="5"/>
                    <a:pt x="8" y="5"/>
                    <a:pt x="8" y="6"/>
                  </a:cubicBezTo>
                  <a:close/>
                  <a:moveTo>
                    <a:pt x="7" y="5"/>
                  </a:moveTo>
                  <a:cubicBezTo>
                    <a:pt x="7" y="5"/>
                    <a:pt x="6" y="4"/>
                    <a:pt x="6" y="4"/>
                  </a:cubicBezTo>
                  <a:cubicBezTo>
                    <a:pt x="6" y="4"/>
                    <a:pt x="7" y="5"/>
                    <a:pt x="7" y="5"/>
                  </a:cubicBezTo>
                  <a:close/>
                  <a:moveTo>
                    <a:pt x="6" y="4"/>
                  </a:moveTo>
                  <a:cubicBezTo>
                    <a:pt x="5" y="4"/>
                    <a:pt x="5" y="4"/>
                    <a:pt x="5" y="3"/>
                  </a:cubicBezTo>
                  <a:cubicBezTo>
                    <a:pt x="5" y="4"/>
                    <a:pt x="5" y="4"/>
                    <a:pt x="6" y="4"/>
                  </a:cubicBezTo>
                  <a:close/>
                  <a:moveTo>
                    <a:pt x="4" y="3"/>
                  </a:moveTo>
                  <a:cubicBezTo>
                    <a:pt x="4" y="3"/>
                    <a:pt x="3" y="2"/>
                    <a:pt x="2" y="1"/>
                  </a:cubicBezTo>
                  <a:cubicBezTo>
                    <a:pt x="3" y="2"/>
                    <a:pt x="4" y="3"/>
                    <a:pt x="4" y="3"/>
                  </a:cubicBezTo>
                  <a:close/>
                  <a:moveTo>
                    <a:pt x="2" y="1"/>
                  </a:moveTo>
                  <a:cubicBezTo>
                    <a:pt x="1" y="1"/>
                    <a:pt x="0" y="0"/>
                    <a:pt x="0" y="0"/>
                  </a:cubicBezTo>
                  <a:cubicBezTo>
                    <a:pt x="0" y="0"/>
                    <a:pt x="1" y="1"/>
                    <a:pt x="2" y="1"/>
                  </a:cubicBez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1604">
              <a:extLst>
                <a:ext uri="{FF2B5EF4-FFF2-40B4-BE49-F238E27FC236}">
                  <a16:creationId xmlns:a16="http://schemas.microsoft.com/office/drawing/2014/main" id="{726E82C6-4D86-4A44-902D-9A0338B4577F}"/>
                </a:ext>
              </a:extLst>
            </p:cNvPr>
            <p:cNvSpPr>
              <a:spLocks noEditPoints="1"/>
            </p:cNvSpPr>
            <p:nvPr/>
          </p:nvSpPr>
          <p:spPr bwMode="auto">
            <a:xfrm>
              <a:off x="7504113" y="3678238"/>
              <a:ext cx="465138" cy="561975"/>
            </a:xfrm>
            <a:custGeom>
              <a:avLst/>
              <a:gdLst>
                <a:gd name="T0" fmla="*/ 487 w 568"/>
                <a:gd name="T1" fmla="*/ 656 h 685"/>
                <a:gd name="T2" fmla="*/ 484 w 568"/>
                <a:gd name="T3" fmla="*/ 654 h 685"/>
                <a:gd name="T4" fmla="*/ 483 w 568"/>
                <a:gd name="T5" fmla="*/ 653 h 685"/>
                <a:gd name="T6" fmla="*/ 481 w 568"/>
                <a:gd name="T7" fmla="*/ 653 h 685"/>
                <a:gd name="T8" fmla="*/ 480 w 568"/>
                <a:gd name="T9" fmla="*/ 652 h 685"/>
                <a:gd name="T10" fmla="*/ 479 w 568"/>
                <a:gd name="T11" fmla="*/ 651 h 685"/>
                <a:gd name="T12" fmla="*/ 478 w 568"/>
                <a:gd name="T13" fmla="*/ 650 h 685"/>
                <a:gd name="T14" fmla="*/ 476 w 568"/>
                <a:gd name="T15" fmla="*/ 649 h 685"/>
                <a:gd name="T16" fmla="*/ 475 w 568"/>
                <a:gd name="T17" fmla="*/ 649 h 685"/>
                <a:gd name="T18" fmla="*/ 473 w 568"/>
                <a:gd name="T19" fmla="*/ 648 h 685"/>
                <a:gd name="T20" fmla="*/ 472 w 568"/>
                <a:gd name="T21" fmla="*/ 647 h 685"/>
                <a:gd name="T22" fmla="*/ 471 w 568"/>
                <a:gd name="T23" fmla="*/ 646 h 685"/>
                <a:gd name="T24" fmla="*/ 470 w 568"/>
                <a:gd name="T25" fmla="*/ 646 h 685"/>
                <a:gd name="T26" fmla="*/ 468 w 568"/>
                <a:gd name="T27" fmla="*/ 645 h 685"/>
                <a:gd name="T28" fmla="*/ 467 w 568"/>
                <a:gd name="T29" fmla="*/ 644 h 685"/>
                <a:gd name="T30" fmla="*/ 466 w 568"/>
                <a:gd name="T31" fmla="*/ 643 h 685"/>
                <a:gd name="T32" fmla="*/ 465 w 568"/>
                <a:gd name="T33" fmla="*/ 643 h 685"/>
                <a:gd name="T34" fmla="*/ 463 w 568"/>
                <a:gd name="T35" fmla="*/ 642 h 685"/>
                <a:gd name="T36" fmla="*/ 462 w 568"/>
                <a:gd name="T37" fmla="*/ 641 h 685"/>
                <a:gd name="T38" fmla="*/ 461 w 568"/>
                <a:gd name="T39" fmla="*/ 640 h 685"/>
                <a:gd name="T40" fmla="*/ 458 w 568"/>
                <a:gd name="T41" fmla="*/ 638 h 685"/>
                <a:gd name="T42" fmla="*/ 456 w 568"/>
                <a:gd name="T43" fmla="*/ 637 h 685"/>
                <a:gd name="T44" fmla="*/ 453 w 568"/>
                <a:gd name="T45" fmla="*/ 635 h 685"/>
                <a:gd name="T46" fmla="*/ 451 w 568"/>
                <a:gd name="T47" fmla="*/ 634 h 685"/>
                <a:gd name="T48" fmla="*/ 448 w 568"/>
                <a:gd name="T49" fmla="*/ 632 h 685"/>
                <a:gd name="T50" fmla="*/ 446 w 568"/>
                <a:gd name="T51" fmla="*/ 630 h 685"/>
                <a:gd name="T52" fmla="*/ 444 w 568"/>
                <a:gd name="T53" fmla="*/ 629 h 685"/>
                <a:gd name="T54" fmla="*/ 443 w 568"/>
                <a:gd name="T55" fmla="*/ 629 h 685"/>
                <a:gd name="T56" fmla="*/ 442 w 568"/>
                <a:gd name="T57" fmla="*/ 628 h 685"/>
                <a:gd name="T58" fmla="*/ 441 w 568"/>
                <a:gd name="T59" fmla="*/ 627 h 685"/>
                <a:gd name="T60" fmla="*/ 439 w 568"/>
                <a:gd name="T61" fmla="*/ 626 h 685"/>
                <a:gd name="T62" fmla="*/ 438 w 568"/>
                <a:gd name="T63" fmla="*/ 625 h 685"/>
                <a:gd name="T64" fmla="*/ 437 w 568"/>
                <a:gd name="T65" fmla="*/ 624 h 685"/>
                <a:gd name="T66" fmla="*/ 436 w 568"/>
                <a:gd name="T67" fmla="*/ 624 h 685"/>
                <a:gd name="T68" fmla="*/ 434 w 568"/>
                <a:gd name="T69" fmla="*/ 623 h 685"/>
                <a:gd name="T70" fmla="*/ 433 w 568"/>
                <a:gd name="T71" fmla="*/ 622 h 685"/>
                <a:gd name="T72" fmla="*/ 432 w 568"/>
                <a:gd name="T73" fmla="*/ 621 h 685"/>
                <a:gd name="T74" fmla="*/ 431 w 568"/>
                <a:gd name="T75" fmla="*/ 620 h 685"/>
                <a:gd name="T76" fmla="*/ 430 w 568"/>
                <a:gd name="T77" fmla="*/ 619 h 685"/>
                <a:gd name="T78" fmla="*/ 428 w 568"/>
                <a:gd name="T79" fmla="*/ 619 h 685"/>
                <a:gd name="T80" fmla="*/ 427 w 568"/>
                <a:gd name="T81" fmla="*/ 618 h 685"/>
                <a:gd name="T82" fmla="*/ 426 w 568"/>
                <a:gd name="T83" fmla="*/ 617 h 685"/>
                <a:gd name="T84" fmla="*/ 425 w 568"/>
                <a:gd name="T85" fmla="*/ 616 h 685"/>
                <a:gd name="T86" fmla="*/ 423 w 568"/>
                <a:gd name="T87" fmla="*/ 615 h 685"/>
                <a:gd name="T88" fmla="*/ 421 w 568"/>
                <a:gd name="T89" fmla="*/ 613 h 685"/>
                <a:gd name="T90" fmla="*/ 419 w 568"/>
                <a:gd name="T91" fmla="*/ 612 h 685"/>
                <a:gd name="T92" fmla="*/ 293 w 568"/>
                <a:gd name="T93" fmla="*/ 469 h 685"/>
                <a:gd name="T94" fmla="*/ 568 w 568"/>
                <a:gd name="T95" fmla="*/ 663 h 685"/>
                <a:gd name="T96" fmla="*/ 64 w 568"/>
                <a:gd name="T97" fmla="*/ 167 h 685"/>
                <a:gd name="T98" fmla="*/ 24 w 568"/>
                <a:gd name="T99" fmla="*/ 3 h 685"/>
                <a:gd name="T100" fmla="*/ 64 w 568"/>
                <a:gd name="T101" fmla="*/ 167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8" h="685">
                  <a:moveTo>
                    <a:pt x="546" y="685"/>
                  </a:moveTo>
                  <a:cubicBezTo>
                    <a:pt x="526" y="677"/>
                    <a:pt x="507" y="667"/>
                    <a:pt x="487" y="656"/>
                  </a:cubicBezTo>
                  <a:cubicBezTo>
                    <a:pt x="486" y="655"/>
                    <a:pt x="485" y="655"/>
                    <a:pt x="484" y="654"/>
                  </a:cubicBezTo>
                  <a:lnTo>
                    <a:pt x="484" y="654"/>
                  </a:lnTo>
                  <a:cubicBezTo>
                    <a:pt x="484" y="654"/>
                    <a:pt x="483" y="654"/>
                    <a:pt x="483" y="653"/>
                  </a:cubicBezTo>
                  <a:cubicBezTo>
                    <a:pt x="483" y="653"/>
                    <a:pt x="483" y="653"/>
                    <a:pt x="483" y="653"/>
                  </a:cubicBezTo>
                  <a:cubicBezTo>
                    <a:pt x="482" y="653"/>
                    <a:pt x="482" y="653"/>
                    <a:pt x="482" y="653"/>
                  </a:cubicBezTo>
                  <a:cubicBezTo>
                    <a:pt x="482" y="653"/>
                    <a:pt x="481" y="653"/>
                    <a:pt x="481" y="653"/>
                  </a:cubicBezTo>
                  <a:cubicBezTo>
                    <a:pt x="481" y="652"/>
                    <a:pt x="481" y="652"/>
                    <a:pt x="480" y="652"/>
                  </a:cubicBezTo>
                  <a:cubicBezTo>
                    <a:pt x="480" y="652"/>
                    <a:pt x="480" y="652"/>
                    <a:pt x="480" y="652"/>
                  </a:cubicBezTo>
                  <a:cubicBezTo>
                    <a:pt x="480" y="652"/>
                    <a:pt x="479" y="651"/>
                    <a:pt x="479" y="651"/>
                  </a:cubicBezTo>
                  <a:cubicBezTo>
                    <a:pt x="479" y="651"/>
                    <a:pt x="479" y="651"/>
                    <a:pt x="479" y="651"/>
                  </a:cubicBezTo>
                  <a:cubicBezTo>
                    <a:pt x="478" y="651"/>
                    <a:pt x="478" y="651"/>
                    <a:pt x="478" y="651"/>
                  </a:cubicBezTo>
                  <a:cubicBezTo>
                    <a:pt x="478" y="650"/>
                    <a:pt x="478" y="650"/>
                    <a:pt x="478" y="650"/>
                  </a:cubicBezTo>
                  <a:cubicBezTo>
                    <a:pt x="477" y="650"/>
                    <a:pt x="477" y="650"/>
                    <a:pt x="477" y="650"/>
                  </a:cubicBezTo>
                  <a:cubicBezTo>
                    <a:pt x="476" y="650"/>
                    <a:pt x="476" y="650"/>
                    <a:pt x="476" y="649"/>
                  </a:cubicBezTo>
                  <a:cubicBezTo>
                    <a:pt x="476" y="649"/>
                    <a:pt x="476" y="649"/>
                    <a:pt x="475" y="649"/>
                  </a:cubicBezTo>
                  <a:lnTo>
                    <a:pt x="475" y="649"/>
                  </a:lnTo>
                  <a:cubicBezTo>
                    <a:pt x="475" y="649"/>
                    <a:pt x="474" y="648"/>
                    <a:pt x="474" y="648"/>
                  </a:cubicBezTo>
                  <a:cubicBezTo>
                    <a:pt x="474" y="648"/>
                    <a:pt x="474" y="648"/>
                    <a:pt x="473" y="648"/>
                  </a:cubicBezTo>
                  <a:cubicBezTo>
                    <a:pt x="473" y="648"/>
                    <a:pt x="473" y="648"/>
                    <a:pt x="473" y="648"/>
                  </a:cubicBezTo>
                  <a:cubicBezTo>
                    <a:pt x="473" y="647"/>
                    <a:pt x="473" y="647"/>
                    <a:pt x="472" y="647"/>
                  </a:cubicBezTo>
                  <a:cubicBezTo>
                    <a:pt x="472" y="647"/>
                    <a:pt x="472" y="647"/>
                    <a:pt x="472" y="647"/>
                  </a:cubicBezTo>
                  <a:cubicBezTo>
                    <a:pt x="471" y="647"/>
                    <a:pt x="471" y="646"/>
                    <a:pt x="471" y="646"/>
                  </a:cubicBezTo>
                  <a:cubicBezTo>
                    <a:pt x="471" y="646"/>
                    <a:pt x="471" y="646"/>
                    <a:pt x="470" y="646"/>
                  </a:cubicBezTo>
                  <a:cubicBezTo>
                    <a:pt x="470" y="646"/>
                    <a:pt x="470" y="646"/>
                    <a:pt x="470" y="646"/>
                  </a:cubicBezTo>
                  <a:cubicBezTo>
                    <a:pt x="470" y="646"/>
                    <a:pt x="469" y="645"/>
                    <a:pt x="469" y="645"/>
                  </a:cubicBezTo>
                  <a:cubicBezTo>
                    <a:pt x="469" y="645"/>
                    <a:pt x="469" y="645"/>
                    <a:pt x="468" y="645"/>
                  </a:cubicBezTo>
                  <a:cubicBezTo>
                    <a:pt x="468" y="645"/>
                    <a:pt x="468" y="645"/>
                    <a:pt x="468" y="644"/>
                  </a:cubicBezTo>
                  <a:cubicBezTo>
                    <a:pt x="468" y="644"/>
                    <a:pt x="467" y="644"/>
                    <a:pt x="467" y="644"/>
                  </a:cubicBezTo>
                  <a:cubicBezTo>
                    <a:pt x="467" y="644"/>
                    <a:pt x="467" y="644"/>
                    <a:pt x="467" y="644"/>
                  </a:cubicBezTo>
                  <a:cubicBezTo>
                    <a:pt x="466" y="644"/>
                    <a:pt x="466" y="643"/>
                    <a:pt x="466" y="643"/>
                  </a:cubicBezTo>
                  <a:lnTo>
                    <a:pt x="465" y="643"/>
                  </a:lnTo>
                  <a:cubicBezTo>
                    <a:pt x="465" y="643"/>
                    <a:pt x="465" y="643"/>
                    <a:pt x="465" y="643"/>
                  </a:cubicBezTo>
                  <a:cubicBezTo>
                    <a:pt x="465" y="642"/>
                    <a:pt x="465" y="642"/>
                    <a:pt x="464" y="642"/>
                  </a:cubicBezTo>
                  <a:cubicBezTo>
                    <a:pt x="464" y="642"/>
                    <a:pt x="464" y="642"/>
                    <a:pt x="463" y="642"/>
                  </a:cubicBezTo>
                  <a:cubicBezTo>
                    <a:pt x="463" y="642"/>
                    <a:pt x="463" y="641"/>
                    <a:pt x="463" y="641"/>
                  </a:cubicBezTo>
                  <a:cubicBezTo>
                    <a:pt x="463" y="641"/>
                    <a:pt x="462" y="641"/>
                    <a:pt x="462" y="641"/>
                  </a:cubicBezTo>
                  <a:lnTo>
                    <a:pt x="462" y="641"/>
                  </a:lnTo>
                  <a:cubicBezTo>
                    <a:pt x="462" y="641"/>
                    <a:pt x="461" y="640"/>
                    <a:pt x="461" y="640"/>
                  </a:cubicBezTo>
                  <a:cubicBezTo>
                    <a:pt x="461" y="640"/>
                    <a:pt x="460" y="640"/>
                    <a:pt x="460" y="640"/>
                  </a:cubicBezTo>
                  <a:lnTo>
                    <a:pt x="458" y="638"/>
                  </a:lnTo>
                  <a:cubicBezTo>
                    <a:pt x="458" y="638"/>
                    <a:pt x="458" y="638"/>
                    <a:pt x="458" y="638"/>
                  </a:cubicBezTo>
                  <a:cubicBezTo>
                    <a:pt x="457" y="638"/>
                    <a:pt x="456" y="637"/>
                    <a:pt x="456" y="637"/>
                  </a:cubicBezTo>
                  <a:cubicBezTo>
                    <a:pt x="456" y="637"/>
                    <a:pt x="455" y="637"/>
                    <a:pt x="455" y="637"/>
                  </a:cubicBezTo>
                  <a:cubicBezTo>
                    <a:pt x="455" y="636"/>
                    <a:pt x="454" y="636"/>
                    <a:pt x="453" y="635"/>
                  </a:cubicBezTo>
                  <a:cubicBezTo>
                    <a:pt x="453" y="635"/>
                    <a:pt x="453" y="635"/>
                    <a:pt x="453" y="635"/>
                  </a:cubicBezTo>
                  <a:cubicBezTo>
                    <a:pt x="452" y="635"/>
                    <a:pt x="451" y="634"/>
                    <a:pt x="451" y="634"/>
                  </a:cubicBezTo>
                  <a:cubicBezTo>
                    <a:pt x="451" y="634"/>
                    <a:pt x="450" y="633"/>
                    <a:pt x="450" y="633"/>
                  </a:cubicBezTo>
                  <a:cubicBezTo>
                    <a:pt x="450" y="633"/>
                    <a:pt x="449" y="632"/>
                    <a:pt x="448" y="632"/>
                  </a:cubicBezTo>
                  <a:cubicBezTo>
                    <a:pt x="448" y="632"/>
                    <a:pt x="448" y="632"/>
                    <a:pt x="448" y="632"/>
                  </a:cubicBezTo>
                  <a:cubicBezTo>
                    <a:pt x="447" y="631"/>
                    <a:pt x="446" y="631"/>
                    <a:pt x="446" y="630"/>
                  </a:cubicBezTo>
                  <a:cubicBezTo>
                    <a:pt x="445" y="630"/>
                    <a:pt x="445" y="630"/>
                    <a:pt x="445" y="630"/>
                  </a:cubicBezTo>
                  <a:cubicBezTo>
                    <a:pt x="445" y="630"/>
                    <a:pt x="444" y="629"/>
                    <a:pt x="444" y="629"/>
                  </a:cubicBezTo>
                  <a:cubicBezTo>
                    <a:pt x="444" y="629"/>
                    <a:pt x="444" y="629"/>
                    <a:pt x="444" y="629"/>
                  </a:cubicBezTo>
                  <a:cubicBezTo>
                    <a:pt x="444" y="629"/>
                    <a:pt x="443" y="629"/>
                    <a:pt x="443" y="629"/>
                  </a:cubicBezTo>
                  <a:lnTo>
                    <a:pt x="443" y="628"/>
                  </a:lnTo>
                  <a:cubicBezTo>
                    <a:pt x="442" y="628"/>
                    <a:pt x="442" y="628"/>
                    <a:pt x="442" y="628"/>
                  </a:cubicBezTo>
                  <a:cubicBezTo>
                    <a:pt x="441" y="628"/>
                    <a:pt x="441" y="627"/>
                    <a:pt x="441" y="627"/>
                  </a:cubicBezTo>
                  <a:cubicBezTo>
                    <a:pt x="441" y="627"/>
                    <a:pt x="441" y="627"/>
                    <a:pt x="441" y="627"/>
                  </a:cubicBezTo>
                  <a:cubicBezTo>
                    <a:pt x="440" y="627"/>
                    <a:pt x="440" y="627"/>
                    <a:pt x="440" y="627"/>
                  </a:cubicBezTo>
                  <a:cubicBezTo>
                    <a:pt x="440" y="626"/>
                    <a:pt x="440" y="626"/>
                    <a:pt x="439" y="626"/>
                  </a:cubicBezTo>
                  <a:cubicBezTo>
                    <a:pt x="439" y="626"/>
                    <a:pt x="439" y="626"/>
                    <a:pt x="439" y="626"/>
                  </a:cubicBezTo>
                  <a:cubicBezTo>
                    <a:pt x="439" y="626"/>
                    <a:pt x="438" y="625"/>
                    <a:pt x="438" y="625"/>
                  </a:cubicBezTo>
                  <a:cubicBezTo>
                    <a:pt x="438" y="625"/>
                    <a:pt x="438" y="625"/>
                    <a:pt x="438" y="625"/>
                  </a:cubicBezTo>
                  <a:cubicBezTo>
                    <a:pt x="437" y="625"/>
                    <a:pt x="437" y="625"/>
                    <a:pt x="437" y="624"/>
                  </a:cubicBezTo>
                  <a:cubicBezTo>
                    <a:pt x="437" y="624"/>
                    <a:pt x="436" y="624"/>
                    <a:pt x="436" y="624"/>
                  </a:cubicBezTo>
                  <a:cubicBezTo>
                    <a:pt x="436" y="624"/>
                    <a:pt x="436" y="624"/>
                    <a:pt x="436" y="624"/>
                  </a:cubicBezTo>
                  <a:cubicBezTo>
                    <a:pt x="436" y="623"/>
                    <a:pt x="435" y="623"/>
                    <a:pt x="435" y="623"/>
                  </a:cubicBezTo>
                  <a:cubicBezTo>
                    <a:pt x="435" y="623"/>
                    <a:pt x="435" y="623"/>
                    <a:pt x="434" y="623"/>
                  </a:cubicBezTo>
                  <a:cubicBezTo>
                    <a:pt x="434" y="623"/>
                    <a:pt x="434" y="622"/>
                    <a:pt x="434" y="622"/>
                  </a:cubicBezTo>
                  <a:lnTo>
                    <a:pt x="433" y="622"/>
                  </a:lnTo>
                  <a:cubicBezTo>
                    <a:pt x="433" y="622"/>
                    <a:pt x="433" y="622"/>
                    <a:pt x="433" y="621"/>
                  </a:cubicBezTo>
                  <a:cubicBezTo>
                    <a:pt x="432" y="621"/>
                    <a:pt x="432" y="621"/>
                    <a:pt x="432" y="621"/>
                  </a:cubicBezTo>
                  <a:cubicBezTo>
                    <a:pt x="432" y="621"/>
                    <a:pt x="431" y="621"/>
                    <a:pt x="431" y="621"/>
                  </a:cubicBezTo>
                  <a:cubicBezTo>
                    <a:pt x="431" y="620"/>
                    <a:pt x="431" y="620"/>
                    <a:pt x="431" y="620"/>
                  </a:cubicBezTo>
                  <a:cubicBezTo>
                    <a:pt x="431" y="620"/>
                    <a:pt x="430" y="620"/>
                    <a:pt x="430" y="620"/>
                  </a:cubicBezTo>
                  <a:cubicBezTo>
                    <a:pt x="430" y="620"/>
                    <a:pt x="430" y="620"/>
                    <a:pt x="430" y="619"/>
                  </a:cubicBezTo>
                  <a:cubicBezTo>
                    <a:pt x="429" y="619"/>
                    <a:pt x="429" y="619"/>
                    <a:pt x="429" y="619"/>
                  </a:cubicBezTo>
                  <a:cubicBezTo>
                    <a:pt x="429" y="619"/>
                    <a:pt x="428" y="619"/>
                    <a:pt x="428" y="619"/>
                  </a:cubicBezTo>
                  <a:cubicBezTo>
                    <a:pt x="428" y="618"/>
                    <a:pt x="428" y="618"/>
                    <a:pt x="427" y="618"/>
                  </a:cubicBezTo>
                  <a:cubicBezTo>
                    <a:pt x="427" y="618"/>
                    <a:pt x="427" y="618"/>
                    <a:pt x="427" y="618"/>
                  </a:cubicBezTo>
                  <a:cubicBezTo>
                    <a:pt x="427" y="617"/>
                    <a:pt x="427" y="617"/>
                    <a:pt x="426" y="617"/>
                  </a:cubicBezTo>
                  <a:cubicBezTo>
                    <a:pt x="426" y="617"/>
                    <a:pt x="426" y="617"/>
                    <a:pt x="426" y="617"/>
                  </a:cubicBezTo>
                  <a:cubicBezTo>
                    <a:pt x="426" y="617"/>
                    <a:pt x="425" y="616"/>
                    <a:pt x="425" y="616"/>
                  </a:cubicBezTo>
                  <a:lnTo>
                    <a:pt x="425" y="616"/>
                  </a:lnTo>
                  <a:cubicBezTo>
                    <a:pt x="424" y="616"/>
                    <a:pt x="424" y="616"/>
                    <a:pt x="424" y="615"/>
                  </a:cubicBezTo>
                  <a:cubicBezTo>
                    <a:pt x="424" y="615"/>
                    <a:pt x="423" y="615"/>
                    <a:pt x="423" y="615"/>
                  </a:cubicBezTo>
                  <a:cubicBezTo>
                    <a:pt x="423" y="615"/>
                    <a:pt x="422" y="614"/>
                    <a:pt x="421" y="613"/>
                  </a:cubicBezTo>
                  <a:cubicBezTo>
                    <a:pt x="421" y="613"/>
                    <a:pt x="421" y="613"/>
                    <a:pt x="421" y="613"/>
                  </a:cubicBezTo>
                  <a:cubicBezTo>
                    <a:pt x="420" y="613"/>
                    <a:pt x="419" y="612"/>
                    <a:pt x="419" y="612"/>
                  </a:cubicBezTo>
                  <a:cubicBezTo>
                    <a:pt x="419" y="612"/>
                    <a:pt x="419" y="612"/>
                    <a:pt x="419" y="612"/>
                  </a:cubicBezTo>
                  <a:cubicBezTo>
                    <a:pt x="369" y="576"/>
                    <a:pt x="321" y="533"/>
                    <a:pt x="277" y="485"/>
                  </a:cubicBezTo>
                  <a:lnTo>
                    <a:pt x="293" y="469"/>
                  </a:lnTo>
                  <a:cubicBezTo>
                    <a:pt x="352" y="531"/>
                    <a:pt x="416" y="584"/>
                    <a:pt x="484" y="623"/>
                  </a:cubicBezTo>
                  <a:cubicBezTo>
                    <a:pt x="513" y="640"/>
                    <a:pt x="541" y="653"/>
                    <a:pt x="568" y="663"/>
                  </a:cubicBezTo>
                  <a:lnTo>
                    <a:pt x="546" y="685"/>
                  </a:lnTo>
                  <a:moveTo>
                    <a:pt x="64" y="167"/>
                  </a:moveTo>
                  <a:cubicBezTo>
                    <a:pt x="38" y="113"/>
                    <a:pt x="16" y="57"/>
                    <a:pt x="0" y="0"/>
                  </a:cubicBezTo>
                  <a:lnTo>
                    <a:pt x="24" y="3"/>
                  </a:lnTo>
                  <a:cubicBezTo>
                    <a:pt x="39" y="53"/>
                    <a:pt x="58" y="102"/>
                    <a:pt x="80" y="151"/>
                  </a:cubicBezTo>
                  <a:lnTo>
                    <a:pt x="64" y="167"/>
                  </a:lnTo>
                </a:path>
              </a:pathLst>
            </a:custGeom>
            <a:solidFill>
              <a:srgbClr val="C1D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1605">
              <a:extLst>
                <a:ext uri="{FF2B5EF4-FFF2-40B4-BE49-F238E27FC236}">
                  <a16:creationId xmlns:a16="http://schemas.microsoft.com/office/drawing/2014/main" id="{E918892C-1E92-4201-80CC-3A7019118818}"/>
                </a:ext>
              </a:extLst>
            </p:cNvPr>
            <p:cNvSpPr>
              <a:spLocks noEditPoints="1"/>
            </p:cNvSpPr>
            <p:nvPr/>
          </p:nvSpPr>
          <p:spPr bwMode="auto">
            <a:xfrm>
              <a:off x="7899401" y="3875088"/>
              <a:ext cx="274638" cy="158750"/>
            </a:xfrm>
            <a:custGeom>
              <a:avLst/>
              <a:gdLst>
                <a:gd name="T0" fmla="*/ 0 w 335"/>
                <a:gd name="T1" fmla="*/ 194 h 194"/>
                <a:gd name="T2" fmla="*/ 0 w 335"/>
                <a:gd name="T3" fmla="*/ 194 h 194"/>
                <a:gd name="T4" fmla="*/ 0 w 335"/>
                <a:gd name="T5" fmla="*/ 194 h 194"/>
                <a:gd name="T6" fmla="*/ 335 w 335"/>
                <a:gd name="T7" fmla="*/ 0 h 194"/>
                <a:gd name="T8" fmla="*/ 335 w 335"/>
                <a:gd name="T9" fmla="*/ 0 h 194"/>
                <a:gd name="T10" fmla="*/ 335 w 335"/>
                <a:gd name="T11" fmla="*/ 0 h 194"/>
                <a:gd name="T12" fmla="*/ 335 w 335"/>
                <a:gd name="T13" fmla="*/ 0 h 194"/>
                <a:gd name="T14" fmla="*/ 335 w 335"/>
                <a:gd name="T15" fmla="*/ 0 h 194"/>
                <a:gd name="T16" fmla="*/ 335 w 335"/>
                <a:gd name="T1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194">
                  <a:moveTo>
                    <a:pt x="0" y="194"/>
                  </a:moveTo>
                  <a:cubicBezTo>
                    <a:pt x="0" y="194"/>
                    <a:pt x="0" y="194"/>
                    <a:pt x="0" y="194"/>
                  </a:cubicBezTo>
                  <a:cubicBezTo>
                    <a:pt x="0" y="194"/>
                    <a:pt x="0" y="194"/>
                    <a:pt x="0" y="194"/>
                  </a:cubicBezTo>
                  <a:close/>
                  <a:moveTo>
                    <a:pt x="335" y="0"/>
                  </a:moveTo>
                  <a:lnTo>
                    <a:pt x="335" y="0"/>
                  </a:lnTo>
                  <a:lnTo>
                    <a:pt x="335" y="0"/>
                  </a:lnTo>
                  <a:close/>
                  <a:moveTo>
                    <a:pt x="335" y="0"/>
                  </a:moveTo>
                  <a:lnTo>
                    <a:pt x="335" y="0"/>
                  </a:lnTo>
                  <a:lnTo>
                    <a:pt x="335" y="0"/>
                  </a:ln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606">
              <a:extLst>
                <a:ext uri="{FF2B5EF4-FFF2-40B4-BE49-F238E27FC236}">
                  <a16:creationId xmlns:a16="http://schemas.microsoft.com/office/drawing/2014/main" id="{85298182-6BD9-4EF2-A5D3-970239F87E7D}"/>
                </a:ext>
              </a:extLst>
            </p:cNvPr>
            <p:cNvSpPr>
              <a:spLocks/>
            </p:cNvSpPr>
            <p:nvPr/>
          </p:nvSpPr>
          <p:spPr bwMode="auto">
            <a:xfrm>
              <a:off x="8128001" y="3651251"/>
              <a:ext cx="53975" cy="69850"/>
            </a:xfrm>
            <a:custGeom>
              <a:avLst/>
              <a:gdLst>
                <a:gd name="T0" fmla="*/ 66 w 66"/>
                <a:gd name="T1" fmla="*/ 86 h 86"/>
                <a:gd name="T2" fmla="*/ 21 w 66"/>
                <a:gd name="T3" fmla="*/ 85 h 86"/>
                <a:gd name="T4" fmla="*/ 0 w 66"/>
                <a:gd name="T5" fmla="*/ 31 h 86"/>
                <a:gd name="T6" fmla="*/ 31 w 66"/>
                <a:gd name="T7" fmla="*/ 0 h 86"/>
                <a:gd name="T8" fmla="*/ 66 w 66"/>
                <a:gd name="T9" fmla="*/ 86 h 86"/>
              </a:gdLst>
              <a:ahLst/>
              <a:cxnLst>
                <a:cxn ang="0">
                  <a:pos x="T0" y="T1"/>
                </a:cxn>
                <a:cxn ang="0">
                  <a:pos x="T2" y="T3"/>
                </a:cxn>
                <a:cxn ang="0">
                  <a:pos x="T4" y="T5"/>
                </a:cxn>
                <a:cxn ang="0">
                  <a:pos x="T6" y="T7"/>
                </a:cxn>
                <a:cxn ang="0">
                  <a:pos x="T8" y="T9"/>
                </a:cxn>
              </a:cxnLst>
              <a:rect l="0" t="0" r="r" b="b"/>
              <a:pathLst>
                <a:path w="66" h="86">
                  <a:moveTo>
                    <a:pt x="66" y="86"/>
                  </a:moveTo>
                  <a:lnTo>
                    <a:pt x="21" y="85"/>
                  </a:lnTo>
                  <a:cubicBezTo>
                    <a:pt x="15" y="67"/>
                    <a:pt x="8" y="49"/>
                    <a:pt x="0" y="31"/>
                  </a:cubicBezTo>
                  <a:lnTo>
                    <a:pt x="31" y="0"/>
                  </a:lnTo>
                  <a:cubicBezTo>
                    <a:pt x="44" y="29"/>
                    <a:pt x="56" y="57"/>
                    <a:pt x="66" y="86"/>
                  </a:cubicBezTo>
                </a:path>
              </a:pathLst>
            </a:custGeom>
            <a:solidFill>
              <a:srgbClr val="B04B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607">
              <a:extLst>
                <a:ext uri="{FF2B5EF4-FFF2-40B4-BE49-F238E27FC236}">
                  <a16:creationId xmlns:a16="http://schemas.microsoft.com/office/drawing/2014/main" id="{F23077C1-0596-402A-80E5-18897B087466}"/>
                </a:ext>
              </a:extLst>
            </p:cNvPr>
            <p:cNvSpPr>
              <a:spLocks/>
            </p:cNvSpPr>
            <p:nvPr/>
          </p:nvSpPr>
          <p:spPr bwMode="auto">
            <a:xfrm>
              <a:off x="7962901" y="3719513"/>
              <a:ext cx="250825" cy="404813"/>
            </a:xfrm>
            <a:custGeom>
              <a:avLst/>
              <a:gdLst>
                <a:gd name="T0" fmla="*/ 94 w 307"/>
                <a:gd name="T1" fmla="*/ 492 h 492"/>
                <a:gd name="T2" fmla="*/ 11 w 307"/>
                <a:gd name="T3" fmla="*/ 479 h 492"/>
                <a:gd name="T4" fmla="*/ 0 w 307"/>
                <a:gd name="T5" fmla="*/ 417 h 492"/>
                <a:gd name="T6" fmla="*/ 72 w 307"/>
                <a:gd name="T7" fmla="*/ 429 h 492"/>
                <a:gd name="T8" fmla="*/ 257 w 307"/>
                <a:gd name="T9" fmla="*/ 190 h 492"/>
                <a:gd name="T10" fmla="*/ 257 w 307"/>
                <a:gd name="T11" fmla="*/ 190 h 492"/>
                <a:gd name="T12" fmla="*/ 257 w 307"/>
                <a:gd name="T13" fmla="*/ 190 h 492"/>
                <a:gd name="T14" fmla="*/ 257 w 307"/>
                <a:gd name="T15" fmla="*/ 190 h 492"/>
                <a:gd name="T16" fmla="*/ 257 w 307"/>
                <a:gd name="T17" fmla="*/ 189 h 492"/>
                <a:gd name="T18" fmla="*/ 257 w 307"/>
                <a:gd name="T19" fmla="*/ 189 h 492"/>
                <a:gd name="T20" fmla="*/ 257 w 307"/>
                <a:gd name="T21" fmla="*/ 189 h 492"/>
                <a:gd name="T22" fmla="*/ 257 w 307"/>
                <a:gd name="T23" fmla="*/ 189 h 492"/>
                <a:gd name="T24" fmla="*/ 223 w 307"/>
                <a:gd name="T25" fmla="*/ 0 h 492"/>
                <a:gd name="T26" fmla="*/ 268 w 307"/>
                <a:gd name="T27" fmla="*/ 1 h 492"/>
                <a:gd name="T28" fmla="*/ 307 w 307"/>
                <a:gd name="T29" fmla="*/ 219 h 492"/>
                <a:gd name="T30" fmla="*/ 294 w 307"/>
                <a:gd name="T31" fmla="*/ 324 h 492"/>
                <a:gd name="T32" fmla="*/ 128 w 307"/>
                <a:gd name="T33" fmla="*/ 490 h 492"/>
                <a:gd name="T34" fmla="*/ 94 w 307"/>
                <a:gd name="T35"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7" h="492">
                  <a:moveTo>
                    <a:pt x="94" y="492"/>
                  </a:moveTo>
                  <a:cubicBezTo>
                    <a:pt x="68" y="492"/>
                    <a:pt x="40" y="488"/>
                    <a:pt x="11" y="479"/>
                  </a:cubicBezTo>
                  <a:lnTo>
                    <a:pt x="0" y="417"/>
                  </a:lnTo>
                  <a:cubicBezTo>
                    <a:pt x="25" y="425"/>
                    <a:pt x="50" y="429"/>
                    <a:pt x="72" y="429"/>
                  </a:cubicBezTo>
                  <a:cubicBezTo>
                    <a:pt x="182" y="429"/>
                    <a:pt x="257" y="341"/>
                    <a:pt x="257" y="190"/>
                  </a:cubicBezTo>
                  <a:lnTo>
                    <a:pt x="257" y="190"/>
                  </a:lnTo>
                  <a:lnTo>
                    <a:pt x="257" y="190"/>
                  </a:lnTo>
                  <a:lnTo>
                    <a:pt x="257" y="190"/>
                  </a:lnTo>
                  <a:lnTo>
                    <a:pt x="257" y="189"/>
                  </a:lnTo>
                  <a:lnTo>
                    <a:pt x="257" y="189"/>
                  </a:lnTo>
                  <a:lnTo>
                    <a:pt x="257" y="189"/>
                  </a:lnTo>
                  <a:lnTo>
                    <a:pt x="257" y="189"/>
                  </a:lnTo>
                  <a:cubicBezTo>
                    <a:pt x="257" y="128"/>
                    <a:pt x="245" y="64"/>
                    <a:pt x="223" y="0"/>
                  </a:cubicBezTo>
                  <a:lnTo>
                    <a:pt x="268" y="1"/>
                  </a:lnTo>
                  <a:cubicBezTo>
                    <a:pt x="293" y="74"/>
                    <a:pt x="307" y="149"/>
                    <a:pt x="307" y="219"/>
                  </a:cubicBezTo>
                  <a:cubicBezTo>
                    <a:pt x="307" y="257"/>
                    <a:pt x="302" y="293"/>
                    <a:pt x="294" y="324"/>
                  </a:cubicBezTo>
                  <a:lnTo>
                    <a:pt x="128" y="490"/>
                  </a:lnTo>
                  <a:cubicBezTo>
                    <a:pt x="117" y="492"/>
                    <a:pt x="106" y="492"/>
                    <a:pt x="94" y="492"/>
                  </a:cubicBezTo>
                </a:path>
              </a:pathLst>
            </a:custGeom>
            <a:solidFill>
              <a:srgbClr val="D9AC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608">
              <a:extLst>
                <a:ext uri="{FF2B5EF4-FFF2-40B4-BE49-F238E27FC236}">
                  <a16:creationId xmlns:a16="http://schemas.microsoft.com/office/drawing/2014/main" id="{9BCD6647-B232-4E9E-98C9-99449D5BDAF9}"/>
                </a:ext>
              </a:extLst>
            </p:cNvPr>
            <p:cNvSpPr>
              <a:spLocks/>
            </p:cNvSpPr>
            <p:nvPr/>
          </p:nvSpPr>
          <p:spPr bwMode="auto">
            <a:xfrm>
              <a:off x="7800976" y="3979863"/>
              <a:ext cx="171450" cy="133350"/>
            </a:xfrm>
            <a:custGeom>
              <a:avLst/>
              <a:gdLst>
                <a:gd name="T0" fmla="*/ 209 w 209"/>
                <a:gd name="T1" fmla="*/ 163 h 163"/>
                <a:gd name="T2" fmla="*/ 121 w 209"/>
                <a:gd name="T3" fmla="*/ 124 h 163"/>
                <a:gd name="T4" fmla="*/ 0 w 209"/>
                <a:gd name="T5" fmla="*/ 31 h 163"/>
                <a:gd name="T6" fmla="*/ 30 w 209"/>
                <a:gd name="T7" fmla="*/ 0 h 163"/>
                <a:gd name="T8" fmla="*/ 120 w 209"/>
                <a:gd name="T9" fmla="*/ 67 h 163"/>
                <a:gd name="T10" fmla="*/ 120 w 209"/>
                <a:gd name="T11" fmla="*/ 67 h 163"/>
                <a:gd name="T12" fmla="*/ 121 w 209"/>
                <a:gd name="T13" fmla="*/ 67 h 163"/>
                <a:gd name="T14" fmla="*/ 198 w 209"/>
                <a:gd name="T15" fmla="*/ 101 h 163"/>
                <a:gd name="T16" fmla="*/ 209 w 209"/>
                <a:gd name="T1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163">
                  <a:moveTo>
                    <a:pt x="209" y="163"/>
                  </a:moveTo>
                  <a:cubicBezTo>
                    <a:pt x="181" y="155"/>
                    <a:pt x="151" y="142"/>
                    <a:pt x="121" y="124"/>
                  </a:cubicBezTo>
                  <a:cubicBezTo>
                    <a:pt x="79" y="99"/>
                    <a:pt x="38" y="68"/>
                    <a:pt x="0" y="31"/>
                  </a:cubicBezTo>
                  <a:lnTo>
                    <a:pt x="30" y="0"/>
                  </a:lnTo>
                  <a:cubicBezTo>
                    <a:pt x="59" y="26"/>
                    <a:pt x="89" y="49"/>
                    <a:pt x="120" y="67"/>
                  </a:cubicBezTo>
                  <a:cubicBezTo>
                    <a:pt x="120" y="67"/>
                    <a:pt x="120" y="67"/>
                    <a:pt x="120" y="67"/>
                  </a:cubicBezTo>
                  <a:cubicBezTo>
                    <a:pt x="121" y="67"/>
                    <a:pt x="121" y="67"/>
                    <a:pt x="121" y="67"/>
                  </a:cubicBezTo>
                  <a:cubicBezTo>
                    <a:pt x="148" y="82"/>
                    <a:pt x="173" y="94"/>
                    <a:pt x="198" y="101"/>
                  </a:cubicBezTo>
                  <a:lnTo>
                    <a:pt x="209" y="163"/>
                  </a:lnTo>
                  <a:close/>
                </a:path>
              </a:pathLst>
            </a:custGeom>
            <a:solidFill>
              <a:srgbClr val="C1D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609">
              <a:extLst>
                <a:ext uri="{FF2B5EF4-FFF2-40B4-BE49-F238E27FC236}">
                  <a16:creationId xmlns:a16="http://schemas.microsoft.com/office/drawing/2014/main" id="{5E1DD589-A416-4D3D-9E5E-708550585677}"/>
                </a:ext>
              </a:extLst>
            </p:cNvPr>
            <p:cNvSpPr>
              <a:spLocks noEditPoints="1"/>
            </p:cNvSpPr>
            <p:nvPr/>
          </p:nvSpPr>
          <p:spPr bwMode="auto">
            <a:xfrm>
              <a:off x="7626351" y="3400426"/>
              <a:ext cx="277813" cy="160338"/>
            </a:xfrm>
            <a:custGeom>
              <a:avLst/>
              <a:gdLst>
                <a:gd name="T0" fmla="*/ 0 w 340"/>
                <a:gd name="T1" fmla="*/ 195 h 195"/>
                <a:gd name="T2" fmla="*/ 0 w 340"/>
                <a:gd name="T3" fmla="*/ 194 h 195"/>
                <a:gd name="T4" fmla="*/ 0 w 340"/>
                <a:gd name="T5" fmla="*/ 195 h 195"/>
                <a:gd name="T6" fmla="*/ 340 w 340"/>
                <a:gd name="T7" fmla="*/ 5 h 195"/>
                <a:gd name="T8" fmla="*/ 340 w 340"/>
                <a:gd name="T9" fmla="*/ 5 h 195"/>
                <a:gd name="T10" fmla="*/ 340 w 340"/>
                <a:gd name="T11" fmla="*/ 5 h 195"/>
                <a:gd name="T12" fmla="*/ 339 w 340"/>
                <a:gd name="T13" fmla="*/ 4 h 195"/>
                <a:gd name="T14" fmla="*/ 339 w 340"/>
                <a:gd name="T15" fmla="*/ 4 h 195"/>
                <a:gd name="T16" fmla="*/ 339 w 340"/>
                <a:gd name="T17" fmla="*/ 4 h 195"/>
                <a:gd name="T18" fmla="*/ 338 w 340"/>
                <a:gd name="T19" fmla="*/ 3 h 195"/>
                <a:gd name="T20" fmla="*/ 338 w 340"/>
                <a:gd name="T21" fmla="*/ 3 h 195"/>
                <a:gd name="T22" fmla="*/ 338 w 340"/>
                <a:gd name="T23" fmla="*/ 3 h 195"/>
                <a:gd name="T24" fmla="*/ 337 w 340"/>
                <a:gd name="T25" fmla="*/ 3 h 195"/>
                <a:gd name="T26" fmla="*/ 337 w 340"/>
                <a:gd name="T27" fmla="*/ 3 h 195"/>
                <a:gd name="T28" fmla="*/ 337 w 340"/>
                <a:gd name="T29" fmla="*/ 3 h 195"/>
                <a:gd name="T30" fmla="*/ 337 w 340"/>
                <a:gd name="T31" fmla="*/ 2 h 195"/>
                <a:gd name="T32" fmla="*/ 336 w 340"/>
                <a:gd name="T33" fmla="*/ 2 h 195"/>
                <a:gd name="T34" fmla="*/ 337 w 340"/>
                <a:gd name="T35" fmla="*/ 2 h 195"/>
                <a:gd name="T36" fmla="*/ 336 w 340"/>
                <a:gd name="T37" fmla="*/ 2 h 195"/>
                <a:gd name="T38" fmla="*/ 336 w 340"/>
                <a:gd name="T39" fmla="*/ 2 h 195"/>
                <a:gd name="T40" fmla="*/ 336 w 340"/>
                <a:gd name="T41" fmla="*/ 2 h 195"/>
                <a:gd name="T42" fmla="*/ 335 w 340"/>
                <a:gd name="T43" fmla="*/ 1 h 195"/>
                <a:gd name="T44" fmla="*/ 335 w 340"/>
                <a:gd name="T45" fmla="*/ 1 h 195"/>
                <a:gd name="T46" fmla="*/ 335 w 340"/>
                <a:gd name="T47" fmla="*/ 1 h 195"/>
                <a:gd name="T48" fmla="*/ 334 w 340"/>
                <a:gd name="T49" fmla="*/ 1 h 195"/>
                <a:gd name="T50" fmla="*/ 334 w 340"/>
                <a:gd name="T51" fmla="*/ 1 h 195"/>
                <a:gd name="T52" fmla="*/ 333 w 340"/>
                <a:gd name="T53" fmla="*/ 1 h 195"/>
                <a:gd name="T54" fmla="*/ 334 w 340"/>
                <a:gd name="T55" fmla="*/ 1 h 195"/>
                <a:gd name="T56" fmla="*/ 334 w 340"/>
                <a:gd name="T57" fmla="*/ 1 h 195"/>
                <a:gd name="T58" fmla="*/ 333 w 340"/>
                <a:gd name="T59" fmla="*/ 0 h 195"/>
                <a:gd name="T60" fmla="*/ 333 w 340"/>
                <a:gd name="T61" fmla="*/ 0 h 195"/>
                <a:gd name="T62" fmla="*/ 333 w 340"/>
                <a:gd name="T6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0" h="195">
                  <a:moveTo>
                    <a:pt x="0" y="195"/>
                  </a:moveTo>
                  <a:lnTo>
                    <a:pt x="0" y="194"/>
                  </a:lnTo>
                  <a:lnTo>
                    <a:pt x="0" y="195"/>
                  </a:lnTo>
                  <a:close/>
                  <a:moveTo>
                    <a:pt x="340" y="5"/>
                  </a:moveTo>
                  <a:cubicBezTo>
                    <a:pt x="340" y="5"/>
                    <a:pt x="340" y="5"/>
                    <a:pt x="340" y="5"/>
                  </a:cubicBezTo>
                  <a:cubicBezTo>
                    <a:pt x="340" y="5"/>
                    <a:pt x="340" y="5"/>
                    <a:pt x="340" y="5"/>
                  </a:cubicBezTo>
                  <a:close/>
                  <a:moveTo>
                    <a:pt x="339" y="4"/>
                  </a:moveTo>
                  <a:cubicBezTo>
                    <a:pt x="339" y="4"/>
                    <a:pt x="339" y="4"/>
                    <a:pt x="339" y="4"/>
                  </a:cubicBezTo>
                  <a:cubicBezTo>
                    <a:pt x="339" y="4"/>
                    <a:pt x="339" y="4"/>
                    <a:pt x="339" y="4"/>
                  </a:cubicBezTo>
                  <a:close/>
                  <a:moveTo>
                    <a:pt x="338" y="3"/>
                  </a:moveTo>
                  <a:cubicBezTo>
                    <a:pt x="338" y="3"/>
                    <a:pt x="338" y="3"/>
                    <a:pt x="338" y="3"/>
                  </a:cubicBezTo>
                  <a:cubicBezTo>
                    <a:pt x="338" y="3"/>
                    <a:pt x="338" y="3"/>
                    <a:pt x="338" y="3"/>
                  </a:cubicBezTo>
                  <a:close/>
                  <a:moveTo>
                    <a:pt x="337" y="3"/>
                  </a:moveTo>
                  <a:cubicBezTo>
                    <a:pt x="337" y="3"/>
                    <a:pt x="337" y="3"/>
                    <a:pt x="337" y="3"/>
                  </a:cubicBezTo>
                  <a:cubicBezTo>
                    <a:pt x="337" y="3"/>
                    <a:pt x="337" y="3"/>
                    <a:pt x="337" y="3"/>
                  </a:cubicBezTo>
                  <a:close/>
                  <a:moveTo>
                    <a:pt x="337" y="2"/>
                  </a:moveTo>
                  <a:lnTo>
                    <a:pt x="336" y="2"/>
                  </a:lnTo>
                  <a:lnTo>
                    <a:pt x="337" y="2"/>
                  </a:lnTo>
                  <a:close/>
                  <a:moveTo>
                    <a:pt x="336" y="2"/>
                  </a:moveTo>
                  <a:cubicBezTo>
                    <a:pt x="336" y="2"/>
                    <a:pt x="336" y="2"/>
                    <a:pt x="336" y="2"/>
                  </a:cubicBezTo>
                  <a:cubicBezTo>
                    <a:pt x="336" y="2"/>
                    <a:pt x="336" y="2"/>
                    <a:pt x="336" y="2"/>
                  </a:cubicBezTo>
                  <a:close/>
                  <a:moveTo>
                    <a:pt x="335" y="1"/>
                  </a:moveTo>
                  <a:cubicBezTo>
                    <a:pt x="335" y="1"/>
                    <a:pt x="335" y="1"/>
                    <a:pt x="335" y="1"/>
                  </a:cubicBezTo>
                  <a:cubicBezTo>
                    <a:pt x="335" y="1"/>
                    <a:pt x="335" y="1"/>
                    <a:pt x="335" y="1"/>
                  </a:cubicBezTo>
                  <a:close/>
                  <a:moveTo>
                    <a:pt x="334" y="1"/>
                  </a:moveTo>
                  <a:lnTo>
                    <a:pt x="334" y="1"/>
                  </a:lnTo>
                  <a:cubicBezTo>
                    <a:pt x="334" y="1"/>
                    <a:pt x="334" y="1"/>
                    <a:pt x="333" y="1"/>
                  </a:cubicBezTo>
                  <a:cubicBezTo>
                    <a:pt x="334" y="1"/>
                    <a:pt x="334" y="1"/>
                    <a:pt x="334" y="1"/>
                  </a:cubicBezTo>
                  <a:lnTo>
                    <a:pt x="334" y="1"/>
                  </a:lnTo>
                  <a:close/>
                  <a:moveTo>
                    <a:pt x="333" y="0"/>
                  </a:moveTo>
                  <a:cubicBezTo>
                    <a:pt x="333" y="0"/>
                    <a:pt x="333" y="0"/>
                    <a:pt x="333" y="0"/>
                  </a:cubicBezTo>
                  <a:cubicBezTo>
                    <a:pt x="333" y="0"/>
                    <a:pt x="333" y="0"/>
                    <a:pt x="333" y="0"/>
                  </a:cubicBez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610">
              <a:extLst>
                <a:ext uri="{FF2B5EF4-FFF2-40B4-BE49-F238E27FC236}">
                  <a16:creationId xmlns:a16="http://schemas.microsoft.com/office/drawing/2014/main" id="{360FF80B-136B-4FA7-8456-E9FDEB886B96}"/>
                </a:ext>
              </a:extLst>
            </p:cNvPr>
            <p:cNvSpPr>
              <a:spLocks/>
            </p:cNvSpPr>
            <p:nvPr/>
          </p:nvSpPr>
          <p:spPr bwMode="auto">
            <a:xfrm>
              <a:off x="7586663" y="3311526"/>
              <a:ext cx="193675" cy="381000"/>
            </a:xfrm>
            <a:custGeom>
              <a:avLst/>
              <a:gdLst>
                <a:gd name="T0" fmla="*/ 74 w 237"/>
                <a:gd name="T1" fmla="*/ 464 h 464"/>
                <a:gd name="T2" fmla="*/ 28 w 237"/>
                <a:gd name="T3" fmla="*/ 459 h 464"/>
                <a:gd name="T4" fmla="*/ 0 w 237"/>
                <a:gd name="T5" fmla="*/ 274 h 464"/>
                <a:gd name="T6" fmla="*/ 212 w 237"/>
                <a:gd name="T7" fmla="*/ 0 h 464"/>
                <a:gd name="T8" fmla="*/ 215 w 237"/>
                <a:gd name="T9" fmla="*/ 0 h 464"/>
                <a:gd name="T10" fmla="*/ 237 w 237"/>
                <a:gd name="T11" fmla="*/ 63 h 464"/>
                <a:gd name="T12" fmla="*/ 234 w 237"/>
                <a:gd name="T13" fmla="*/ 63 h 464"/>
                <a:gd name="T14" fmla="*/ 49 w 237"/>
                <a:gd name="T15" fmla="*/ 302 h 464"/>
                <a:gd name="T16" fmla="*/ 49 w 237"/>
                <a:gd name="T17" fmla="*/ 302 h 464"/>
                <a:gd name="T18" fmla="*/ 49 w 237"/>
                <a:gd name="T19" fmla="*/ 302 h 464"/>
                <a:gd name="T20" fmla="*/ 49 w 237"/>
                <a:gd name="T21" fmla="*/ 302 h 464"/>
                <a:gd name="T22" fmla="*/ 49 w 237"/>
                <a:gd name="T23" fmla="*/ 302 h 464"/>
                <a:gd name="T24" fmla="*/ 49 w 237"/>
                <a:gd name="T25" fmla="*/ 303 h 464"/>
                <a:gd name="T26" fmla="*/ 74 w 237"/>
                <a:gd name="T27"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464">
                  <a:moveTo>
                    <a:pt x="74" y="464"/>
                  </a:moveTo>
                  <a:lnTo>
                    <a:pt x="28" y="459"/>
                  </a:lnTo>
                  <a:cubicBezTo>
                    <a:pt x="10" y="397"/>
                    <a:pt x="0" y="333"/>
                    <a:pt x="0" y="274"/>
                  </a:cubicBezTo>
                  <a:cubicBezTo>
                    <a:pt x="0" y="100"/>
                    <a:pt x="86" y="0"/>
                    <a:pt x="212" y="0"/>
                  </a:cubicBezTo>
                  <a:cubicBezTo>
                    <a:pt x="213" y="0"/>
                    <a:pt x="214" y="0"/>
                    <a:pt x="215" y="0"/>
                  </a:cubicBezTo>
                  <a:lnTo>
                    <a:pt x="237" y="63"/>
                  </a:lnTo>
                  <a:cubicBezTo>
                    <a:pt x="236" y="63"/>
                    <a:pt x="235" y="63"/>
                    <a:pt x="234" y="63"/>
                  </a:cubicBezTo>
                  <a:cubicBezTo>
                    <a:pt x="124" y="63"/>
                    <a:pt x="49" y="151"/>
                    <a:pt x="49" y="302"/>
                  </a:cubicBezTo>
                  <a:lnTo>
                    <a:pt x="49" y="302"/>
                  </a:lnTo>
                  <a:lnTo>
                    <a:pt x="49" y="302"/>
                  </a:lnTo>
                  <a:lnTo>
                    <a:pt x="49" y="302"/>
                  </a:lnTo>
                  <a:lnTo>
                    <a:pt x="49" y="302"/>
                  </a:lnTo>
                  <a:lnTo>
                    <a:pt x="49" y="303"/>
                  </a:lnTo>
                  <a:cubicBezTo>
                    <a:pt x="49" y="355"/>
                    <a:pt x="58" y="409"/>
                    <a:pt x="74" y="464"/>
                  </a:cubicBezTo>
                </a:path>
              </a:pathLst>
            </a:custGeom>
            <a:solidFill>
              <a:srgbClr val="7CA3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611">
              <a:extLst>
                <a:ext uri="{FF2B5EF4-FFF2-40B4-BE49-F238E27FC236}">
                  <a16:creationId xmlns:a16="http://schemas.microsoft.com/office/drawing/2014/main" id="{884E5BD5-ED31-42BC-B7D1-588DAB40D34D}"/>
                </a:ext>
              </a:extLst>
            </p:cNvPr>
            <p:cNvSpPr>
              <a:spLocks/>
            </p:cNvSpPr>
            <p:nvPr/>
          </p:nvSpPr>
          <p:spPr bwMode="auto">
            <a:xfrm>
              <a:off x="7762876" y="3311526"/>
              <a:ext cx="204788" cy="117475"/>
            </a:xfrm>
            <a:custGeom>
              <a:avLst/>
              <a:gdLst>
                <a:gd name="T0" fmla="*/ 219 w 251"/>
                <a:gd name="T1" fmla="*/ 142 h 142"/>
                <a:gd name="T2" fmla="*/ 174 w 251"/>
                <a:gd name="T3" fmla="*/ 113 h 142"/>
                <a:gd name="T4" fmla="*/ 174 w 251"/>
                <a:gd name="T5" fmla="*/ 113 h 142"/>
                <a:gd name="T6" fmla="*/ 173 w 251"/>
                <a:gd name="T7" fmla="*/ 112 h 142"/>
                <a:gd name="T8" fmla="*/ 173 w 251"/>
                <a:gd name="T9" fmla="*/ 112 h 142"/>
                <a:gd name="T10" fmla="*/ 172 w 251"/>
                <a:gd name="T11" fmla="*/ 111 h 142"/>
                <a:gd name="T12" fmla="*/ 172 w 251"/>
                <a:gd name="T13" fmla="*/ 111 h 142"/>
                <a:gd name="T14" fmla="*/ 171 w 251"/>
                <a:gd name="T15" fmla="*/ 111 h 142"/>
                <a:gd name="T16" fmla="*/ 171 w 251"/>
                <a:gd name="T17" fmla="*/ 111 h 142"/>
                <a:gd name="T18" fmla="*/ 171 w 251"/>
                <a:gd name="T19" fmla="*/ 110 h 142"/>
                <a:gd name="T20" fmla="*/ 170 w 251"/>
                <a:gd name="T21" fmla="*/ 110 h 142"/>
                <a:gd name="T22" fmla="*/ 170 w 251"/>
                <a:gd name="T23" fmla="*/ 110 h 142"/>
                <a:gd name="T24" fmla="*/ 170 w 251"/>
                <a:gd name="T25" fmla="*/ 110 h 142"/>
                <a:gd name="T26" fmla="*/ 169 w 251"/>
                <a:gd name="T27" fmla="*/ 109 h 142"/>
                <a:gd name="T28" fmla="*/ 169 w 251"/>
                <a:gd name="T29" fmla="*/ 109 h 142"/>
                <a:gd name="T30" fmla="*/ 168 w 251"/>
                <a:gd name="T31" fmla="*/ 109 h 142"/>
                <a:gd name="T32" fmla="*/ 168 w 251"/>
                <a:gd name="T33" fmla="*/ 109 h 142"/>
                <a:gd name="T34" fmla="*/ 167 w 251"/>
                <a:gd name="T35" fmla="*/ 109 h 142"/>
                <a:gd name="T36" fmla="*/ 167 w 251"/>
                <a:gd name="T37" fmla="*/ 108 h 142"/>
                <a:gd name="T38" fmla="*/ 167 w 251"/>
                <a:gd name="T39" fmla="*/ 108 h 142"/>
                <a:gd name="T40" fmla="*/ 22 w 251"/>
                <a:gd name="T41" fmla="*/ 63 h 142"/>
                <a:gd name="T42" fmla="*/ 0 w 251"/>
                <a:gd name="T43" fmla="*/ 0 h 142"/>
                <a:gd name="T44" fmla="*/ 168 w 251"/>
                <a:gd name="T45" fmla="*/ 52 h 142"/>
                <a:gd name="T46" fmla="*/ 251 w 251"/>
                <a:gd name="T47" fmla="*/ 110 h 142"/>
                <a:gd name="T48" fmla="*/ 219 w 251"/>
                <a:gd name="T4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1" h="142">
                  <a:moveTo>
                    <a:pt x="219" y="142"/>
                  </a:moveTo>
                  <a:cubicBezTo>
                    <a:pt x="204" y="132"/>
                    <a:pt x="189" y="122"/>
                    <a:pt x="174" y="113"/>
                  </a:cubicBezTo>
                  <a:cubicBezTo>
                    <a:pt x="174" y="113"/>
                    <a:pt x="174" y="113"/>
                    <a:pt x="174" y="113"/>
                  </a:cubicBezTo>
                  <a:cubicBezTo>
                    <a:pt x="174" y="112"/>
                    <a:pt x="173" y="112"/>
                    <a:pt x="173" y="112"/>
                  </a:cubicBezTo>
                  <a:cubicBezTo>
                    <a:pt x="173" y="112"/>
                    <a:pt x="173" y="112"/>
                    <a:pt x="173" y="112"/>
                  </a:cubicBezTo>
                  <a:cubicBezTo>
                    <a:pt x="172" y="112"/>
                    <a:pt x="172" y="111"/>
                    <a:pt x="172" y="111"/>
                  </a:cubicBezTo>
                  <a:cubicBezTo>
                    <a:pt x="172" y="111"/>
                    <a:pt x="172" y="111"/>
                    <a:pt x="172" y="111"/>
                  </a:cubicBezTo>
                  <a:cubicBezTo>
                    <a:pt x="172" y="111"/>
                    <a:pt x="172" y="111"/>
                    <a:pt x="171" y="111"/>
                  </a:cubicBezTo>
                  <a:cubicBezTo>
                    <a:pt x="171" y="111"/>
                    <a:pt x="171" y="111"/>
                    <a:pt x="171" y="111"/>
                  </a:cubicBezTo>
                  <a:cubicBezTo>
                    <a:pt x="171" y="111"/>
                    <a:pt x="171" y="111"/>
                    <a:pt x="171" y="110"/>
                  </a:cubicBezTo>
                  <a:lnTo>
                    <a:pt x="170" y="110"/>
                  </a:lnTo>
                  <a:cubicBezTo>
                    <a:pt x="170" y="110"/>
                    <a:pt x="170" y="110"/>
                    <a:pt x="170" y="110"/>
                  </a:cubicBezTo>
                  <a:cubicBezTo>
                    <a:pt x="170" y="110"/>
                    <a:pt x="170" y="110"/>
                    <a:pt x="170" y="110"/>
                  </a:cubicBezTo>
                  <a:cubicBezTo>
                    <a:pt x="169" y="110"/>
                    <a:pt x="169" y="110"/>
                    <a:pt x="169" y="109"/>
                  </a:cubicBezTo>
                  <a:cubicBezTo>
                    <a:pt x="169" y="109"/>
                    <a:pt x="169" y="109"/>
                    <a:pt x="169" y="109"/>
                  </a:cubicBezTo>
                  <a:cubicBezTo>
                    <a:pt x="169" y="109"/>
                    <a:pt x="168" y="109"/>
                    <a:pt x="168" y="109"/>
                  </a:cubicBezTo>
                  <a:lnTo>
                    <a:pt x="168" y="109"/>
                  </a:lnTo>
                  <a:cubicBezTo>
                    <a:pt x="168" y="109"/>
                    <a:pt x="168" y="109"/>
                    <a:pt x="167" y="109"/>
                  </a:cubicBezTo>
                  <a:lnTo>
                    <a:pt x="167" y="108"/>
                  </a:lnTo>
                  <a:cubicBezTo>
                    <a:pt x="167" y="108"/>
                    <a:pt x="167" y="108"/>
                    <a:pt x="167" y="108"/>
                  </a:cubicBezTo>
                  <a:cubicBezTo>
                    <a:pt x="115" y="78"/>
                    <a:pt x="66" y="64"/>
                    <a:pt x="22" y="63"/>
                  </a:cubicBezTo>
                  <a:lnTo>
                    <a:pt x="0" y="0"/>
                  </a:lnTo>
                  <a:cubicBezTo>
                    <a:pt x="51" y="1"/>
                    <a:pt x="108" y="17"/>
                    <a:pt x="168" y="52"/>
                  </a:cubicBezTo>
                  <a:cubicBezTo>
                    <a:pt x="197" y="69"/>
                    <a:pt x="224" y="88"/>
                    <a:pt x="251" y="110"/>
                  </a:cubicBezTo>
                  <a:cubicBezTo>
                    <a:pt x="240" y="121"/>
                    <a:pt x="229" y="132"/>
                    <a:pt x="219" y="142"/>
                  </a:cubicBezTo>
                </a:path>
              </a:pathLst>
            </a:custGeom>
            <a:solidFill>
              <a:srgbClr val="B04B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1612">
              <a:extLst>
                <a:ext uri="{FF2B5EF4-FFF2-40B4-BE49-F238E27FC236}">
                  <a16:creationId xmlns:a16="http://schemas.microsoft.com/office/drawing/2014/main" id="{3B4F6B04-E0CD-4B50-844C-952DC67AEA27}"/>
                </a:ext>
              </a:extLst>
            </p:cNvPr>
            <p:cNvSpPr>
              <a:spLocks/>
            </p:cNvSpPr>
            <p:nvPr/>
          </p:nvSpPr>
          <p:spPr bwMode="auto">
            <a:xfrm>
              <a:off x="7608888" y="3687763"/>
              <a:ext cx="46038" cy="53975"/>
            </a:xfrm>
            <a:custGeom>
              <a:avLst/>
              <a:gdLst>
                <a:gd name="T0" fmla="*/ 23 w 55"/>
                <a:gd name="T1" fmla="*/ 66 h 66"/>
                <a:gd name="T2" fmla="*/ 0 w 55"/>
                <a:gd name="T3" fmla="*/ 0 h 66"/>
                <a:gd name="T4" fmla="*/ 46 w 55"/>
                <a:gd name="T5" fmla="*/ 5 h 66"/>
                <a:gd name="T6" fmla="*/ 55 w 55"/>
                <a:gd name="T7" fmla="*/ 34 h 66"/>
                <a:gd name="T8" fmla="*/ 23 w 55"/>
                <a:gd name="T9" fmla="*/ 66 h 66"/>
              </a:gdLst>
              <a:ahLst/>
              <a:cxnLst>
                <a:cxn ang="0">
                  <a:pos x="T0" y="T1"/>
                </a:cxn>
                <a:cxn ang="0">
                  <a:pos x="T2" y="T3"/>
                </a:cxn>
                <a:cxn ang="0">
                  <a:pos x="T4" y="T5"/>
                </a:cxn>
                <a:cxn ang="0">
                  <a:pos x="T6" y="T7"/>
                </a:cxn>
                <a:cxn ang="0">
                  <a:pos x="T8" y="T9"/>
                </a:cxn>
              </a:cxnLst>
              <a:rect l="0" t="0" r="r" b="b"/>
              <a:pathLst>
                <a:path w="55" h="66">
                  <a:moveTo>
                    <a:pt x="23" y="66"/>
                  </a:moveTo>
                  <a:cubicBezTo>
                    <a:pt x="15" y="44"/>
                    <a:pt x="7" y="22"/>
                    <a:pt x="0" y="0"/>
                  </a:cubicBezTo>
                  <a:lnTo>
                    <a:pt x="46" y="5"/>
                  </a:lnTo>
                  <a:cubicBezTo>
                    <a:pt x="49" y="15"/>
                    <a:pt x="52" y="24"/>
                    <a:pt x="55" y="34"/>
                  </a:cubicBezTo>
                  <a:lnTo>
                    <a:pt x="23" y="66"/>
                  </a:lnTo>
                </a:path>
              </a:pathLst>
            </a:custGeom>
            <a:solidFill>
              <a:srgbClr val="C1D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613">
              <a:extLst>
                <a:ext uri="{FF2B5EF4-FFF2-40B4-BE49-F238E27FC236}">
                  <a16:creationId xmlns:a16="http://schemas.microsoft.com/office/drawing/2014/main" id="{D3C27636-E7B9-4FC7-9788-995781B34A1C}"/>
                </a:ext>
              </a:extLst>
            </p:cNvPr>
            <p:cNvSpPr>
              <a:spLocks/>
            </p:cNvSpPr>
            <p:nvPr/>
          </p:nvSpPr>
          <p:spPr bwMode="auto">
            <a:xfrm>
              <a:off x="7713663" y="3441701"/>
              <a:ext cx="373063" cy="552450"/>
            </a:xfrm>
            <a:custGeom>
              <a:avLst/>
              <a:gdLst>
                <a:gd name="T0" fmla="*/ 228 w 457"/>
                <a:gd name="T1" fmla="*/ 601 h 674"/>
                <a:gd name="T2" fmla="*/ 0 w 457"/>
                <a:gd name="T3" fmla="*/ 205 h 674"/>
                <a:gd name="T4" fmla="*/ 228 w 457"/>
                <a:gd name="T5" fmla="*/ 73 h 674"/>
                <a:gd name="T6" fmla="*/ 457 w 457"/>
                <a:gd name="T7" fmla="*/ 469 h 674"/>
                <a:gd name="T8" fmla="*/ 228 w 457"/>
                <a:gd name="T9" fmla="*/ 601 h 674"/>
              </a:gdLst>
              <a:ahLst/>
              <a:cxnLst>
                <a:cxn ang="0">
                  <a:pos x="T0" y="T1"/>
                </a:cxn>
                <a:cxn ang="0">
                  <a:pos x="T2" y="T3"/>
                </a:cxn>
                <a:cxn ang="0">
                  <a:pos x="T4" y="T5"/>
                </a:cxn>
                <a:cxn ang="0">
                  <a:pos x="T6" y="T7"/>
                </a:cxn>
                <a:cxn ang="0">
                  <a:pos x="T8" y="T9"/>
                </a:cxn>
              </a:cxnLst>
              <a:rect l="0" t="0" r="r" b="b"/>
              <a:pathLst>
                <a:path w="457" h="674">
                  <a:moveTo>
                    <a:pt x="228" y="601"/>
                  </a:moveTo>
                  <a:cubicBezTo>
                    <a:pt x="102" y="528"/>
                    <a:pt x="0" y="351"/>
                    <a:pt x="0" y="205"/>
                  </a:cubicBezTo>
                  <a:cubicBezTo>
                    <a:pt x="0" y="59"/>
                    <a:pt x="102" y="0"/>
                    <a:pt x="228" y="73"/>
                  </a:cubicBezTo>
                  <a:cubicBezTo>
                    <a:pt x="354" y="146"/>
                    <a:pt x="457" y="323"/>
                    <a:pt x="457" y="469"/>
                  </a:cubicBezTo>
                  <a:cubicBezTo>
                    <a:pt x="457" y="615"/>
                    <a:pt x="354" y="674"/>
                    <a:pt x="228" y="601"/>
                  </a:cubicBezTo>
                  <a:close/>
                </a:path>
              </a:pathLst>
            </a:custGeom>
            <a:solidFill>
              <a:srgbClr val="AF90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614">
              <a:extLst>
                <a:ext uri="{FF2B5EF4-FFF2-40B4-BE49-F238E27FC236}">
                  <a16:creationId xmlns:a16="http://schemas.microsoft.com/office/drawing/2014/main" id="{3891E02F-EEC8-409C-9A02-6BBBCA23903F}"/>
                </a:ext>
              </a:extLst>
            </p:cNvPr>
            <p:cNvSpPr>
              <a:spLocks/>
            </p:cNvSpPr>
            <p:nvPr/>
          </p:nvSpPr>
          <p:spPr bwMode="auto">
            <a:xfrm>
              <a:off x="8196263" y="3397251"/>
              <a:ext cx="439738" cy="293688"/>
            </a:xfrm>
            <a:custGeom>
              <a:avLst/>
              <a:gdLst>
                <a:gd name="T0" fmla="*/ 513 w 536"/>
                <a:gd name="T1" fmla="*/ 351 h 358"/>
                <a:gd name="T2" fmla="*/ 23 w 536"/>
                <a:gd name="T3" fmla="*/ 68 h 358"/>
                <a:gd name="T4" fmla="*/ 0 w 536"/>
                <a:gd name="T5" fmla="*/ 25 h 358"/>
                <a:gd name="T6" fmla="*/ 23 w 536"/>
                <a:gd name="T7" fmla="*/ 7 h 358"/>
                <a:gd name="T8" fmla="*/ 513 w 536"/>
                <a:gd name="T9" fmla="*/ 290 h 358"/>
                <a:gd name="T10" fmla="*/ 536 w 536"/>
                <a:gd name="T11" fmla="*/ 334 h 358"/>
                <a:gd name="T12" fmla="*/ 513 w 536"/>
                <a:gd name="T13" fmla="*/ 351 h 358"/>
              </a:gdLst>
              <a:ahLst/>
              <a:cxnLst>
                <a:cxn ang="0">
                  <a:pos x="T0" y="T1"/>
                </a:cxn>
                <a:cxn ang="0">
                  <a:pos x="T2" y="T3"/>
                </a:cxn>
                <a:cxn ang="0">
                  <a:pos x="T4" y="T5"/>
                </a:cxn>
                <a:cxn ang="0">
                  <a:pos x="T6" y="T7"/>
                </a:cxn>
                <a:cxn ang="0">
                  <a:pos x="T8" y="T9"/>
                </a:cxn>
                <a:cxn ang="0">
                  <a:pos x="T10" y="T11"/>
                </a:cxn>
                <a:cxn ang="0">
                  <a:pos x="T12" y="T13"/>
                </a:cxn>
              </a:cxnLst>
              <a:rect l="0" t="0" r="r" b="b"/>
              <a:pathLst>
                <a:path w="536" h="358">
                  <a:moveTo>
                    <a:pt x="513" y="351"/>
                  </a:moveTo>
                  <a:lnTo>
                    <a:pt x="23" y="68"/>
                  </a:lnTo>
                  <a:cubicBezTo>
                    <a:pt x="11" y="61"/>
                    <a:pt x="0" y="41"/>
                    <a:pt x="0" y="25"/>
                  </a:cubicBezTo>
                  <a:cubicBezTo>
                    <a:pt x="0" y="8"/>
                    <a:pt x="11" y="0"/>
                    <a:pt x="23" y="7"/>
                  </a:cubicBezTo>
                  <a:lnTo>
                    <a:pt x="513" y="290"/>
                  </a:lnTo>
                  <a:cubicBezTo>
                    <a:pt x="525" y="297"/>
                    <a:pt x="536" y="317"/>
                    <a:pt x="536" y="334"/>
                  </a:cubicBezTo>
                  <a:cubicBezTo>
                    <a:pt x="536" y="350"/>
                    <a:pt x="525" y="358"/>
                    <a:pt x="513" y="351"/>
                  </a:cubicBezTo>
                  <a:close/>
                </a:path>
              </a:pathLst>
            </a:custGeom>
            <a:solidFill>
              <a:srgbClr val="E2D3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615">
              <a:extLst>
                <a:ext uri="{FF2B5EF4-FFF2-40B4-BE49-F238E27FC236}">
                  <a16:creationId xmlns:a16="http://schemas.microsoft.com/office/drawing/2014/main" id="{8E213ECD-6E89-4140-B1D5-8F1F9EF7BFB5}"/>
                </a:ext>
              </a:extLst>
            </p:cNvPr>
            <p:cNvSpPr>
              <a:spLocks/>
            </p:cNvSpPr>
            <p:nvPr/>
          </p:nvSpPr>
          <p:spPr bwMode="auto">
            <a:xfrm>
              <a:off x="8332788" y="3665538"/>
              <a:ext cx="303213" cy="214313"/>
            </a:xfrm>
            <a:custGeom>
              <a:avLst/>
              <a:gdLst>
                <a:gd name="T0" fmla="*/ 347 w 370"/>
                <a:gd name="T1" fmla="*/ 255 h 262"/>
                <a:gd name="T2" fmla="*/ 23 w 370"/>
                <a:gd name="T3" fmla="*/ 68 h 262"/>
                <a:gd name="T4" fmla="*/ 0 w 370"/>
                <a:gd name="T5" fmla="*/ 24 h 262"/>
                <a:gd name="T6" fmla="*/ 23 w 370"/>
                <a:gd name="T7" fmla="*/ 7 h 262"/>
                <a:gd name="T8" fmla="*/ 347 w 370"/>
                <a:gd name="T9" fmla="*/ 194 h 262"/>
                <a:gd name="T10" fmla="*/ 370 w 370"/>
                <a:gd name="T11" fmla="*/ 238 h 262"/>
                <a:gd name="T12" fmla="*/ 347 w 370"/>
                <a:gd name="T13" fmla="*/ 255 h 262"/>
              </a:gdLst>
              <a:ahLst/>
              <a:cxnLst>
                <a:cxn ang="0">
                  <a:pos x="T0" y="T1"/>
                </a:cxn>
                <a:cxn ang="0">
                  <a:pos x="T2" y="T3"/>
                </a:cxn>
                <a:cxn ang="0">
                  <a:pos x="T4" y="T5"/>
                </a:cxn>
                <a:cxn ang="0">
                  <a:pos x="T6" y="T7"/>
                </a:cxn>
                <a:cxn ang="0">
                  <a:pos x="T8" y="T9"/>
                </a:cxn>
                <a:cxn ang="0">
                  <a:pos x="T10" y="T11"/>
                </a:cxn>
                <a:cxn ang="0">
                  <a:pos x="T12" y="T13"/>
                </a:cxn>
              </a:cxnLst>
              <a:rect l="0" t="0" r="r" b="b"/>
              <a:pathLst>
                <a:path w="370" h="262">
                  <a:moveTo>
                    <a:pt x="347" y="255"/>
                  </a:moveTo>
                  <a:lnTo>
                    <a:pt x="23" y="68"/>
                  </a:lnTo>
                  <a:cubicBezTo>
                    <a:pt x="11" y="61"/>
                    <a:pt x="0" y="41"/>
                    <a:pt x="0" y="24"/>
                  </a:cubicBezTo>
                  <a:cubicBezTo>
                    <a:pt x="0" y="8"/>
                    <a:pt x="11" y="0"/>
                    <a:pt x="23" y="7"/>
                  </a:cubicBezTo>
                  <a:lnTo>
                    <a:pt x="347" y="194"/>
                  </a:lnTo>
                  <a:cubicBezTo>
                    <a:pt x="359" y="201"/>
                    <a:pt x="370" y="221"/>
                    <a:pt x="370" y="238"/>
                  </a:cubicBezTo>
                  <a:cubicBezTo>
                    <a:pt x="370" y="254"/>
                    <a:pt x="359" y="262"/>
                    <a:pt x="347" y="255"/>
                  </a:cubicBezTo>
                </a:path>
              </a:pathLst>
            </a:custGeom>
            <a:solidFill>
              <a:srgbClr val="E2D3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616">
              <a:extLst>
                <a:ext uri="{FF2B5EF4-FFF2-40B4-BE49-F238E27FC236}">
                  <a16:creationId xmlns:a16="http://schemas.microsoft.com/office/drawing/2014/main" id="{1FB5C273-4D8F-4F08-A1CB-7CDE7F19DB89}"/>
                </a:ext>
              </a:extLst>
            </p:cNvPr>
            <p:cNvSpPr>
              <a:spLocks/>
            </p:cNvSpPr>
            <p:nvPr/>
          </p:nvSpPr>
          <p:spPr bwMode="auto">
            <a:xfrm>
              <a:off x="8339138" y="4233863"/>
              <a:ext cx="296863" cy="212725"/>
            </a:xfrm>
            <a:custGeom>
              <a:avLst/>
              <a:gdLst>
                <a:gd name="T0" fmla="*/ 338 w 361"/>
                <a:gd name="T1" fmla="*/ 250 h 258"/>
                <a:gd name="T2" fmla="*/ 23 w 361"/>
                <a:gd name="T3" fmla="*/ 68 h 258"/>
                <a:gd name="T4" fmla="*/ 0 w 361"/>
                <a:gd name="T5" fmla="*/ 25 h 258"/>
                <a:gd name="T6" fmla="*/ 23 w 361"/>
                <a:gd name="T7" fmla="*/ 7 h 258"/>
                <a:gd name="T8" fmla="*/ 338 w 361"/>
                <a:gd name="T9" fmla="*/ 189 h 258"/>
                <a:gd name="T10" fmla="*/ 361 w 361"/>
                <a:gd name="T11" fmla="*/ 233 h 258"/>
                <a:gd name="T12" fmla="*/ 338 w 361"/>
                <a:gd name="T13" fmla="*/ 250 h 258"/>
              </a:gdLst>
              <a:ahLst/>
              <a:cxnLst>
                <a:cxn ang="0">
                  <a:pos x="T0" y="T1"/>
                </a:cxn>
                <a:cxn ang="0">
                  <a:pos x="T2" y="T3"/>
                </a:cxn>
                <a:cxn ang="0">
                  <a:pos x="T4" y="T5"/>
                </a:cxn>
                <a:cxn ang="0">
                  <a:pos x="T6" y="T7"/>
                </a:cxn>
                <a:cxn ang="0">
                  <a:pos x="T8" y="T9"/>
                </a:cxn>
                <a:cxn ang="0">
                  <a:pos x="T10" y="T11"/>
                </a:cxn>
                <a:cxn ang="0">
                  <a:pos x="T12" y="T13"/>
                </a:cxn>
              </a:cxnLst>
              <a:rect l="0" t="0" r="r" b="b"/>
              <a:pathLst>
                <a:path w="361" h="258">
                  <a:moveTo>
                    <a:pt x="338" y="250"/>
                  </a:moveTo>
                  <a:lnTo>
                    <a:pt x="23" y="68"/>
                  </a:lnTo>
                  <a:cubicBezTo>
                    <a:pt x="10" y="61"/>
                    <a:pt x="0" y="41"/>
                    <a:pt x="0" y="25"/>
                  </a:cubicBezTo>
                  <a:cubicBezTo>
                    <a:pt x="0" y="8"/>
                    <a:pt x="10" y="0"/>
                    <a:pt x="23" y="7"/>
                  </a:cubicBezTo>
                  <a:lnTo>
                    <a:pt x="338" y="189"/>
                  </a:lnTo>
                  <a:cubicBezTo>
                    <a:pt x="350" y="197"/>
                    <a:pt x="361" y="216"/>
                    <a:pt x="361" y="233"/>
                  </a:cubicBezTo>
                  <a:cubicBezTo>
                    <a:pt x="361" y="250"/>
                    <a:pt x="350" y="258"/>
                    <a:pt x="338" y="250"/>
                  </a:cubicBezTo>
                  <a:close/>
                </a:path>
              </a:pathLst>
            </a:custGeom>
            <a:solidFill>
              <a:srgbClr val="E2D3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617">
              <a:extLst>
                <a:ext uri="{FF2B5EF4-FFF2-40B4-BE49-F238E27FC236}">
                  <a16:creationId xmlns:a16="http://schemas.microsoft.com/office/drawing/2014/main" id="{B4BB7134-2D13-4AC7-BC76-64645AAD636F}"/>
                </a:ext>
              </a:extLst>
            </p:cNvPr>
            <p:cNvSpPr>
              <a:spLocks/>
            </p:cNvSpPr>
            <p:nvPr/>
          </p:nvSpPr>
          <p:spPr bwMode="auto">
            <a:xfrm>
              <a:off x="8234363" y="4362451"/>
              <a:ext cx="401638" cy="271463"/>
            </a:xfrm>
            <a:custGeom>
              <a:avLst/>
              <a:gdLst>
                <a:gd name="T0" fmla="*/ 467 w 490"/>
                <a:gd name="T1" fmla="*/ 325 h 332"/>
                <a:gd name="T2" fmla="*/ 23 w 490"/>
                <a:gd name="T3" fmla="*/ 69 h 332"/>
                <a:gd name="T4" fmla="*/ 0 w 490"/>
                <a:gd name="T5" fmla="*/ 25 h 332"/>
                <a:gd name="T6" fmla="*/ 23 w 490"/>
                <a:gd name="T7" fmla="*/ 8 h 332"/>
                <a:gd name="T8" fmla="*/ 467 w 490"/>
                <a:gd name="T9" fmla="*/ 264 h 332"/>
                <a:gd name="T10" fmla="*/ 490 w 490"/>
                <a:gd name="T11" fmla="*/ 308 h 332"/>
                <a:gd name="T12" fmla="*/ 467 w 490"/>
                <a:gd name="T13" fmla="*/ 325 h 332"/>
              </a:gdLst>
              <a:ahLst/>
              <a:cxnLst>
                <a:cxn ang="0">
                  <a:pos x="T0" y="T1"/>
                </a:cxn>
                <a:cxn ang="0">
                  <a:pos x="T2" y="T3"/>
                </a:cxn>
                <a:cxn ang="0">
                  <a:pos x="T4" y="T5"/>
                </a:cxn>
                <a:cxn ang="0">
                  <a:pos x="T6" y="T7"/>
                </a:cxn>
                <a:cxn ang="0">
                  <a:pos x="T8" y="T9"/>
                </a:cxn>
                <a:cxn ang="0">
                  <a:pos x="T10" y="T11"/>
                </a:cxn>
                <a:cxn ang="0">
                  <a:pos x="T12" y="T13"/>
                </a:cxn>
              </a:cxnLst>
              <a:rect l="0" t="0" r="r" b="b"/>
              <a:pathLst>
                <a:path w="490" h="332">
                  <a:moveTo>
                    <a:pt x="467" y="325"/>
                  </a:moveTo>
                  <a:lnTo>
                    <a:pt x="23" y="69"/>
                  </a:lnTo>
                  <a:cubicBezTo>
                    <a:pt x="10" y="61"/>
                    <a:pt x="0" y="42"/>
                    <a:pt x="0" y="25"/>
                  </a:cubicBezTo>
                  <a:cubicBezTo>
                    <a:pt x="0" y="8"/>
                    <a:pt x="10" y="0"/>
                    <a:pt x="23" y="8"/>
                  </a:cubicBezTo>
                  <a:lnTo>
                    <a:pt x="467" y="264"/>
                  </a:lnTo>
                  <a:cubicBezTo>
                    <a:pt x="479" y="271"/>
                    <a:pt x="490" y="291"/>
                    <a:pt x="490" y="308"/>
                  </a:cubicBezTo>
                  <a:cubicBezTo>
                    <a:pt x="490" y="325"/>
                    <a:pt x="479" y="332"/>
                    <a:pt x="467" y="325"/>
                  </a:cubicBezTo>
                </a:path>
              </a:pathLst>
            </a:custGeom>
            <a:solidFill>
              <a:srgbClr val="E2D3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618">
              <a:extLst>
                <a:ext uri="{FF2B5EF4-FFF2-40B4-BE49-F238E27FC236}">
                  <a16:creationId xmlns:a16="http://schemas.microsoft.com/office/drawing/2014/main" id="{7E8CC925-BE9C-43AF-B458-7756226A9576}"/>
                </a:ext>
              </a:extLst>
            </p:cNvPr>
            <p:cNvSpPr>
              <a:spLocks/>
            </p:cNvSpPr>
            <p:nvPr/>
          </p:nvSpPr>
          <p:spPr bwMode="auto">
            <a:xfrm>
              <a:off x="8391526" y="4076701"/>
              <a:ext cx="244475" cy="180975"/>
            </a:xfrm>
            <a:custGeom>
              <a:avLst/>
              <a:gdLst>
                <a:gd name="T0" fmla="*/ 274 w 297"/>
                <a:gd name="T1" fmla="*/ 212 h 220"/>
                <a:gd name="T2" fmla="*/ 23 w 297"/>
                <a:gd name="T3" fmla="*/ 68 h 220"/>
                <a:gd name="T4" fmla="*/ 0 w 297"/>
                <a:gd name="T5" fmla="*/ 24 h 220"/>
                <a:gd name="T6" fmla="*/ 23 w 297"/>
                <a:gd name="T7" fmla="*/ 7 h 220"/>
                <a:gd name="T8" fmla="*/ 274 w 297"/>
                <a:gd name="T9" fmla="*/ 152 h 220"/>
                <a:gd name="T10" fmla="*/ 297 w 297"/>
                <a:gd name="T11" fmla="*/ 195 h 220"/>
                <a:gd name="T12" fmla="*/ 274 w 297"/>
                <a:gd name="T13" fmla="*/ 212 h 220"/>
              </a:gdLst>
              <a:ahLst/>
              <a:cxnLst>
                <a:cxn ang="0">
                  <a:pos x="T0" y="T1"/>
                </a:cxn>
                <a:cxn ang="0">
                  <a:pos x="T2" y="T3"/>
                </a:cxn>
                <a:cxn ang="0">
                  <a:pos x="T4" y="T5"/>
                </a:cxn>
                <a:cxn ang="0">
                  <a:pos x="T6" y="T7"/>
                </a:cxn>
                <a:cxn ang="0">
                  <a:pos x="T8" y="T9"/>
                </a:cxn>
                <a:cxn ang="0">
                  <a:pos x="T10" y="T11"/>
                </a:cxn>
                <a:cxn ang="0">
                  <a:pos x="T12" y="T13"/>
                </a:cxn>
              </a:cxnLst>
              <a:rect l="0" t="0" r="r" b="b"/>
              <a:pathLst>
                <a:path w="297" h="220">
                  <a:moveTo>
                    <a:pt x="274" y="212"/>
                  </a:moveTo>
                  <a:lnTo>
                    <a:pt x="23" y="68"/>
                  </a:lnTo>
                  <a:cubicBezTo>
                    <a:pt x="11" y="61"/>
                    <a:pt x="0" y="41"/>
                    <a:pt x="0" y="24"/>
                  </a:cubicBezTo>
                  <a:cubicBezTo>
                    <a:pt x="0" y="7"/>
                    <a:pt x="11" y="0"/>
                    <a:pt x="23" y="7"/>
                  </a:cubicBezTo>
                  <a:lnTo>
                    <a:pt x="274" y="152"/>
                  </a:lnTo>
                  <a:cubicBezTo>
                    <a:pt x="286" y="159"/>
                    <a:pt x="297" y="178"/>
                    <a:pt x="297" y="195"/>
                  </a:cubicBezTo>
                  <a:cubicBezTo>
                    <a:pt x="297" y="212"/>
                    <a:pt x="286" y="220"/>
                    <a:pt x="274" y="212"/>
                  </a:cubicBezTo>
                  <a:close/>
                </a:path>
              </a:pathLst>
            </a:custGeom>
            <a:solidFill>
              <a:srgbClr val="E2D3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619">
              <a:extLst>
                <a:ext uri="{FF2B5EF4-FFF2-40B4-BE49-F238E27FC236}">
                  <a16:creationId xmlns:a16="http://schemas.microsoft.com/office/drawing/2014/main" id="{CB230387-5E7A-405A-B6E0-532F28FE7BCC}"/>
                </a:ext>
              </a:extLst>
            </p:cNvPr>
            <p:cNvSpPr>
              <a:spLocks/>
            </p:cNvSpPr>
            <p:nvPr/>
          </p:nvSpPr>
          <p:spPr bwMode="auto">
            <a:xfrm>
              <a:off x="8410576" y="3898901"/>
              <a:ext cx="225425" cy="169863"/>
            </a:xfrm>
            <a:custGeom>
              <a:avLst/>
              <a:gdLst>
                <a:gd name="T0" fmla="*/ 251 w 274"/>
                <a:gd name="T1" fmla="*/ 200 h 207"/>
                <a:gd name="T2" fmla="*/ 23 w 274"/>
                <a:gd name="T3" fmla="*/ 68 h 207"/>
                <a:gd name="T4" fmla="*/ 0 w 274"/>
                <a:gd name="T5" fmla="*/ 24 h 207"/>
                <a:gd name="T6" fmla="*/ 23 w 274"/>
                <a:gd name="T7" fmla="*/ 7 h 207"/>
                <a:gd name="T8" fmla="*/ 251 w 274"/>
                <a:gd name="T9" fmla="*/ 139 h 207"/>
                <a:gd name="T10" fmla="*/ 274 w 274"/>
                <a:gd name="T11" fmla="*/ 182 h 207"/>
                <a:gd name="T12" fmla="*/ 251 w 274"/>
                <a:gd name="T13" fmla="*/ 200 h 207"/>
              </a:gdLst>
              <a:ahLst/>
              <a:cxnLst>
                <a:cxn ang="0">
                  <a:pos x="T0" y="T1"/>
                </a:cxn>
                <a:cxn ang="0">
                  <a:pos x="T2" y="T3"/>
                </a:cxn>
                <a:cxn ang="0">
                  <a:pos x="T4" y="T5"/>
                </a:cxn>
                <a:cxn ang="0">
                  <a:pos x="T6" y="T7"/>
                </a:cxn>
                <a:cxn ang="0">
                  <a:pos x="T8" y="T9"/>
                </a:cxn>
                <a:cxn ang="0">
                  <a:pos x="T10" y="T11"/>
                </a:cxn>
                <a:cxn ang="0">
                  <a:pos x="T12" y="T13"/>
                </a:cxn>
              </a:cxnLst>
              <a:rect l="0" t="0" r="r" b="b"/>
              <a:pathLst>
                <a:path w="274" h="207">
                  <a:moveTo>
                    <a:pt x="251" y="200"/>
                  </a:moveTo>
                  <a:lnTo>
                    <a:pt x="23" y="68"/>
                  </a:lnTo>
                  <a:cubicBezTo>
                    <a:pt x="10" y="61"/>
                    <a:pt x="0" y="41"/>
                    <a:pt x="0" y="24"/>
                  </a:cubicBezTo>
                  <a:cubicBezTo>
                    <a:pt x="0" y="8"/>
                    <a:pt x="10" y="0"/>
                    <a:pt x="23" y="7"/>
                  </a:cubicBezTo>
                  <a:lnTo>
                    <a:pt x="251" y="139"/>
                  </a:lnTo>
                  <a:cubicBezTo>
                    <a:pt x="263" y="146"/>
                    <a:pt x="274" y="166"/>
                    <a:pt x="274" y="182"/>
                  </a:cubicBezTo>
                  <a:cubicBezTo>
                    <a:pt x="274" y="199"/>
                    <a:pt x="263" y="207"/>
                    <a:pt x="251" y="200"/>
                  </a:cubicBezTo>
                  <a:close/>
                </a:path>
              </a:pathLst>
            </a:custGeom>
            <a:solidFill>
              <a:srgbClr val="E2D3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1620">
              <a:extLst>
                <a:ext uri="{FF2B5EF4-FFF2-40B4-BE49-F238E27FC236}">
                  <a16:creationId xmlns:a16="http://schemas.microsoft.com/office/drawing/2014/main" id="{A4A9B304-D088-43FB-8DFC-40394105660A}"/>
                </a:ext>
              </a:extLst>
            </p:cNvPr>
            <p:cNvSpPr>
              <a:spLocks/>
            </p:cNvSpPr>
            <p:nvPr/>
          </p:nvSpPr>
          <p:spPr bwMode="auto">
            <a:xfrm>
              <a:off x="7458076" y="4059238"/>
              <a:ext cx="1177925" cy="852488"/>
            </a:xfrm>
            <a:custGeom>
              <a:avLst/>
              <a:gdLst>
                <a:gd name="T0" fmla="*/ 1390 w 1438"/>
                <a:gd name="T1" fmla="*/ 1024 h 1039"/>
                <a:gd name="T2" fmla="*/ 47 w 1438"/>
                <a:gd name="T3" fmla="*/ 249 h 1039"/>
                <a:gd name="T4" fmla="*/ 0 w 1438"/>
                <a:gd name="T5" fmla="*/ 157 h 1039"/>
                <a:gd name="T6" fmla="*/ 0 w 1438"/>
                <a:gd name="T7" fmla="*/ 51 h 1039"/>
                <a:gd name="T8" fmla="*/ 47 w 1438"/>
                <a:gd name="T9" fmla="*/ 15 h 1039"/>
                <a:gd name="T10" fmla="*/ 1390 w 1438"/>
                <a:gd name="T11" fmla="*/ 790 h 1039"/>
                <a:gd name="T12" fmla="*/ 1438 w 1438"/>
                <a:gd name="T13" fmla="*/ 882 h 1039"/>
                <a:gd name="T14" fmla="*/ 1438 w 1438"/>
                <a:gd name="T15" fmla="*/ 987 h 1039"/>
                <a:gd name="T16" fmla="*/ 1390 w 1438"/>
                <a:gd name="T17" fmla="*/ 1024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8" h="1039">
                  <a:moveTo>
                    <a:pt x="1390" y="1024"/>
                  </a:moveTo>
                  <a:lnTo>
                    <a:pt x="47" y="249"/>
                  </a:lnTo>
                  <a:cubicBezTo>
                    <a:pt x="21" y="233"/>
                    <a:pt x="0" y="192"/>
                    <a:pt x="0" y="157"/>
                  </a:cubicBezTo>
                  <a:lnTo>
                    <a:pt x="0" y="51"/>
                  </a:lnTo>
                  <a:cubicBezTo>
                    <a:pt x="0" y="16"/>
                    <a:pt x="21" y="0"/>
                    <a:pt x="47" y="15"/>
                  </a:cubicBezTo>
                  <a:lnTo>
                    <a:pt x="1390" y="790"/>
                  </a:lnTo>
                  <a:cubicBezTo>
                    <a:pt x="1416" y="805"/>
                    <a:pt x="1438" y="846"/>
                    <a:pt x="1438" y="882"/>
                  </a:cubicBezTo>
                  <a:lnTo>
                    <a:pt x="1438" y="987"/>
                  </a:lnTo>
                  <a:cubicBezTo>
                    <a:pt x="1438" y="1023"/>
                    <a:pt x="1416" y="1039"/>
                    <a:pt x="1390" y="1024"/>
                  </a:cubicBezTo>
                  <a:close/>
                </a:path>
              </a:pathLst>
            </a:custGeom>
            <a:solidFill>
              <a:srgbClr val="AF90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621">
              <a:extLst>
                <a:ext uri="{FF2B5EF4-FFF2-40B4-BE49-F238E27FC236}">
                  <a16:creationId xmlns:a16="http://schemas.microsoft.com/office/drawing/2014/main" id="{955530C8-4B07-4724-A997-22AFED3D676A}"/>
                </a:ext>
              </a:extLst>
            </p:cNvPr>
            <p:cNvSpPr>
              <a:spLocks/>
            </p:cNvSpPr>
            <p:nvPr/>
          </p:nvSpPr>
          <p:spPr bwMode="auto">
            <a:xfrm>
              <a:off x="7578726" y="4392613"/>
              <a:ext cx="935038" cy="585788"/>
            </a:xfrm>
            <a:custGeom>
              <a:avLst/>
              <a:gdLst>
                <a:gd name="T0" fmla="*/ 1119 w 1142"/>
                <a:gd name="T1" fmla="*/ 707 h 715"/>
                <a:gd name="T2" fmla="*/ 22 w 1142"/>
                <a:gd name="T3" fmla="*/ 74 h 715"/>
                <a:gd name="T4" fmla="*/ 0 w 1142"/>
                <a:gd name="T5" fmla="*/ 31 h 715"/>
                <a:gd name="T6" fmla="*/ 0 w 1142"/>
                <a:gd name="T7" fmla="*/ 25 h 715"/>
                <a:gd name="T8" fmla="*/ 22 w 1142"/>
                <a:gd name="T9" fmla="*/ 8 h 715"/>
                <a:gd name="T10" fmla="*/ 1119 w 1142"/>
                <a:gd name="T11" fmla="*/ 641 h 715"/>
                <a:gd name="T12" fmla="*/ 1142 w 1142"/>
                <a:gd name="T13" fmla="*/ 684 h 715"/>
                <a:gd name="T14" fmla="*/ 1142 w 1142"/>
                <a:gd name="T15" fmla="*/ 690 h 715"/>
                <a:gd name="T16" fmla="*/ 1119 w 1142"/>
                <a:gd name="T17" fmla="*/ 707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2" h="715">
                  <a:moveTo>
                    <a:pt x="1119" y="707"/>
                  </a:moveTo>
                  <a:lnTo>
                    <a:pt x="22" y="74"/>
                  </a:lnTo>
                  <a:cubicBezTo>
                    <a:pt x="10" y="67"/>
                    <a:pt x="0" y="48"/>
                    <a:pt x="0" y="31"/>
                  </a:cubicBezTo>
                  <a:lnTo>
                    <a:pt x="0" y="25"/>
                  </a:lnTo>
                  <a:cubicBezTo>
                    <a:pt x="0" y="8"/>
                    <a:pt x="10" y="0"/>
                    <a:pt x="22" y="8"/>
                  </a:cubicBezTo>
                  <a:lnTo>
                    <a:pt x="1119" y="641"/>
                  </a:lnTo>
                  <a:cubicBezTo>
                    <a:pt x="1131" y="648"/>
                    <a:pt x="1142" y="667"/>
                    <a:pt x="1142" y="684"/>
                  </a:cubicBezTo>
                  <a:lnTo>
                    <a:pt x="1142" y="690"/>
                  </a:lnTo>
                  <a:cubicBezTo>
                    <a:pt x="1142" y="707"/>
                    <a:pt x="1131" y="715"/>
                    <a:pt x="1119" y="707"/>
                  </a:cubicBezTo>
                  <a:close/>
                </a:path>
              </a:pathLst>
            </a:custGeom>
            <a:solidFill>
              <a:srgbClr val="AF90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622">
              <a:extLst>
                <a:ext uri="{FF2B5EF4-FFF2-40B4-BE49-F238E27FC236}">
                  <a16:creationId xmlns:a16="http://schemas.microsoft.com/office/drawing/2014/main" id="{8ACB0496-C8A9-4E68-91A5-5F2B6EDFDF43}"/>
                </a:ext>
              </a:extLst>
            </p:cNvPr>
            <p:cNvSpPr>
              <a:spLocks noEditPoints="1"/>
            </p:cNvSpPr>
            <p:nvPr/>
          </p:nvSpPr>
          <p:spPr bwMode="auto">
            <a:xfrm>
              <a:off x="7265988" y="1382713"/>
              <a:ext cx="38100" cy="85725"/>
            </a:xfrm>
            <a:custGeom>
              <a:avLst/>
              <a:gdLst>
                <a:gd name="T0" fmla="*/ 0 w 46"/>
                <a:gd name="T1" fmla="*/ 104 h 104"/>
                <a:gd name="T2" fmla="*/ 0 w 46"/>
                <a:gd name="T3" fmla="*/ 103 h 104"/>
                <a:gd name="T4" fmla="*/ 0 w 46"/>
                <a:gd name="T5" fmla="*/ 103 h 104"/>
                <a:gd name="T6" fmla="*/ 0 w 46"/>
                <a:gd name="T7" fmla="*/ 104 h 104"/>
                <a:gd name="T8" fmla="*/ 0 w 46"/>
                <a:gd name="T9" fmla="*/ 103 h 104"/>
                <a:gd name="T10" fmla="*/ 0 w 46"/>
                <a:gd name="T11" fmla="*/ 102 h 104"/>
                <a:gd name="T12" fmla="*/ 0 w 46"/>
                <a:gd name="T13" fmla="*/ 102 h 104"/>
                <a:gd name="T14" fmla="*/ 0 w 46"/>
                <a:gd name="T15" fmla="*/ 103 h 104"/>
                <a:gd name="T16" fmla="*/ 0 w 46"/>
                <a:gd name="T17" fmla="*/ 103 h 104"/>
                <a:gd name="T18" fmla="*/ 0 w 46"/>
                <a:gd name="T19" fmla="*/ 102 h 104"/>
                <a:gd name="T20" fmla="*/ 0 w 46"/>
                <a:gd name="T21" fmla="*/ 101 h 104"/>
                <a:gd name="T22" fmla="*/ 0 w 46"/>
                <a:gd name="T23" fmla="*/ 101 h 104"/>
                <a:gd name="T24" fmla="*/ 0 w 46"/>
                <a:gd name="T25" fmla="*/ 102 h 104"/>
                <a:gd name="T26" fmla="*/ 0 w 46"/>
                <a:gd name="T27" fmla="*/ 102 h 104"/>
                <a:gd name="T28" fmla="*/ 0 w 46"/>
                <a:gd name="T29" fmla="*/ 101 h 104"/>
                <a:gd name="T30" fmla="*/ 0 w 46"/>
                <a:gd name="T31" fmla="*/ 100 h 104"/>
                <a:gd name="T32" fmla="*/ 0 w 46"/>
                <a:gd name="T33" fmla="*/ 100 h 104"/>
                <a:gd name="T34" fmla="*/ 0 w 46"/>
                <a:gd name="T35" fmla="*/ 101 h 104"/>
                <a:gd name="T36" fmla="*/ 0 w 46"/>
                <a:gd name="T37" fmla="*/ 101 h 104"/>
                <a:gd name="T38" fmla="*/ 0 w 46"/>
                <a:gd name="T39" fmla="*/ 100 h 104"/>
                <a:gd name="T40" fmla="*/ 0 w 46"/>
                <a:gd name="T41" fmla="*/ 99 h 104"/>
                <a:gd name="T42" fmla="*/ 0 w 46"/>
                <a:gd name="T43" fmla="*/ 99 h 104"/>
                <a:gd name="T44" fmla="*/ 0 w 46"/>
                <a:gd name="T45" fmla="*/ 100 h 104"/>
                <a:gd name="T46" fmla="*/ 0 w 46"/>
                <a:gd name="T47" fmla="*/ 100 h 104"/>
                <a:gd name="T48" fmla="*/ 0 w 46"/>
                <a:gd name="T49" fmla="*/ 98 h 104"/>
                <a:gd name="T50" fmla="*/ 46 w 46"/>
                <a:gd name="T51" fmla="*/ 0 h 104"/>
                <a:gd name="T52" fmla="*/ 46 w 46"/>
                <a:gd name="T53" fmla="*/ 0 h 104"/>
                <a:gd name="T54" fmla="*/ 0 w 46"/>
                <a:gd name="T55" fmla="*/ 97 h 104"/>
                <a:gd name="T56" fmla="*/ 0 w 46"/>
                <a:gd name="T57" fmla="*/ 97 h 104"/>
                <a:gd name="T58" fmla="*/ 0 w 46"/>
                <a:gd name="T59" fmla="*/ 98 h 104"/>
                <a:gd name="T60" fmla="*/ 0 w 46"/>
                <a:gd name="T61" fmla="*/ 9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104">
                  <a:moveTo>
                    <a:pt x="0" y="104"/>
                  </a:moveTo>
                  <a:lnTo>
                    <a:pt x="0" y="103"/>
                  </a:lnTo>
                  <a:lnTo>
                    <a:pt x="0" y="103"/>
                  </a:lnTo>
                  <a:lnTo>
                    <a:pt x="0" y="104"/>
                  </a:lnTo>
                  <a:close/>
                  <a:moveTo>
                    <a:pt x="0" y="103"/>
                  </a:moveTo>
                  <a:lnTo>
                    <a:pt x="0" y="102"/>
                  </a:lnTo>
                  <a:lnTo>
                    <a:pt x="0" y="102"/>
                  </a:lnTo>
                  <a:lnTo>
                    <a:pt x="0" y="103"/>
                  </a:lnTo>
                  <a:lnTo>
                    <a:pt x="0" y="103"/>
                  </a:lnTo>
                  <a:close/>
                  <a:moveTo>
                    <a:pt x="0" y="102"/>
                  </a:moveTo>
                  <a:cubicBezTo>
                    <a:pt x="0" y="102"/>
                    <a:pt x="0" y="101"/>
                    <a:pt x="0" y="101"/>
                  </a:cubicBezTo>
                  <a:lnTo>
                    <a:pt x="0" y="101"/>
                  </a:lnTo>
                  <a:cubicBezTo>
                    <a:pt x="0" y="101"/>
                    <a:pt x="0" y="102"/>
                    <a:pt x="0" y="102"/>
                  </a:cubicBezTo>
                  <a:lnTo>
                    <a:pt x="0" y="102"/>
                  </a:lnTo>
                  <a:close/>
                  <a:moveTo>
                    <a:pt x="0" y="101"/>
                  </a:moveTo>
                  <a:cubicBezTo>
                    <a:pt x="0" y="100"/>
                    <a:pt x="0" y="100"/>
                    <a:pt x="0" y="100"/>
                  </a:cubicBezTo>
                  <a:lnTo>
                    <a:pt x="0" y="100"/>
                  </a:lnTo>
                  <a:cubicBezTo>
                    <a:pt x="0" y="100"/>
                    <a:pt x="0" y="100"/>
                    <a:pt x="0" y="101"/>
                  </a:cubicBezTo>
                  <a:lnTo>
                    <a:pt x="0" y="101"/>
                  </a:lnTo>
                  <a:close/>
                  <a:moveTo>
                    <a:pt x="0" y="100"/>
                  </a:moveTo>
                  <a:cubicBezTo>
                    <a:pt x="0" y="99"/>
                    <a:pt x="0" y="99"/>
                    <a:pt x="0" y="99"/>
                  </a:cubicBezTo>
                  <a:lnTo>
                    <a:pt x="0" y="99"/>
                  </a:lnTo>
                  <a:cubicBezTo>
                    <a:pt x="0" y="99"/>
                    <a:pt x="0" y="99"/>
                    <a:pt x="0" y="100"/>
                  </a:cubicBezTo>
                  <a:lnTo>
                    <a:pt x="0" y="100"/>
                  </a:lnTo>
                  <a:close/>
                  <a:moveTo>
                    <a:pt x="0" y="98"/>
                  </a:moveTo>
                  <a:cubicBezTo>
                    <a:pt x="1" y="49"/>
                    <a:pt x="19" y="14"/>
                    <a:pt x="46" y="0"/>
                  </a:cubicBezTo>
                  <a:lnTo>
                    <a:pt x="46" y="0"/>
                  </a:lnTo>
                  <a:cubicBezTo>
                    <a:pt x="19" y="14"/>
                    <a:pt x="1" y="48"/>
                    <a:pt x="0" y="97"/>
                  </a:cubicBezTo>
                  <a:lnTo>
                    <a:pt x="0" y="97"/>
                  </a:lnTo>
                  <a:cubicBezTo>
                    <a:pt x="0" y="98"/>
                    <a:pt x="0" y="98"/>
                    <a:pt x="0" y="98"/>
                  </a:cubicBezTo>
                  <a:lnTo>
                    <a:pt x="0"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623">
              <a:extLst>
                <a:ext uri="{FF2B5EF4-FFF2-40B4-BE49-F238E27FC236}">
                  <a16:creationId xmlns:a16="http://schemas.microsoft.com/office/drawing/2014/main" id="{BDBD2AA2-3741-4337-AC9C-89EBF12B84B9}"/>
                </a:ext>
              </a:extLst>
            </p:cNvPr>
            <p:cNvSpPr>
              <a:spLocks noEditPoints="1"/>
            </p:cNvSpPr>
            <p:nvPr/>
          </p:nvSpPr>
          <p:spPr bwMode="auto">
            <a:xfrm>
              <a:off x="7265988" y="1376363"/>
              <a:ext cx="514350" cy="249238"/>
            </a:xfrm>
            <a:custGeom>
              <a:avLst/>
              <a:gdLst>
                <a:gd name="T0" fmla="*/ 628 w 628"/>
                <a:gd name="T1" fmla="*/ 304 h 304"/>
                <a:gd name="T2" fmla="*/ 128 w 628"/>
                <a:gd name="T3" fmla="*/ 15 h 304"/>
                <a:gd name="T4" fmla="*/ 628 w 628"/>
                <a:gd name="T5" fmla="*/ 304 h 304"/>
                <a:gd name="T6" fmla="*/ 0 w 628"/>
                <a:gd name="T7" fmla="*/ 111 h 304"/>
                <a:gd name="T8" fmla="*/ 0 w 628"/>
                <a:gd name="T9" fmla="*/ 111 h 304"/>
                <a:gd name="T10" fmla="*/ 0 w 628"/>
                <a:gd name="T11" fmla="*/ 111 h 304"/>
                <a:gd name="T12" fmla="*/ 0 w 628"/>
                <a:gd name="T13" fmla="*/ 111 h 304"/>
                <a:gd name="T14" fmla="*/ 0 w 628"/>
                <a:gd name="T15" fmla="*/ 111 h 304"/>
                <a:gd name="T16" fmla="*/ 0 w 628"/>
                <a:gd name="T17" fmla="*/ 110 h 304"/>
                <a:gd name="T18" fmla="*/ 0 w 628"/>
                <a:gd name="T19" fmla="*/ 110 h 304"/>
                <a:gd name="T20" fmla="*/ 0 w 628"/>
                <a:gd name="T21" fmla="*/ 110 h 304"/>
                <a:gd name="T22" fmla="*/ 0 w 628"/>
                <a:gd name="T23" fmla="*/ 110 h 304"/>
                <a:gd name="T24" fmla="*/ 0 w 628"/>
                <a:gd name="T25" fmla="*/ 110 h 304"/>
                <a:gd name="T26" fmla="*/ 0 w 628"/>
                <a:gd name="T27" fmla="*/ 109 h 304"/>
                <a:gd name="T28" fmla="*/ 0 w 628"/>
                <a:gd name="T29" fmla="*/ 109 h 304"/>
                <a:gd name="T30" fmla="*/ 0 w 628"/>
                <a:gd name="T31" fmla="*/ 109 h 304"/>
                <a:gd name="T32" fmla="*/ 0 w 628"/>
                <a:gd name="T33" fmla="*/ 109 h 304"/>
                <a:gd name="T34" fmla="*/ 0 w 628"/>
                <a:gd name="T35" fmla="*/ 109 h 304"/>
                <a:gd name="T36" fmla="*/ 0 w 628"/>
                <a:gd name="T37" fmla="*/ 108 h 304"/>
                <a:gd name="T38" fmla="*/ 0 w 628"/>
                <a:gd name="T39" fmla="*/ 108 h 304"/>
                <a:gd name="T40" fmla="*/ 0 w 628"/>
                <a:gd name="T41" fmla="*/ 108 h 304"/>
                <a:gd name="T42" fmla="*/ 0 w 628"/>
                <a:gd name="T43" fmla="*/ 108 h 304"/>
                <a:gd name="T44" fmla="*/ 0 w 628"/>
                <a:gd name="T45" fmla="*/ 108 h 304"/>
                <a:gd name="T46" fmla="*/ 0 w 628"/>
                <a:gd name="T47" fmla="*/ 107 h 304"/>
                <a:gd name="T48" fmla="*/ 0 w 628"/>
                <a:gd name="T49" fmla="*/ 107 h 304"/>
                <a:gd name="T50" fmla="*/ 0 w 628"/>
                <a:gd name="T51" fmla="*/ 106 h 304"/>
                <a:gd name="T52" fmla="*/ 0 w 628"/>
                <a:gd name="T53" fmla="*/ 106 h 304"/>
                <a:gd name="T54" fmla="*/ 0 w 628"/>
                <a:gd name="T55" fmla="*/ 107 h 304"/>
                <a:gd name="T56" fmla="*/ 0 w 628"/>
                <a:gd name="T57" fmla="*/ 105 h 304"/>
                <a:gd name="T58" fmla="*/ 0 w 628"/>
                <a:gd name="T59" fmla="*/ 105 h 304"/>
                <a:gd name="T60" fmla="*/ 0 w 628"/>
                <a:gd name="T61" fmla="*/ 105 h 304"/>
                <a:gd name="T62" fmla="*/ 127 w 628"/>
                <a:gd name="T63" fmla="*/ 15 h 304"/>
                <a:gd name="T64" fmla="*/ 126 w 628"/>
                <a:gd name="T65" fmla="*/ 15 h 304"/>
                <a:gd name="T66" fmla="*/ 127 w 628"/>
                <a:gd name="T67" fmla="*/ 15 h 304"/>
                <a:gd name="T68" fmla="*/ 46 w 628"/>
                <a:gd name="T69" fmla="*/ 8 h 304"/>
                <a:gd name="T70" fmla="*/ 46 w 628"/>
                <a:gd name="T71" fmla="*/ 8 h 304"/>
                <a:gd name="T72" fmla="*/ 77 w 628"/>
                <a:gd name="T73" fmla="*/ 0 h 304"/>
                <a:gd name="T74" fmla="*/ 46 w 628"/>
                <a:gd name="T75" fmla="*/ 8 h 304"/>
                <a:gd name="T76" fmla="*/ 77 w 628"/>
                <a:gd name="T77" fmla="*/ 0 h 304"/>
                <a:gd name="T78" fmla="*/ 77 w 628"/>
                <a:gd name="T79" fmla="*/ 0 h 304"/>
                <a:gd name="T80" fmla="*/ 77 w 628"/>
                <a:gd name="T81" fmla="*/ 0 h 304"/>
                <a:gd name="T82" fmla="*/ 77 w 628"/>
                <a:gd name="T83"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304">
                  <a:moveTo>
                    <a:pt x="628" y="304"/>
                  </a:moveTo>
                  <a:lnTo>
                    <a:pt x="128" y="15"/>
                  </a:lnTo>
                  <a:lnTo>
                    <a:pt x="628" y="304"/>
                  </a:lnTo>
                  <a:close/>
                  <a:moveTo>
                    <a:pt x="0" y="111"/>
                  </a:moveTo>
                  <a:lnTo>
                    <a:pt x="0" y="111"/>
                  </a:lnTo>
                  <a:lnTo>
                    <a:pt x="0" y="111"/>
                  </a:lnTo>
                  <a:lnTo>
                    <a:pt x="0" y="111"/>
                  </a:lnTo>
                  <a:lnTo>
                    <a:pt x="0" y="111"/>
                  </a:lnTo>
                  <a:close/>
                  <a:moveTo>
                    <a:pt x="0" y="110"/>
                  </a:moveTo>
                  <a:lnTo>
                    <a:pt x="0" y="110"/>
                  </a:lnTo>
                  <a:lnTo>
                    <a:pt x="0" y="110"/>
                  </a:lnTo>
                  <a:lnTo>
                    <a:pt x="0" y="110"/>
                  </a:lnTo>
                  <a:lnTo>
                    <a:pt x="0" y="110"/>
                  </a:lnTo>
                  <a:close/>
                  <a:moveTo>
                    <a:pt x="0" y="109"/>
                  </a:moveTo>
                  <a:lnTo>
                    <a:pt x="0" y="109"/>
                  </a:lnTo>
                  <a:lnTo>
                    <a:pt x="0" y="109"/>
                  </a:lnTo>
                  <a:lnTo>
                    <a:pt x="0" y="109"/>
                  </a:lnTo>
                  <a:lnTo>
                    <a:pt x="0" y="109"/>
                  </a:lnTo>
                  <a:close/>
                  <a:moveTo>
                    <a:pt x="0" y="108"/>
                  </a:moveTo>
                  <a:lnTo>
                    <a:pt x="0" y="108"/>
                  </a:lnTo>
                  <a:lnTo>
                    <a:pt x="0" y="108"/>
                  </a:lnTo>
                  <a:lnTo>
                    <a:pt x="0" y="108"/>
                  </a:lnTo>
                  <a:lnTo>
                    <a:pt x="0" y="108"/>
                  </a:lnTo>
                  <a:close/>
                  <a:moveTo>
                    <a:pt x="0" y="107"/>
                  </a:moveTo>
                  <a:lnTo>
                    <a:pt x="0" y="107"/>
                  </a:lnTo>
                  <a:cubicBezTo>
                    <a:pt x="0" y="106"/>
                    <a:pt x="0" y="106"/>
                    <a:pt x="0" y="106"/>
                  </a:cubicBezTo>
                  <a:lnTo>
                    <a:pt x="0" y="106"/>
                  </a:lnTo>
                  <a:cubicBezTo>
                    <a:pt x="0" y="106"/>
                    <a:pt x="0" y="107"/>
                    <a:pt x="0" y="107"/>
                  </a:cubicBezTo>
                  <a:moveTo>
                    <a:pt x="0" y="105"/>
                  </a:moveTo>
                  <a:lnTo>
                    <a:pt x="0" y="105"/>
                  </a:lnTo>
                  <a:lnTo>
                    <a:pt x="0" y="105"/>
                  </a:lnTo>
                  <a:close/>
                  <a:moveTo>
                    <a:pt x="127" y="15"/>
                  </a:moveTo>
                  <a:cubicBezTo>
                    <a:pt x="127" y="15"/>
                    <a:pt x="126" y="15"/>
                    <a:pt x="126" y="15"/>
                  </a:cubicBezTo>
                  <a:cubicBezTo>
                    <a:pt x="126" y="15"/>
                    <a:pt x="127" y="15"/>
                    <a:pt x="127" y="15"/>
                  </a:cubicBezTo>
                  <a:close/>
                  <a:moveTo>
                    <a:pt x="46" y="8"/>
                  </a:moveTo>
                  <a:lnTo>
                    <a:pt x="46" y="8"/>
                  </a:lnTo>
                  <a:cubicBezTo>
                    <a:pt x="55" y="3"/>
                    <a:pt x="66" y="0"/>
                    <a:pt x="77" y="0"/>
                  </a:cubicBezTo>
                  <a:cubicBezTo>
                    <a:pt x="66" y="0"/>
                    <a:pt x="55" y="3"/>
                    <a:pt x="46" y="8"/>
                  </a:cubicBezTo>
                  <a:close/>
                  <a:moveTo>
                    <a:pt x="77" y="0"/>
                  </a:moveTo>
                  <a:lnTo>
                    <a:pt x="77" y="0"/>
                  </a:lnTo>
                  <a:lnTo>
                    <a:pt x="77" y="0"/>
                  </a:lnTo>
                  <a:lnTo>
                    <a:pt x="77" y="0"/>
                  </a:lnTo>
                  <a:close/>
                </a:path>
              </a:pathLst>
            </a:custGeom>
            <a:solidFill>
              <a:srgbClr val="604B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1624">
              <a:extLst>
                <a:ext uri="{FF2B5EF4-FFF2-40B4-BE49-F238E27FC236}">
                  <a16:creationId xmlns:a16="http://schemas.microsoft.com/office/drawing/2014/main" id="{44154479-62C2-4205-9C37-8E87F8C3EBE0}"/>
                </a:ext>
              </a:extLst>
            </p:cNvPr>
            <p:cNvSpPr>
              <a:spLocks/>
            </p:cNvSpPr>
            <p:nvPr/>
          </p:nvSpPr>
          <p:spPr bwMode="auto">
            <a:xfrm>
              <a:off x="7265988" y="1376363"/>
              <a:ext cx="514350" cy="765175"/>
            </a:xfrm>
            <a:custGeom>
              <a:avLst/>
              <a:gdLst>
                <a:gd name="T0" fmla="*/ 0 w 628"/>
                <a:gd name="T1" fmla="*/ 933 h 933"/>
                <a:gd name="T2" fmla="*/ 0 w 628"/>
                <a:gd name="T3" fmla="*/ 112 h 933"/>
                <a:gd name="T4" fmla="*/ 0 w 628"/>
                <a:gd name="T5" fmla="*/ 111 h 933"/>
                <a:gd name="T6" fmla="*/ 0 w 628"/>
                <a:gd name="T7" fmla="*/ 111 h 933"/>
                <a:gd name="T8" fmla="*/ 0 w 628"/>
                <a:gd name="T9" fmla="*/ 110 h 933"/>
                <a:gd name="T10" fmla="*/ 0 w 628"/>
                <a:gd name="T11" fmla="*/ 110 h 933"/>
                <a:gd name="T12" fmla="*/ 0 w 628"/>
                <a:gd name="T13" fmla="*/ 109 h 933"/>
                <a:gd name="T14" fmla="*/ 0 w 628"/>
                <a:gd name="T15" fmla="*/ 109 h 933"/>
                <a:gd name="T16" fmla="*/ 0 w 628"/>
                <a:gd name="T17" fmla="*/ 108 h 933"/>
                <a:gd name="T18" fmla="*/ 0 w 628"/>
                <a:gd name="T19" fmla="*/ 108 h 933"/>
                <a:gd name="T20" fmla="*/ 0 w 628"/>
                <a:gd name="T21" fmla="*/ 107 h 933"/>
                <a:gd name="T22" fmla="*/ 0 w 628"/>
                <a:gd name="T23" fmla="*/ 106 h 933"/>
                <a:gd name="T24" fmla="*/ 0 w 628"/>
                <a:gd name="T25" fmla="*/ 105 h 933"/>
                <a:gd name="T26" fmla="*/ 0 w 628"/>
                <a:gd name="T27" fmla="*/ 105 h 933"/>
                <a:gd name="T28" fmla="*/ 46 w 628"/>
                <a:gd name="T29" fmla="*/ 8 h 933"/>
                <a:gd name="T30" fmla="*/ 77 w 628"/>
                <a:gd name="T31" fmla="*/ 0 h 933"/>
                <a:gd name="T32" fmla="*/ 77 w 628"/>
                <a:gd name="T33" fmla="*/ 0 h 933"/>
                <a:gd name="T34" fmla="*/ 77 w 628"/>
                <a:gd name="T35" fmla="*/ 0 h 933"/>
                <a:gd name="T36" fmla="*/ 126 w 628"/>
                <a:gd name="T37" fmla="*/ 15 h 933"/>
                <a:gd name="T38" fmla="*/ 127 w 628"/>
                <a:gd name="T39" fmla="*/ 15 h 933"/>
                <a:gd name="T40" fmla="*/ 128 w 628"/>
                <a:gd name="T41" fmla="*/ 15 h 933"/>
                <a:gd name="T42" fmla="*/ 128 w 628"/>
                <a:gd name="T43" fmla="*/ 15 h 933"/>
                <a:gd name="T44" fmla="*/ 628 w 628"/>
                <a:gd name="T45" fmla="*/ 304 h 933"/>
                <a:gd name="T46" fmla="*/ 375 w 628"/>
                <a:gd name="T47" fmla="*/ 558 h 933"/>
                <a:gd name="T48" fmla="*/ 193 w 628"/>
                <a:gd name="T49" fmla="*/ 453 h 933"/>
                <a:gd name="T50" fmla="*/ 175 w 628"/>
                <a:gd name="T51" fmla="*/ 448 h 933"/>
                <a:gd name="T52" fmla="*/ 148 w 628"/>
                <a:gd name="T53" fmla="*/ 487 h 933"/>
                <a:gd name="T54" fmla="*/ 148 w 628"/>
                <a:gd name="T55" fmla="*/ 785 h 933"/>
                <a:gd name="T56" fmla="*/ 0 w 628"/>
                <a:gd name="T5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8" h="933">
                  <a:moveTo>
                    <a:pt x="0" y="933"/>
                  </a:moveTo>
                  <a:lnTo>
                    <a:pt x="0" y="112"/>
                  </a:lnTo>
                  <a:lnTo>
                    <a:pt x="0" y="111"/>
                  </a:lnTo>
                  <a:lnTo>
                    <a:pt x="0" y="111"/>
                  </a:lnTo>
                  <a:lnTo>
                    <a:pt x="0" y="110"/>
                  </a:lnTo>
                  <a:lnTo>
                    <a:pt x="0" y="110"/>
                  </a:lnTo>
                  <a:cubicBezTo>
                    <a:pt x="0" y="110"/>
                    <a:pt x="0" y="109"/>
                    <a:pt x="0" y="109"/>
                  </a:cubicBezTo>
                  <a:lnTo>
                    <a:pt x="0" y="109"/>
                  </a:lnTo>
                  <a:cubicBezTo>
                    <a:pt x="0" y="108"/>
                    <a:pt x="0" y="108"/>
                    <a:pt x="0" y="108"/>
                  </a:cubicBezTo>
                  <a:lnTo>
                    <a:pt x="0" y="108"/>
                  </a:lnTo>
                  <a:cubicBezTo>
                    <a:pt x="0" y="107"/>
                    <a:pt x="0" y="107"/>
                    <a:pt x="0" y="107"/>
                  </a:cubicBezTo>
                  <a:cubicBezTo>
                    <a:pt x="0" y="107"/>
                    <a:pt x="0" y="106"/>
                    <a:pt x="0" y="106"/>
                  </a:cubicBezTo>
                  <a:cubicBezTo>
                    <a:pt x="0" y="106"/>
                    <a:pt x="0" y="106"/>
                    <a:pt x="0" y="105"/>
                  </a:cubicBezTo>
                  <a:lnTo>
                    <a:pt x="0" y="105"/>
                  </a:lnTo>
                  <a:cubicBezTo>
                    <a:pt x="1" y="56"/>
                    <a:pt x="19" y="22"/>
                    <a:pt x="46" y="8"/>
                  </a:cubicBezTo>
                  <a:cubicBezTo>
                    <a:pt x="55" y="3"/>
                    <a:pt x="66" y="0"/>
                    <a:pt x="77" y="0"/>
                  </a:cubicBezTo>
                  <a:lnTo>
                    <a:pt x="77" y="0"/>
                  </a:lnTo>
                  <a:lnTo>
                    <a:pt x="77" y="0"/>
                  </a:lnTo>
                  <a:cubicBezTo>
                    <a:pt x="92" y="0"/>
                    <a:pt x="109" y="5"/>
                    <a:pt x="126" y="15"/>
                  </a:cubicBezTo>
                  <a:cubicBezTo>
                    <a:pt x="126" y="15"/>
                    <a:pt x="127" y="15"/>
                    <a:pt x="127" y="15"/>
                  </a:cubicBezTo>
                  <a:lnTo>
                    <a:pt x="128" y="15"/>
                  </a:lnTo>
                  <a:lnTo>
                    <a:pt x="128" y="15"/>
                  </a:lnTo>
                  <a:lnTo>
                    <a:pt x="628" y="304"/>
                  </a:lnTo>
                  <a:lnTo>
                    <a:pt x="375" y="558"/>
                  </a:lnTo>
                  <a:lnTo>
                    <a:pt x="193" y="453"/>
                  </a:lnTo>
                  <a:cubicBezTo>
                    <a:pt x="187" y="449"/>
                    <a:pt x="181" y="448"/>
                    <a:pt x="175" y="448"/>
                  </a:cubicBezTo>
                  <a:cubicBezTo>
                    <a:pt x="159" y="448"/>
                    <a:pt x="148" y="462"/>
                    <a:pt x="148" y="487"/>
                  </a:cubicBezTo>
                  <a:lnTo>
                    <a:pt x="148" y="785"/>
                  </a:lnTo>
                  <a:lnTo>
                    <a:pt x="0" y="933"/>
                  </a:lnTo>
                </a:path>
              </a:pathLst>
            </a:custGeom>
            <a:solidFill>
              <a:srgbClr val="8C7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1625">
              <a:extLst>
                <a:ext uri="{FF2B5EF4-FFF2-40B4-BE49-F238E27FC236}">
                  <a16:creationId xmlns:a16="http://schemas.microsoft.com/office/drawing/2014/main" id="{B0BA5224-87C4-4D98-8D37-5F18AA63903B}"/>
                </a:ext>
              </a:extLst>
            </p:cNvPr>
            <p:cNvSpPr>
              <a:spLocks/>
            </p:cNvSpPr>
            <p:nvPr/>
          </p:nvSpPr>
          <p:spPr bwMode="auto">
            <a:xfrm>
              <a:off x="7386638" y="1743076"/>
              <a:ext cx="185738" cy="276225"/>
            </a:xfrm>
            <a:custGeom>
              <a:avLst/>
              <a:gdLst>
                <a:gd name="T0" fmla="*/ 0 w 227"/>
                <a:gd name="T1" fmla="*/ 337 h 337"/>
                <a:gd name="T2" fmla="*/ 0 w 227"/>
                <a:gd name="T3" fmla="*/ 39 h 337"/>
                <a:gd name="T4" fmla="*/ 27 w 227"/>
                <a:gd name="T5" fmla="*/ 0 h 337"/>
                <a:gd name="T6" fmla="*/ 45 w 227"/>
                <a:gd name="T7" fmla="*/ 5 h 337"/>
                <a:gd name="T8" fmla="*/ 227 w 227"/>
                <a:gd name="T9" fmla="*/ 110 h 337"/>
                <a:gd name="T10" fmla="*/ 0 w 227"/>
                <a:gd name="T11" fmla="*/ 337 h 337"/>
              </a:gdLst>
              <a:ahLst/>
              <a:cxnLst>
                <a:cxn ang="0">
                  <a:pos x="T0" y="T1"/>
                </a:cxn>
                <a:cxn ang="0">
                  <a:pos x="T2" y="T3"/>
                </a:cxn>
                <a:cxn ang="0">
                  <a:pos x="T4" y="T5"/>
                </a:cxn>
                <a:cxn ang="0">
                  <a:pos x="T6" y="T7"/>
                </a:cxn>
                <a:cxn ang="0">
                  <a:pos x="T8" y="T9"/>
                </a:cxn>
                <a:cxn ang="0">
                  <a:pos x="T10" y="T11"/>
                </a:cxn>
              </a:cxnLst>
              <a:rect l="0" t="0" r="r" b="b"/>
              <a:pathLst>
                <a:path w="227" h="337">
                  <a:moveTo>
                    <a:pt x="0" y="337"/>
                  </a:moveTo>
                  <a:lnTo>
                    <a:pt x="0" y="39"/>
                  </a:lnTo>
                  <a:cubicBezTo>
                    <a:pt x="0" y="14"/>
                    <a:pt x="11" y="0"/>
                    <a:pt x="27" y="0"/>
                  </a:cubicBezTo>
                  <a:cubicBezTo>
                    <a:pt x="33" y="0"/>
                    <a:pt x="39" y="1"/>
                    <a:pt x="45" y="5"/>
                  </a:cubicBezTo>
                  <a:lnTo>
                    <a:pt x="227" y="110"/>
                  </a:lnTo>
                  <a:lnTo>
                    <a:pt x="0" y="337"/>
                  </a:lnTo>
                  <a:close/>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626">
              <a:extLst>
                <a:ext uri="{FF2B5EF4-FFF2-40B4-BE49-F238E27FC236}">
                  <a16:creationId xmlns:a16="http://schemas.microsoft.com/office/drawing/2014/main" id="{5FEB0E30-5131-4AE1-909B-1E43BA5C0458}"/>
                </a:ext>
              </a:extLst>
            </p:cNvPr>
            <p:cNvSpPr>
              <a:spLocks/>
            </p:cNvSpPr>
            <p:nvPr/>
          </p:nvSpPr>
          <p:spPr bwMode="auto">
            <a:xfrm>
              <a:off x="8024813" y="1766888"/>
              <a:ext cx="442913" cy="257175"/>
            </a:xfrm>
            <a:custGeom>
              <a:avLst/>
              <a:gdLst>
                <a:gd name="T0" fmla="*/ 279 w 279"/>
                <a:gd name="T1" fmla="*/ 162 h 162"/>
                <a:gd name="T2" fmla="*/ 0 w 279"/>
                <a:gd name="T3" fmla="*/ 0 h 162"/>
                <a:gd name="T4" fmla="*/ 0 w 279"/>
                <a:gd name="T5" fmla="*/ 0 h 162"/>
                <a:gd name="T6" fmla="*/ 279 w 279"/>
                <a:gd name="T7" fmla="*/ 162 h 162"/>
              </a:gdLst>
              <a:ahLst/>
              <a:cxnLst>
                <a:cxn ang="0">
                  <a:pos x="T0" y="T1"/>
                </a:cxn>
                <a:cxn ang="0">
                  <a:pos x="T2" y="T3"/>
                </a:cxn>
                <a:cxn ang="0">
                  <a:pos x="T4" y="T5"/>
                </a:cxn>
                <a:cxn ang="0">
                  <a:pos x="T6" y="T7"/>
                </a:cxn>
              </a:cxnLst>
              <a:rect l="0" t="0" r="r" b="b"/>
              <a:pathLst>
                <a:path w="279" h="162">
                  <a:moveTo>
                    <a:pt x="279" y="162"/>
                  </a:moveTo>
                  <a:lnTo>
                    <a:pt x="0" y="0"/>
                  </a:lnTo>
                  <a:lnTo>
                    <a:pt x="0" y="0"/>
                  </a:lnTo>
                  <a:lnTo>
                    <a:pt x="279" y="162"/>
                  </a:lnTo>
                  <a:close/>
                </a:path>
              </a:pathLst>
            </a:custGeom>
            <a:solidFill>
              <a:srgbClr val="604B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1627">
              <a:extLst>
                <a:ext uri="{FF2B5EF4-FFF2-40B4-BE49-F238E27FC236}">
                  <a16:creationId xmlns:a16="http://schemas.microsoft.com/office/drawing/2014/main" id="{833454D6-EA5C-4B42-8B37-F7D461624BC3}"/>
                </a:ext>
              </a:extLst>
            </p:cNvPr>
            <p:cNvSpPr>
              <a:spLocks noEditPoints="1"/>
            </p:cNvSpPr>
            <p:nvPr/>
          </p:nvSpPr>
          <p:spPr bwMode="auto">
            <a:xfrm>
              <a:off x="7265988" y="1766888"/>
              <a:ext cx="1201738" cy="1162050"/>
            </a:xfrm>
            <a:custGeom>
              <a:avLst/>
              <a:gdLst>
                <a:gd name="T0" fmla="*/ 364 w 1468"/>
                <a:gd name="T1" fmla="*/ 1418 h 1418"/>
                <a:gd name="T2" fmla="*/ 197 w 1468"/>
                <a:gd name="T3" fmla="*/ 1321 h 1418"/>
                <a:gd name="T4" fmla="*/ 177 w 1468"/>
                <a:gd name="T5" fmla="*/ 1315 h 1418"/>
                <a:gd name="T6" fmla="*/ 152 w 1468"/>
                <a:gd name="T7" fmla="*/ 1335 h 1418"/>
                <a:gd name="T8" fmla="*/ 0 w 1468"/>
                <a:gd name="T9" fmla="*/ 944 h 1418"/>
                <a:gd name="T10" fmla="*/ 0 w 1468"/>
                <a:gd name="T11" fmla="*/ 1138 h 1418"/>
                <a:gd name="T12" fmla="*/ 0 w 1468"/>
                <a:gd name="T13" fmla="*/ 926 h 1418"/>
                <a:gd name="T14" fmla="*/ 148 w 1468"/>
                <a:gd name="T15" fmla="*/ 778 h 1418"/>
                <a:gd name="T16" fmla="*/ 148 w 1468"/>
                <a:gd name="T17" fmla="*/ 1108 h 1418"/>
                <a:gd name="T18" fmla="*/ 193 w 1468"/>
                <a:gd name="T19" fmla="*/ 1195 h 1418"/>
                <a:gd name="T20" fmla="*/ 443 w 1468"/>
                <a:gd name="T21" fmla="*/ 1339 h 1418"/>
                <a:gd name="T22" fmla="*/ 364 w 1468"/>
                <a:gd name="T23" fmla="*/ 1418 h 1418"/>
                <a:gd name="T24" fmla="*/ 1215 w 1468"/>
                <a:gd name="T25" fmla="*/ 567 h 1418"/>
                <a:gd name="T26" fmla="*/ 673 w 1468"/>
                <a:gd name="T27" fmla="*/ 254 h 1418"/>
                <a:gd name="T28" fmla="*/ 926 w 1468"/>
                <a:gd name="T29" fmla="*/ 0 h 1418"/>
                <a:gd name="T30" fmla="*/ 1468 w 1468"/>
                <a:gd name="T31" fmla="*/ 313 h 1418"/>
                <a:gd name="T32" fmla="*/ 1215 w 1468"/>
                <a:gd name="T33" fmla="*/ 567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8" h="1418">
                  <a:moveTo>
                    <a:pt x="364" y="1418"/>
                  </a:moveTo>
                  <a:lnTo>
                    <a:pt x="197" y="1321"/>
                  </a:lnTo>
                  <a:cubicBezTo>
                    <a:pt x="190" y="1317"/>
                    <a:pt x="183" y="1315"/>
                    <a:pt x="177" y="1315"/>
                  </a:cubicBezTo>
                  <a:cubicBezTo>
                    <a:pt x="166" y="1315"/>
                    <a:pt x="157" y="1322"/>
                    <a:pt x="152" y="1335"/>
                  </a:cubicBezTo>
                  <a:lnTo>
                    <a:pt x="0" y="944"/>
                  </a:lnTo>
                  <a:lnTo>
                    <a:pt x="0" y="1138"/>
                  </a:lnTo>
                  <a:lnTo>
                    <a:pt x="0" y="926"/>
                  </a:lnTo>
                  <a:cubicBezTo>
                    <a:pt x="49" y="877"/>
                    <a:pt x="99" y="827"/>
                    <a:pt x="148" y="778"/>
                  </a:cubicBezTo>
                  <a:lnTo>
                    <a:pt x="148" y="1108"/>
                  </a:lnTo>
                  <a:cubicBezTo>
                    <a:pt x="148" y="1141"/>
                    <a:pt x="168" y="1181"/>
                    <a:pt x="193" y="1195"/>
                  </a:cubicBezTo>
                  <a:lnTo>
                    <a:pt x="443" y="1339"/>
                  </a:lnTo>
                  <a:lnTo>
                    <a:pt x="364" y="1418"/>
                  </a:lnTo>
                  <a:moveTo>
                    <a:pt x="1215" y="567"/>
                  </a:moveTo>
                  <a:lnTo>
                    <a:pt x="673" y="254"/>
                  </a:lnTo>
                  <a:cubicBezTo>
                    <a:pt x="757" y="169"/>
                    <a:pt x="841" y="85"/>
                    <a:pt x="926" y="0"/>
                  </a:cubicBezTo>
                  <a:lnTo>
                    <a:pt x="1468" y="313"/>
                  </a:lnTo>
                  <a:lnTo>
                    <a:pt x="1215" y="567"/>
                  </a:lnTo>
                  <a:close/>
                </a:path>
              </a:pathLst>
            </a:custGeom>
            <a:solidFill>
              <a:srgbClr val="8C7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628">
              <a:extLst>
                <a:ext uri="{FF2B5EF4-FFF2-40B4-BE49-F238E27FC236}">
                  <a16:creationId xmlns:a16="http://schemas.microsoft.com/office/drawing/2014/main" id="{5D83A1C4-10B7-432D-987E-CB2B9E881307}"/>
                </a:ext>
              </a:extLst>
            </p:cNvPr>
            <p:cNvSpPr>
              <a:spLocks noEditPoints="1"/>
            </p:cNvSpPr>
            <p:nvPr/>
          </p:nvSpPr>
          <p:spPr bwMode="auto">
            <a:xfrm>
              <a:off x="7386638" y="1974851"/>
              <a:ext cx="874713" cy="890588"/>
            </a:xfrm>
            <a:custGeom>
              <a:avLst/>
              <a:gdLst>
                <a:gd name="T0" fmla="*/ 295 w 1067"/>
                <a:gd name="T1" fmla="*/ 1085 h 1085"/>
                <a:gd name="T2" fmla="*/ 45 w 1067"/>
                <a:gd name="T3" fmla="*/ 941 h 1085"/>
                <a:gd name="T4" fmla="*/ 0 w 1067"/>
                <a:gd name="T5" fmla="*/ 854 h 1085"/>
                <a:gd name="T6" fmla="*/ 0 w 1067"/>
                <a:gd name="T7" fmla="*/ 524 h 1085"/>
                <a:gd name="T8" fmla="*/ 104 w 1067"/>
                <a:gd name="T9" fmla="*/ 420 h 1085"/>
                <a:gd name="T10" fmla="*/ 104 w 1067"/>
                <a:gd name="T11" fmla="*/ 889 h 1085"/>
                <a:gd name="T12" fmla="*/ 112 w 1067"/>
                <a:gd name="T13" fmla="*/ 904 h 1085"/>
                <a:gd name="T14" fmla="*/ 167 w 1067"/>
                <a:gd name="T15" fmla="*/ 936 h 1085"/>
                <a:gd name="T16" fmla="*/ 170 w 1067"/>
                <a:gd name="T17" fmla="*/ 937 h 1085"/>
                <a:gd name="T18" fmla="*/ 173 w 1067"/>
                <a:gd name="T19" fmla="*/ 936 h 1085"/>
                <a:gd name="T20" fmla="*/ 175 w 1067"/>
                <a:gd name="T21" fmla="*/ 931 h 1085"/>
                <a:gd name="T22" fmla="*/ 175 w 1067"/>
                <a:gd name="T23" fmla="*/ 349 h 1085"/>
                <a:gd name="T24" fmla="*/ 525 w 1067"/>
                <a:gd name="T25" fmla="*/ 0 h 1085"/>
                <a:gd name="T26" fmla="*/ 1067 w 1067"/>
                <a:gd name="T27" fmla="*/ 313 h 1085"/>
                <a:gd name="T28" fmla="*/ 840 w 1067"/>
                <a:gd name="T29" fmla="*/ 539 h 1085"/>
                <a:gd name="T30" fmla="*/ 840 w 1067"/>
                <a:gd name="T31" fmla="*/ 365 h 1085"/>
                <a:gd name="T32" fmla="*/ 831 w 1067"/>
                <a:gd name="T33" fmla="*/ 332 h 1085"/>
                <a:gd name="T34" fmla="*/ 807 w 1067"/>
                <a:gd name="T35" fmla="*/ 305 h 1085"/>
                <a:gd name="T36" fmla="*/ 802 w 1067"/>
                <a:gd name="T37" fmla="*/ 302 h 1085"/>
                <a:gd name="T38" fmla="*/ 789 w 1067"/>
                <a:gd name="T39" fmla="*/ 298 h 1085"/>
                <a:gd name="T40" fmla="*/ 769 w 1067"/>
                <a:gd name="T41" fmla="*/ 327 h 1085"/>
                <a:gd name="T42" fmla="*/ 769 w 1067"/>
                <a:gd name="T43" fmla="*/ 610 h 1085"/>
                <a:gd name="T44" fmla="*/ 707 w 1067"/>
                <a:gd name="T45" fmla="*/ 673 h 1085"/>
                <a:gd name="T46" fmla="*/ 707 w 1067"/>
                <a:gd name="T47" fmla="*/ 398 h 1085"/>
                <a:gd name="T48" fmla="*/ 698 w 1067"/>
                <a:gd name="T49" fmla="*/ 365 h 1085"/>
                <a:gd name="T50" fmla="*/ 674 w 1067"/>
                <a:gd name="T51" fmla="*/ 338 h 1085"/>
                <a:gd name="T52" fmla="*/ 669 w 1067"/>
                <a:gd name="T53" fmla="*/ 335 h 1085"/>
                <a:gd name="T54" fmla="*/ 656 w 1067"/>
                <a:gd name="T55" fmla="*/ 331 h 1085"/>
                <a:gd name="T56" fmla="*/ 636 w 1067"/>
                <a:gd name="T57" fmla="*/ 360 h 1085"/>
                <a:gd name="T58" fmla="*/ 636 w 1067"/>
                <a:gd name="T59" fmla="*/ 744 h 1085"/>
                <a:gd name="T60" fmla="*/ 574 w 1067"/>
                <a:gd name="T61" fmla="*/ 806 h 1085"/>
                <a:gd name="T62" fmla="*/ 574 w 1067"/>
                <a:gd name="T63" fmla="*/ 724 h 1085"/>
                <a:gd name="T64" fmla="*/ 565 w 1067"/>
                <a:gd name="T65" fmla="*/ 690 h 1085"/>
                <a:gd name="T66" fmla="*/ 541 w 1067"/>
                <a:gd name="T67" fmla="*/ 664 h 1085"/>
                <a:gd name="T68" fmla="*/ 536 w 1067"/>
                <a:gd name="T69" fmla="*/ 661 h 1085"/>
                <a:gd name="T70" fmla="*/ 523 w 1067"/>
                <a:gd name="T71" fmla="*/ 657 h 1085"/>
                <a:gd name="T72" fmla="*/ 503 w 1067"/>
                <a:gd name="T73" fmla="*/ 686 h 1085"/>
                <a:gd name="T74" fmla="*/ 503 w 1067"/>
                <a:gd name="T75" fmla="*/ 877 h 1085"/>
                <a:gd name="T76" fmla="*/ 441 w 1067"/>
                <a:gd name="T77" fmla="*/ 939 h 1085"/>
                <a:gd name="T78" fmla="*/ 441 w 1067"/>
                <a:gd name="T79" fmla="*/ 783 h 1085"/>
                <a:gd name="T80" fmla="*/ 432 w 1067"/>
                <a:gd name="T81" fmla="*/ 750 h 1085"/>
                <a:gd name="T82" fmla="*/ 408 w 1067"/>
                <a:gd name="T83" fmla="*/ 723 h 1085"/>
                <a:gd name="T84" fmla="*/ 403 w 1067"/>
                <a:gd name="T85" fmla="*/ 720 h 1085"/>
                <a:gd name="T86" fmla="*/ 390 w 1067"/>
                <a:gd name="T87" fmla="*/ 716 h 1085"/>
                <a:gd name="T88" fmla="*/ 370 w 1067"/>
                <a:gd name="T89" fmla="*/ 745 h 1085"/>
                <a:gd name="T90" fmla="*/ 370 w 1067"/>
                <a:gd name="T91" fmla="*/ 1010 h 1085"/>
                <a:gd name="T92" fmla="*/ 295 w 1067"/>
                <a:gd name="T93" fmla="*/ 1085 h 1085"/>
                <a:gd name="T94" fmla="*/ 257 w 1067"/>
                <a:gd name="T95" fmla="*/ 369 h 1085"/>
                <a:gd name="T96" fmla="*/ 237 w 1067"/>
                <a:gd name="T97" fmla="*/ 398 h 1085"/>
                <a:gd name="T98" fmla="*/ 237 w 1067"/>
                <a:gd name="T99" fmla="*/ 966 h 1085"/>
                <a:gd name="T100" fmla="*/ 245 w 1067"/>
                <a:gd name="T101" fmla="*/ 981 h 1085"/>
                <a:gd name="T102" fmla="*/ 300 w 1067"/>
                <a:gd name="T103" fmla="*/ 1013 h 1085"/>
                <a:gd name="T104" fmla="*/ 303 w 1067"/>
                <a:gd name="T105" fmla="*/ 1014 h 1085"/>
                <a:gd name="T106" fmla="*/ 306 w 1067"/>
                <a:gd name="T107" fmla="*/ 1013 h 1085"/>
                <a:gd name="T108" fmla="*/ 308 w 1067"/>
                <a:gd name="T109" fmla="*/ 1008 h 1085"/>
                <a:gd name="T110" fmla="*/ 308 w 1067"/>
                <a:gd name="T111" fmla="*/ 436 h 1085"/>
                <a:gd name="T112" fmla="*/ 298 w 1067"/>
                <a:gd name="T113" fmla="*/ 402 h 1085"/>
                <a:gd name="T114" fmla="*/ 275 w 1067"/>
                <a:gd name="T115" fmla="*/ 376 h 1085"/>
                <a:gd name="T116" fmla="*/ 270 w 1067"/>
                <a:gd name="T117" fmla="*/ 373 h 1085"/>
                <a:gd name="T118" fmla="*/ 257 w 1067"/>
                <a:gd name="T119" fmla="*/ 369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7" h="1085">
                  <a:moveTo>
                    <a:pt x="295" y="1085"/>
                  </a:moveTo>
                  <a:lnTo>
                    <a:pt x="45" y="941"/>
                  </a:lnTo>
                  <a:cubicBezTo>
                    <a:pt x="20" y="927"/>
                    <a:pt x="0" y="887"/>
                    <a:pt x="0" y="854"/>
                  </a:cubicBezTo>
                  <a:lnTo>
                    <a:pt x="0" y="524"/>
                  </a:lnTo>
                  <a:cubicBezTo>
                    <a:pt x="35" y="490"/>
                    <a:pt x="69" y="455"/>
                    <a:pt x="104" y="420"/>
                  </a:cubicBezTo>
                  <a:lnTo>
                    <a:pt x="104" y="889"/>
                  </a:lnTo>
                  <a:cubicBezTo>
                    <a:pt x="104" y="895"/>
                    <a:pt x="107" y="901"/>
                    <a:pt x="112" y="904"/>
                  </a:cubicBezTo>
                  <a:lnTo>
                    <a:pt x="167" y="936"/>
                  </a:lnTo>
                  <a:cubicBezTo>
                    <a:pt x="168" y="936"/>
                    <a:pt x="169" y="937"/>
                    <a:pt x="170" y="937"/>
                  </a:cubicBezTo>
                  <a:cubicBezTo>
                    <a:pt x="171" y="937"/>
                    <a:pt x="172" y="936"/>
                    <a:pt x="173" y="936"/>
                  </a:cubicBezTo>
                  <a:cubicBezTo>
                    <a:pt x="174" y="935"/>
                    <a:pt x="175" y="933"/>
                    <a:pt x="175" y="931"/>
                  </a:cubicBezTo>
                  <a:lnTo>
                    <a:pt x="175" y="349"/>
                  </a:lnTo>
                  <a:lnTo>
                    <a:pt x="525" y="0"/>
                  </a:lnTo>
                  <a:lnTo>
                    <a:pt x="1067" y="313"/>
                  </a:lnTo>
                  <a:lnTo>
                    <a:pt x="840" y="539"/>
                  </a:lnTo>
                  <a:lnTo>
                    <a:pt x="840" y="365"/>
                  </a:lnTo>
                  <a:cubicBezTo>
                    <a:pt x="840" y="355"/>
                    <a:pt x="837" y="343"/>
                    <a:pt x="831" y="332"/>
                  </a:cubicBezTo>
                  <a:cubicBezTo>
                    <a:pt x="825" y="320"/>
                    <a:pt x="816" y="311"/>
                    <a:pt x="807" y="305"/>
                  </a:cubicBezTo>
                  <a:lnTo>
                    <a:pt x="802" y="302"/>
                  </a:lnTo>
                  <a:cubicBezTo>
                    <a:pt x="798" y="300"/>
                    <a:pt x="793" y="298"/>
                    <a:pt x="789" y="298"/>
                  </a:cubicBezTo>
                  <a:cubicBezTo>
                    <a:pt x="777" y="298"/>
                    <a:pt x="769" y="309"/>
                    <a:pt x="769" y="327"/>
                  </a:cubicBezTo>
                  <a:lnTo>
                    <a:pt x="769" y="610"/>
                  </a:lnTo>
                  <a:lnTo>
                    <a:pt x="707" y="673"/>
                  </a:lnTo>
                  <a:lnTo>
                    <a:pt x="707" y="398"/>
                  </a:lnTo>
                  <a:cubicBezTo>
                    <a:pt x="707" y="388"/>
                    <a:pt x="704" y="376"/>
                    <a:pt x="698" y="365"/>
                  </a:cubicBezTo>
                  <a:cubicBezTo>
                    <a:pt x="692" y="353"/>
                    <a:pt x="683" y="344"/>
                    <a:pt x="674" y="338"/>
                  </a:cubicBezTo>
                  <a:lnTo>
                    <a:pt x="669" y="335"/>
                  </a:lnTo>
                  <a:cubicBezTo>
                    <a:pt x="664" y="333"/>
                    <a:pt x="660" y="331"/>
                    <a:pt x="656" y="331"/>
                  </a:cubicBezTo>
                  <a:cubicBezTo>
                    <a:pt x="644" y="331"/>
                    <a:pt x="636" y="342"/>
                    <a:pt x="636" y="360"/>
                  </a:cubicBezTo>
                  <a:lnTo>
                    <a:pt x="636" y="744"/>
                  </a:lnTo>
                  <a:lnTo>
                    <a:pt x="574" y="806"/>
                  </a:lnTo>
                  <a:lnTo>
                    <a:pt x="574" y="724"/>
                  </a:lnTo>
                  <a:cubicBezTo>
                    <a:pt x="574" y="713"/>
                    <a:pt x="570" y="701"/>
                    <a:pt x="565" y="690"/>
                  </a:cubicBezTo>
                  <a:cubicBezTo>
                    <a:pt x="559" y="679"/>
                    <a:pt x="550" y="669"/>
                    <a:pt x="541" y="664"/>
                  </a:cubicBezTo>
                  <a:lnTo>
                    <a:pt x="536" y="661"/>
                  </a:lnTo>
                  <a:cubicBezTo>
                    <a:pt x="531" y="658"/>
                    <a:pt x="527" y="657"/>
                    <a:pt x="523" y="657"/>
                  </a:cubicBezTo>
                  <a:cubicBezTo>
                    <a:pt x="511" y="657"/>
                    <a:pt x="503" y="668"/>
                    <a:pt x="503" y="686"/>
                  </a:cubicBezTo>
                  <a:lnTo>
                    <a:pt x="503" y="877"/>
                  </a:lnTo>
                  <a:lnTo>
                    <a:pt x="441" y="939"/>
                  </a:lnTo>
                  <a:lnTo>
                    <a:pt x="441" y="783"/>
                  </a:lnTo>
                  <a:cubicBezTo>
                    <a:pt x="441" y="772"/>
                    <a:pt x="437" y="761"/>
                    <a:pt x="432" y="750"/>
                  </a:cubicBezTo>
                  <a:cubicBezTo>
                    <a:pt x="426" y="738"/>
                    <a:pt x="417" y="728"/>
                    <a:pt x="408" y="723"/>
                  </a:cubicBezTo>
                  <a:lnTo>
                    <a:pt x="403" y="720"/>
                  </a:lnTo>
                  <a:cubicBezTo>
                    <a:pt x="398" y="718"/>
                    <a:pt x="394" y="716"/>
                    <a:pt x="390" y="716"/>
                  </a:cubicBezTo>
                  <a:cubicBezTo>
                    <a:pt x="378" y="716"/>
                    <a:pt x="370" y="727"/>
                    <a:pt x="370" y="745"/>
                  </a:cubicBezTo>
                  <a:lnTo>
                    <a:pt x="370" y="1010"/>
                  </a:lnTo>
                  <a:lnTo>
                    <a:pt x="295" y="1085"/>
                  </a:lnTo>
                  <a:moveTo>
                    <a:pt x="257" y="369"/>
                  </a:moveTo>
                  <a:cubicBezTo>
                    <a:pt x="245" y="369"/>
                    <a:pt x="237" y="380"/>
                    <a:pt x="237" y="398"/>
                  </a:cubicBezTo>
                  <a:lnTo>
                    <a:pt x="237" y="966"/>
                  </a:lnTo>
                  <a:cubicBezTo>
                    <a:pt x="237" y="972"/>
                    <a:pt x="240" y="978"/>
                    <a:pt x="245" y="981"/>
                  </a:cubicBezTo>
                  <a:lnTo>
                    <a:pt x="300" y="1013"/>
                  </a:lnTo>
                  <a:cubicBezTo>
                    <a:pt x="301" y="1013"/>
                    <a:pt x="302" y="1014"/>
                    <a:pt x="303" y="1014"/>
                  </a:cubicBezTo>
                  <a:cubicBezTo>
                    <a:pt x="304" y="1014"/>
                    <a:pt x="305" y="1013"/>
                    <a:pt x="306" y="1013"/>
                  </a:cubicBezTo>
                  <a:cubicBezTo>
                    <a:pt x="307" y="1012"/>
                    <a:pt x="308" y="1010"/>
                    <a:pt x="308" y="1008"/>
                  </a:cubicBezTo>
                  <a:lnTo>
                    <a:pt x="308" y="436"/>
                  </a:lnTo>
                  <a:cubicBezTo>
                    <a:pt x="308" y="425"/>
                    <a:pt x="304" y="413"/>
                    <a:pt x="298" y="402"/>
                  </a:cubicBezTo>
                  <a:cubicBezTo>
                    <a:pt x="292" y="391"/>
                    <a:pt x="284" y="381"/>
                    <a:pt x="275" y="376"/>
                  </a:cubicBezTo>
                  <a:lnTo>
                    <a:pt x="270" y="373"/>
                  </a:lnTo>
                  <a:cubicBezTo>
                    <a:pt x="265" y="370"/>
                    <a:pt x="261" y="369"/>
                    <a:pt x="257" y="369"/>
                  </a:cubicBezTo>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1629">
              <a:extLst>
                <a:ext uri="{FF2B5EF4-FFF2-40B4-BE49-F238E27FC236}">
                  <a16:creationId xmlns:a16="http://schemas.microsoft.com/office/drawing/2014/main" id="{9B1E2D02-DCDE-4CFE-9889-6DE5AB8E9F07}"/>
                </a:ext>
              </a:extLst>
            </p:cNvPr>
            <p:cNvSpPr>
              <a:spLocks/>
            </p:cNvSpPr>
            <p:nvPr/>
          </p:nvSpPr>
          <p:spPr bwMode="auto">
            <a:xfrm>
              <a:off x="7472363" y="2276476"/>
              <a:ext cx="57150" cy="466725"/>
            </a:xfrm>
            <a:custGeom>
              <a:avLst/>
              <a:gdLst>
                <a:gd name="T0" fmla="*/ 66 w 69"/>
                <a:gd name="T1" fmla="*/ 569 h 569"/>
                <a:gd name="T2" fmla="*/ 63 w 69"/>
                <a:gd name="T3" fmla="*/ 568 h 569"/>
                <a:gd name="T4" fmla="*/ 8 w 69"/>
                <a:gd name="T5" fmla="*/ 536 h 569"/>
                <a:gd name="T6" fmla="*/ 0 w 69"/>
                <a:gd name="T7" fmla="*/ 521 h 569"/>
                <a:gd name="T8" fmla="*/ 0 w 69"/>
                <a:gd name="T9" fmla="*/ 52 h 569"/>
                <a:gd name="T10" fmla="*/ 52 w 69"/>
                <a:gd name="T11" fmla="*/ 0 h 569"/>
                <a:gd name="T12" fmla="*/ 52 w 69"/>
                <a:gd name="T13" fmla="*/ 547 h 569"/>
                <a:gd name="T14" fmla="*/ 46 w 69"/>
                <a:gd name="T15" fmla="*/ 557 h 569"/>
                <a:gd name="T16" fmla="*/ 43 w 69"/>
                <a:gd name="T17" fmla="*/ 556 h 569"/>
                <a:gd name="T18" fmla="*/ 63 w 69"/>
                <a:gd name="T19" fmla="*/ 568 h 569"/>
                <a:gd name="T20" fmla="*/ 66 w 69"/>
                <a:gd name="T21" fmla="*/ 569 h 569"/>
                <a:gd name="T22" fmla="*/ 69 w 69"/>
                <a:gd name="T23" fmla="*/ 568 h 569"/>
                <a:gd name="T24" fmla="*/ 66 w 69"/>
                <a:gd name="T25" fmla="*/ 56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69">
                  <a:moveTo>
                    <a:pt x="66" y="569"/>
                  </a:moveTo>
                  <a:cubicBezTo>
                    <a:pt x="65" y="569"/>
                    <a:pt x="64" y="568"/>
                    <a:pt x="63" y="568"/>
                  </a:cubicBezTo>
                  <a:lnTo>
                    <a:pt x="8" y="536"/>
                  </a:lnTo>
                  <a:cubicBezTo>
                    <a:pt x="3" y="533"/>
                    <a:pt x="0" y="527"/>
                    <a:pt x="0" y="521"/>
                  </a:cubicBezTo>
                  <a:lnTo>
                    <a:pt x="0" y="52"/>
                  </a:lnTo>
                  <a:cubicBezTo>
                    <a:pt x="17" y="35"/>
                    <a:pt x="35" y="17"/>
                    <a:pt x="52" y="0"/>
                  </a:cubicBezTo>
                  <a:lnTo>
                    <a:pt x="52" y="547"/>
                  </a:lnTo>
                  <a:cubicBezTo>
                    <a:pt x="52" y="553"/>
                    <a:pt x="49" y="557"/>
                    <a:pt x="46" y="557"/>
                  </a:cubicBezTo>
                  <a:cubicBezTo>
                    <a:pt x="45" y="557"/>
                    <a:pt x="44" y="557"/>
                    <a:pt x="43" y="556"/>
                  </a:cubicBezTo>
                  <a:lnTo>
                    <a:pt x="63" y="568"/>
                  </a:lnTo>
                  <a:cubicBezTo>
                    <a:pt x="64" y="568"/>
                    <a:pt x="65" y="569"/>
                    <a:pt x="66" y="569"/>
                  </a:cubicBezTo>
                  <a:cubicBezTo>
                    <a:pt x="67" y="569"/>
                    <a:pt x="68" y="568"/>
                    <a:pt x="69" y="568"/>
                  </a:cubicBezTo>
                  <a:cubicBezTo>
                    <a:pt x="68" y="568"/>
                    <a:pt x="67" y="569"/>
                    <a:pt x="66" y="569"/>
                  </a:cubicBezTo>
                </a:path>
              </a:pathLst>
            </a:custGeom>
            <a:solidFill>
              <a:srgbClr val="D365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630">
              <a:extLst>
                <a:ext uri="{FF2B5EF4-FFF2-40B4-BE49-F238E27FC236}">
                  <a16:creationId xmlns:a16="http://schemas.microsoft.com/office/drawing/2014/main" id="{9F241BA7-C775-4C2D-B3AF-4B0AB350E151}"/>
                </a:ext>
              </a:extLst>
            </p:cNvPr>
            <p:cNvSpPr>
              <a:spLocks/>
            </p:cNvSpPr>
            <p:nvPr/>
          </p:nvSpPr>
          <p:spPr bwMode="auto">
            <a:xfrm>
              <a:off x="7529513" y="2260601"/>
              <a:ext cx="1588" cy="482600"/>
            </a:xfrm>
            <a:custGeom>
              <a:avLst/>
              <a:gdLst>
                <a:gd name="T0" fmla="*/ 0 w 2"/>
                <a:gd name="T1" fmla="*/ 587 h 587"/>
                <a:gd name="T2" fmla="*/ 2 w 2"/>
                <a:gd name="T3" fmla="*/ 581 h 587"/>
                <a:gd name="T4" fmla="*/ 2 w 2"/>
                <a:gd name="T5" fmla="*/ 0 h 587"/>
                <a:gd name="T6" fmla="*/ 2 w 2"/>
                <a:gd name="T7" fmla="*/ 0 h 587"/>
                <a:gd name="T8" fmla="*/ 2 w 2"/>
                <a:gd name="T9" fmla="*/ 582 h 587"/>
                <a:gd name="T10" fmla="*/ 0 w 2"/>
                <a:gd name="T11" fmla="*/ 587 h 587"/>
              </a:gdLst>
              <a:ahLst/>
              <a:cxnLst>
                <a:cxn ang="0">
                  <a:pos x="T0" y="T1"/>
                </a:cxn>
                <a:cxn ang="0">
                  <a:pos x="T2" y="T3"/>
                </a:cxn>
                <a:cxn ang="0">
                  <a:pos x="T4" y="T5"/>
                </a:cxn>
                <a:cxn ang="0">
                  <a:pos x="T6" y="T7"/>
                </a:cxn>
                <a:cxn ang="0">
                  <a:pos x="T8" y="T9"/>
                </a:cxn>
                <a:cxn ang="0">
                  <a:pos x="T10" y="T11"/>
                </a:cxn>
              </a:cxnLst>
              <a:rect l="0" t="0" r="r" b="b"/>
              <a:pathLst>
                <a:path w="2" h="587">
                  <a:moveTo>
                    <a:pt x="0" y="587"/>
                  </a:moveTo>
                  <a:cubicBezTo>
                    <a:pt x="1" y="586"/>
                    <a:pt x="2" y="584"/>
                    <a:pt x="2" y="581"/>
                  </a:cubicBezTo>
                  <a:lnTo>
                    <a:pt x="2" y="0"/>
                  </a:lnTo>
                  <a:lnTo>
                    <a:pt x="2" y="0"/>
                  </a:lnTo>
                  <a:lnTo>
                    <a:pt x="2" y="582"/>
                  </a:lnTo>
                  <a:cubicBezTo>
                    <a:pt x="2" y="584"/>
                    <a:pt x="1" y="586"/>
                    <a:pt x="0" y="587"/>
                  </a:cubicBezTo>
                  <a:close/>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1631">
              <a:extLst>
                <a:ext uri="{FF2B5EF4-FFF2-40B4-BE49-F238E27FC236}">
                  <a16:creationId xmlns:a16="http://schemas.microsoft.com/office/drawing/2014/main" id="{92BA368B-ED38-4B70-AE81-41728770200C}"/>
                </a:ext>
              </a:extLst>
            </p:cNvPr>
            <p:cNvSpPr>
              <a:spLocks/>
            </p:cNvSpPr>
            <p:nvPr/>
          </p:nvSpPr>
          <p:spPr bwMode="auto">
            <a:xfrm>
              <a:off x="7507288" y="2260601"/>
              <a:ext cx="23813" cy="482600"/>
            </a:xfrm>
            <a:custGeom>
              <a:avLst/>
              <a:gdLst>
                <a:gd name="T0" fmla="*/ 23 w 28"/>
                <a:gd name="T1" fmla="*/ 588 h 588"/>
                <a:gd name="T2" fmla="*/ 20 w 28"/>
                <a:gd name="T3" fmla="*/ 587 h 588"/>
                <a:gd name="T4" fmla="*/ 0 w 28"/>
                <a:gd name="T5" fmla="*/ 575 h 588"/>
                <a:gd name="T6" fmla="*/ 3 w 28"/>
                <a:gd name="T7" fmla="*/ 576 h 588"/>
                <a:gd name="T8" fmla="*/ 9 w 28"/>
                <a:gd name="T9" fmla="*/ 566 h 588"/>
                <a:gd name="T10" fmla="*/ 9 w 28"/>
                <a:gd name="T11" fmla="*/ 19 h 588"/>
                <a:gd name="T12" fmla="*/ 28 w 28"/>
                <a:gd name="T13" fmla="*/ 0 h 588"/>
                <a:gd name="T14" fmla="*/ 28 w 28"/>
                <a:gd name="T15" fmla="*/ 581 h 588"/>
                <a:gd name="T16" fmla="*/ 26 w 28"/>
                <a:gd name="T17" fmla="*/ 587 h 588"/>
                <a:gd name="T18" fmla="*/ 23 w 28"/>
                <a:gd name="T19"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88">
                  <a:moveTo>
                    <a:pt x="23" y="588"/>
                  </a:moveTo>
                  <a:cubicBezTo>
                    <a:pt x="22" y="588"/>
                    <a:pt x="21" y="587"/>
                    <a:pt x="20" y="587"/>
                  </a:cubicBezTo>
                  <a:lnTo>
                    <a:pt x="0" y="575"/>
                  </a:lnTo>
                  <a:cubicBezTo>
                    <a:pt x="1" y="576"/>
                    <a:pt x="2" y="576"/>
                    <a:pt x="3" y="576"/>
                  </a:cubicBezTo>
                  <a:cubicBezTo>
                    <a:pt x="6" y="576"/>
                    <a:pt x="9" y="572"/>
                    <a:pt x="9" y="566"/>
                  </a:cubicBezTo>
                  <a:lnTo>
                    <a:pt x="9" y="19"/>
                  </a:lnTo>
                  <a:cubicBezTo>
                    <a:pt x="15" y="13"/>
                    <a:pt x="22" y="6"/>
                    <a:pt x="28" y="0"/>
                  </a:cubicBezTo>
                  <a:lnTo>
                    <a:pt x="28" y="581"/>
                  </a:lnTo>
                  <a:cubicBezTo>
                    <a:pt x="28" y="584"/>
                    <a:pt x="27" y="586"/>
                    <a:pt x="26" y="587"/>
                  </a:cubicBezTo>
                  <a:cubicBezTo>
                    <a:pt x="25" y="587"/>
                    <a:pt x="24" y="588"/>
                    <a:pt x="23" y="588"/>
                  </a:cubicBezTo>
                </a:path>
              </a:pathLst>
            </a:custGeom>
            <a:solidFill>
              <a:srgbClr val="B65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1632">
              <a:extLst>
                <a:ext uri="{FF2B5EF4-FFF2-40B4-BE49-F238E27FC236}">
                  <a16:creationId xmlns:a16="http://schemas.microsoft.com/office/drawing/2014/main" id="{A8D29DF0-2B27-4E5A-84D0-1B30BEA58849}"/>
                </a:ext>
              </a:extLst>
            </p:cNvPr>
            <p:cNvSpPr>
              <a:spLocks/>
            </p:cNvSpPr>
            <p:nvPr/>
          </p:nvSpPr>
          <p:spPr bwMode="auto">
            <a:xfrm>
              <a:off x="8016876" y="2219326"/>
              <a:ext cx="50800" cy="255588"/>
            </a:xfrm>
            <a:custGeom>
              <a:avLst/>
              <a:gdLst>
                <a:gd name="T0" fmla="*/ 0 w 62"/>
                <a:gd name="T1" fmla="*/ 312 h 312"/>
                <a:gd name="T2" fmla="*/ 0 w 62"/>
                <a:gd name="T3" fmla="*/ 29 h 312"/>
                <a:gd name="T4" fmla="*/ 20 w 62"/>
                <a:gd name="T5" fmla="*/ 0 h 312"/>
                <a:gd name="T6" fmla="*/ 33 w 62"/>
                <a:gd name="T7" fmla="*/ 4 h 312"/>
                <a:gd name="T8" fmla="*/ 38 w 62"/>
                <a:gd name="T9" fmla="*/ 7 h 312"/>
                <a:gd name="T10" fmla="*/ 62 w 62"/>
                <a:gd name="T11" fmla="*/ 34 h 312"/>
                <a:gd name="T12" fmla="*/ 44 w 62"/>
                <a:gd name="T13" fmla="*/ 11 h 312"/>
                <a:gd name="T14" fmla="*/ 52 w 62"/>
                <a:gd name="T15" fmla="*/ 55 h 312"/>
                <a:gd name="T16" fmla="*/ 52 w 62"/>
                <a:gd name="T17" fmla="*/ 260 h 312"/>
                <a:gd name="T18" fmla="*/ 0 w 62"/>
                <a:gd name="T19"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12">
                  <a:moveTo>
                    <a:pt x="0" y="312"/>
                  </a:moveTo>
                  <a:lnTo>
                    <a:pt x="0" y="29"/>
                  </a:lnTo>
                  <a:cubicBezTo>
                    <a:pt x="0" y="11"/>
                    <a:pt x="8" y="0"/>
                    <a:pt x="20" y="0"/>
                  </a:cubicBezTo>
                  <a:cubicBezTo>
                    <a:pt x="24" y="0"/>
                    <a:pt x="29" y="2"/>
                    <a:pt x="33" y="4"/>
                  </a:cubicBezTo>
                  <a:lnTo>
                    <a:pt x="38" y="7"/>
                  </a:lnTo>
                  <a:cubicBezTo>
                    <a:pt x="47" y="13"/>
                    <a:pt x="56" y="22"/>
                    <a:pt x="62" y="34"/>
                  </a:cubicBezTo>
                  <a:cubicBezTo>
                    <a:pt x="57" y="25"/>
                    <a:pt x="51" y="17"/>
                    <a:pt x="44" y="11"/>
                  </a:cubicBezTo>
                  <a:cubicBezTo>
                    <a:pt x="49" y="25"/>
                    <a:pt x="52" y="40"/>
                    <a:pt x="52" y="55"/>
                  </a:cubicBezTo>
                  <a:lnTo>
                    <a:pt x="52" y="260"/>
                  </a:lnTo>
                  <a:lnTo>
                    <a:pt x="0" y="312"/>
                  </a:lnTo>
                </a:path>
              </a:pathLst>
            </a:custGeom>
            <a:solidFill>
              <a:srgbClr val="82B3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1633">
              <a:extLst>
                <a:ext uri="{FF2B5EF4-FFF2-40B4-BE49-F238E27FC236}">
                  <a16:creationId xmlns:a16="http://schemas.microsoft.com/office/drawing/2014/main" id="{4C32F478-D6CC-4791-A0C4-25DAF5DDEF33}"/>
                </a:ext>
              </a:extLst>
            </p:cNvPr>
            <p:cNvSpPr>
              <a:spLocks/>
            </p:cNvSpPr>
            <p:nvPr/>
          </p:nvSpPr>
          <p:spPr bwMode="auto">
            <a:xfrm>
              <a:off x="8067676" y="2247901"/>
              <a:ext cx="7938" cy="169863"/>
            </a:xfrm>
            <a:custGeom>
              <a:avLst/>
              <a:gdLst>
                <a:gd name="T0" fmla="*/ 9 w 9"/>
                <a:gd name="T1" fmla="*/ 207 h 207"/>
                <a:gd name="T2" fmla="*/ 9 w 9"/>
                <a:gd name="T3" fmla="*/ 36 h 207"/>
                <a:gd name="T4" fmla="*/ 0 w 9"/>
                <a:gd name="T5" fmla="*/ 0 h 207"/>
                <a:gd name="T6" fmla="*/ 9 w 9"/>
                <a:gd name="T7" fmla="*/ 33 h 207"/>
                <a:gd name="T8" fmla="*/ 9 w 9"/>
                <a:gd name="T9" fmla="*/ 207 h 207"/>
              </a:gdLst>
              <a:ahLst/>
              <a:cxnLst>
                <a:cxn ang="0">
                  <a:pos x="T0" y="T1"/>
                </a:cxn>
                <a:cxn ang="0">
                  <a:pos x="T2" y="T3"/>
                </a:cxn>
                <a:cxn ang="0">
                  <a:pos x="T4" y="T5"/>
                </a:cxn>
                <a:cxn ang="0">
                  <a:pos x="T6" y="T7"/>
                </a:cxn>
                <a:cxn ang="0">
                  <a:pos x="T8" y="T9"/>
                </a:cxn>
              </a:cxnLst>
              <a:rect l="0" t="0" r="r" b="b"/>
              <a:pathLst>
                <a:path w="9" h="207">
                  <a:moveTo>
                    <a:pt x="9" y="207"/>
                  </a:moveTo>
                  <a:lnTo>
                    <a:pt x="9" y="36"/>
                  </a:lnTo>
                  <a:cubicBezTo>
                    <a:pt x="9" y="24"/>
                    <a:pt x="6" y="11"/>
                    <a:pt x="0" y="0"/>
                  </a:cubicBezTo>
                  <a:cubicBezTo>
                    <a:pt x="6" y="11"/>
                    <a:pt x="9" y="23"/>
                    <a:pt x="9" y="33"/>
                  </a:cubicBezTo>
                  <a:lnTo>
                    <a:pt x="9" y="207"/>
                  </a:lnTo>
                  <a:close/>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1634">
              <a:extLst>
                <a:ext uri="{FF2B5EF4-FFF2-40B4-BE49-F238E27FC236}">
                  <a16:creationId xmlns:a16="http://schemas.microsoft.com/office/drawing/2014/main" id="{2FFBCD52-20A8-4837-AB67-3B0E32683A85}"/>
                </a:ext>
              </a:extLst>
            </p:cNvPr>
            <p:cNvSpPr>
              <a:spLocks/>
            </p:cNvSpPr>
            <p:nvPr/>
          </p:nvSpPr>
          <p:spPr bwMode="auto">
            <a:xfrm>
              <a:off x="8053388" y="2228851"/>
              <a:ext cx="22225" cy="203200"/>
            </a:xfrm>
            <a:custGeom>
              <a:avLst/>
              <a:gdLst>
                <a:gd name="T0" fmla="*/ 8 w 27"/>
                <a:gd name="T1" fmla="*/ 249 h 249"/>
                <a:gd name="T2" fmla="*/ 8 w 27"/>
                <a:gd name="T3" fmla="*/ 44 h 249"/>
                <a:gd name="T4" fmla="*/ 0 w 27"/>
                <a:gd name="T5" fmla="*/ 0 h 249"/>
                <a:gd name="T6" fmla="*/ 18 w 27"/>
                <a:gd name="T7" fmla="*/ 23 h 249"/>
                <a:gd name="T8" fmla="*/ 27 w 27"/>
                <a:gd name="T9" fmla="*/ 59 h 249"/>
                <a:gd name="T10" fmla="*/ 27 w 27"/>
                <a:gd name="T11" fmla="*/ 230 h 249"/>
                <a:gd name="T12" fmla="*/ 8 w 27"/>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7" h="249">
                  <a:moveTo>
                    <a:pt x="8" y="249"/>
                  </a:moveTo>
                  <a:lnTo>
                    <a:pt x="8" y="44"/>
                  </a:lnTo>
                  <a:cubicBezTo>
                    <a:pt x="8" y="29"/>
                    <a:pt x="5" y="14"/>
                    <a:pt x="0" y="0"/>
                  </a:cubicBezTo>
                  <a:cubicBezTo>
                    <a:pt x="7" y="6"/>
                    <a:pt x="13" y="14"/>
                    <a:pt x="18" y="23"/>
                  </a:cubicBezTo>
                  <a:cubicBezTo>
                    <a:pt x="24" y="34"/>
                    <a:pt x="27" y="47"/>
                    <a:pt x="27" y="59"/>
                  </a:cubicBezTo>
                  <a:lnTo>
                    <a:pt x="27" y="230"/>
                  </a:lnTo>
                  <a:lnTo>
                    <a:pt x="8" y="249"/>
                  </a:lnTo>
                  <a:close/>
                </a:path>
              </a:pathLst>
            </a:custGeom>
            <a:solidFill>
              <a:srgbClr val="719B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1635">
              <a:extLst>
                <a:ext uri="{FF2B5EF4-FFF2-40B4-BE49-F238E27FC236}">
                  <a16:creationId xmlns:a16="http://schemas.microsoft.com/office/drawing/2014/main" id="{4D1BD122-AD0C-481A-8EDD-8CB07D7DBBCA}"/>
                </a:ext>
              </a:extLst>
            </p:cNvPr>
            <p:cNvSpPr>
              <a:spLocks/>
            </p:cNvSpPr>
            <p:nvPr/>
          </p:nvSpPr>
          <p:spPr bwMode="auto">
            <a:xfrm>
              <a:off x="7581901" y="2278063"/>
              <a:ext cx="55563" cy="528638"/>
            </a:xfrm>
            <a:custGeom>
              <a:avLst/>
              <a:gdLst>
                <a:gd name="T0" fmla="*/ 66 w 69"/>
                <a:gd name="T1" fmla="*/ 645 h 645"/>
                <a:gd name="T2" fmla="*/ 63 w 69"/>
                <a:gd name="T3" fmla="*/ 644 h 645"/>
                <a:gd name="T4" fmla="*/ 8 w 69"/>
                <a:gd name="T5" fmla="*/ 612 h 645"/>
                <a:gd name="T6" fmla="*/ 0 w 69"/>
                <a:gd name="T7" fmla="*/ 597 h 645"/>
                <a:gd name="T8" fmla="*/ 0 w 69"/>
                <a:gd name="T9" fmla="*/ 29 h 645"/>
                <a:gd name="T10" fmla="*/ 20 w 69"/>
                <a:gd name="T11" fmla="*/ 0 h 645"/>
                <a:gd name="T12" fmla="*/ 33 w 69"/>
                <a:gd name="T13" fmla="*/ 4 h 645"/>
                <a:gd name="T14" fmla="*/ 38 w 69"/>
                <a:gd name="T15" fmla="*/ 7 h 645"/>
                <a:gd name="T16" fmla="*/ 61 w 69"/>
                <a:gd name="T17" fmla="*/ 33 h 645"/>
                <a:gd name="T18" fmla="*/ 43 w 69"/>
                <a:gd name="T19" fmla="*/ 11 h 645"/>
                <a:gd name="T20" fmla="*/ 52 w 69"/>
                <a:gd name="T21" fmla="*/ 54 h 645"/>
                <a:gd name="T22" fmla="*/ 52 w 69"/>
                <a:gd name="T23" fmla="*/ 623 h 645"/>
                <a:gd name="T24" fmla="*/ 46 w 69"/>
                <a:gd name="T25" fmla="*/ 633 h 645"/>
                <a:gd name="T26" fmla="*/ 43 w 69"/>
                <a:gd name="T27" fmla="*/ 632 h 645"/>
                <a:gd name="T28" fmla="*/ 63 w 69"/>
                <a:gd name="T29" fmla="*/ 643 h 645"/>
                <a:gd name="T30" fmla="*/ 66 w 69"/>
                <a:gd name="T31" fmla="*/ 644 h 645"/>
                <a:gd name="T32" fmla="*/ 69 w 69"/>
                <a:gd name="T33" fmla="*/ 644 h 645"/>
                <a:gd name="T34" fmla="*/ 66 w 69"/>
                <a:gd name="T35"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645">
                  <a:moveTo>
                    <a:pt x="66" y="645"/>
                  </a:moveTo>
                  <a:cubicBezTo>
                    <a:pt x="65" y="645"/>
                    <a:pt x="64" y="644"/>
                    <a:pt x="63" y="644"/>
                  </a:cubicBezTo>
                  <a:lnTo>
                    <a:pt x="8" y="612"/>
                  </a:lnTo>
                  <a:cubicBezTo>
                    <a:pt x="3" y="609"/>
                    <a:pt x="0" y="603"/>
                    <a:pt x="0" y="597"/>
                  </a:cubicBezTo>
                  <a:lnTo>
                    <a:pt x="0" y="29"/>
                  </a:lnTo>
                  <a:cubicBezTo>
                    <a:pt x="0" y="11"/>
                    <a:pt x="8" y="0"/>
                    <a:pt x="20" y="0"/>
                  </a:cubicBezTo>
                  <a:cubicBezTo>
                    <a:pt x="24" y="0"/>
                    <a:pt x="28" y="1"/>
                    <a:pt x="33" y="4"/>
                  </a:cubicBezTo>
                  <a:lnTo>
                    <a:pt x="38" y="7"/>
                  </a:lnTo>
                  <a:cubicBezTo>
                    <a:pt x="47" y="12"/>
                    <a:pt x="55" y="22"/>
                    <a:pt x="61" y="33"/>
                  </a:cubicBezTo>
                  <a:cubicBezTo>
                    <a:pt x="57" y="25"/>
                    <a:pt x="50" y="17"/>
                    <a:pt x="43" y="11"/>
                  </a:cubicBezTo>
                  <a:cubicBezTo>
                    <a:pt x="49" y="24"/>
                    <a:pt x="52" y="40"/>
                    <a:pt x="52" y="54"/>
                  </a:cubicBezTo>
                  <a:lnTo>
                    <a:pt x="52" y="623"/>
                  </a:lnTo>
                  <a:cubicBezTo>
                    <a:pt x="52" y="629"/>
                    <a:pt x="50" y="633"/>
                    <a:pt x="46" y="633"/>
                  </a:cubicBezTo>
                  <a:cubicBezTo>
                    <a:pt x="45" y="633"/>
                    <a:pt x="44" y="632"/>
                    <a:pt x="43" y="632"/>
                  </a:cubicBezTo>
                  <a:lnTo>
                    <a:pt x="63" y="643"/>
                  </a:lnTo>
                  <a:cubicBezTo>
                    <a:pt x="64" y="644"/>
                    <a:pt x="65" y="644"/>
                    <a:pt x="66" y="644"/>
                  </a:cubicBezTo>
                  <a:cubicBezTo>
                    <a:pt x="67" y="644"/>
                    <a:pt x="68" y="644"/>
                    <a:pt x="69" y="644"/>
                  </a:cubicBezTo>
                  <a:cubicBezTo>
                    <a:pt x="68" y="644"/>
                    <a:pt x="67" y="645"/>
                    <a:pt x="66" y="645"/>
                  </a:cubicBezTo>
                </a:path>
              </a:pathLst>
            </a:custGeom>
            <a:solidFill>
              <a:srgbClr val="FFCE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636">
              <a:extLst>
                <a:ext uri="{FF2B5EF4-FFF2-40B4-BE49-F238E27FC236}">
                  <a16:creationId xmlns:a16="http://schemas.microsoft.com/office/drawing/2014/main" id="{B708F014-EAE7-4402-A546-5EECA1F2F561}"/>
                </a:ext>
              </a:extLst>
            </p:cNvPr>
            <p:cNvSpPr>
              <a:spLocks/>
            </p:cNvSpPr>
            <p:nvPr/>
          </p:nvSpPr>
          <p:spPr bwMode="auto">
            <a:xfrm>
              <a:off x="7631113" y="2305051"/>
              <a:ext cx="7938" cy="500063"/>
            </a:xfrm>
            <a:custGeom>
              <a:avLst/>
              <a:gdLst>
                <a:gd name="T0" fmla="*/ 8 w 10"/>
                <a:gd name="T1" fmla="*/ 611 h 611"/>
                <a:gd name="T2" fmla="*/ 10 w 10"/>
                <a:gd name="T3" fmla="*/ 605 h 611"/>
                <a:gd name="T4" fmla="*/ 10 w 10"/>
                <a:gd name="T5" fmla="*/ 37 h 611"/>
                <a:gd name="T6" fmla="*/ 0 w 10"/>
                <a:gd name="T7" fmla="*/ 0 h 611"/>
                <a:gd name="T8" fmla="*/ 10 w 10"/>
                <a:gd name="T9" fmla="*/ 34 h 611"/>
                <a:gd name="T10" fmla="*/ 10 w 10"/>
                <a:gd name="T11" fmla="*/ 606 h 611"/>
                <a:gd name="T12" fmla="*/ 8 w 10"/>
                <a:gd name="T13" fmla="*/ 611 h 611"/>
              </a:gdLst>
              <a:ahLst/>
              <a:cxnLst>
                <a:cxn ang="0">
                  <a:pos x="T0" y="T1"/>
                </a:cxn>
                <a:cxn ang="0">
                  <a:pos x="T2" y="T3"/>
                </a:cxn>
                <a:cxn ang="0">
                  <a:pos x="T4" y="T5"/>
                </a:cxn>
                <a:cxn ang="0">
                  <a:pos x="T6" y="T7"/>
                </a:cxn>
                <a:cxn ang="0">
                  <a:pos x="T8" y="T9"/>
                </a:cxn>
                <a:cxn ang="0">
                  <a:pos x="T10" y="T11"/>
                </a:cxn>
                <a:cxn ang="0">
                  <a:pos x="T12" y="T13"/>
                </a:cxn>
              </a:cxnLst>
              <a:rect l="0" t="0" r="r" b="b"/>
              <a:pathLst>
                <a:path w="10" h="611">
                  <a:moveTo>
                    <a:pt x="8" y="611"/>
                  </a:moveTo>
                  <a:cubicBezTo>
                    <a:pt x="9" y="610"/>
                    <a:pt x="10" y="608"/>
                    <a:pt x="10" y="605"/>
                  </a:cubicBezTo>
                  <a:lnTo>
                    <a:pt x="10" y="37"/>
                  </a:lnTo>
                  <a:cubicBezTo>
                    <a:pt x="10" y="25"/>
                    <a:pt x="6" y="12"/>
                    <a:pt x="0" y="0"/>
                  </a:cubicBezTo>
                  <a:cubicBezTo>
                    <a:pt x="6" y="11"/>
                    <a:pt x="10" y="23"/>
                    <a:pt x="10" y="34"/>
                  </a:cubicBezTo>
                  <a:lnTo>
                    <a:pt x="10" y="606"/>
                  </a:lnTo>
                  <a:cubicBezTo>
                    <a:pt x="10" y="608"/>
                    <a:pt x="9" y="610"/>
                    <a:pt x="8" y="611"/>
                  </a:cubicBezTo>
                  <a:close/>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637">
              <a:extLst>
                <a:ext uri="{FF2B5EF4-FFF2-40B4-BE49-F238E27FC236}">
                  <a16:creationId xmlns:a16="http://schemas.microsoft.com/office/drawing/2014/main" id="{B8D6E40F-AD24-42DA-8699-6418D7451405}"/>
                </a:ext>
              </a:extLst>
            </p:cNvPr>
            <p:cNvSpPr>
              <a:spLocks/>
            </p:cNvSpPr>
            <p:nvPr/>
          </p:nvSpPr>
          <p:spPr bwMode="auto">
            <a:xfrm>
              <a:off x="7616826" y="2286001"/>
              <a:ext cx="22225" cy="519113"/>
            </a:xfrm>
            <a:custGeom>
              <a:avLst/>
              <a:gdLst>
                <a:gd name="T0" fmla="*/ 23 w 28"/>
                <a:gd name="T1" fmla="*/ 633 h 633"/>
                <a:gd name="T2" fmla="*/ 20 w 28"/>
                <a:gd name="T3" fmla="*/ 632 h 633"/>
                <a:gd name="T4" fmla="*/ 0 w 28"/>
                <a:gd name="T5" fmla="*/ 621 h 633"/>
                <a:gd name="T6" fmla="*/ 3 w 28"/>
                <a:gd name="T7" fmla="*/ 622 h 633"/>
                <a:gd name="T8" fmla="*/ 9 w 28"/>
                <a:gd name="T9" fmla="*/ 612 h 633"/>
                <a:gd name="T10" fmla="*/ 9 w 28"/>
                <a:gd name="T11" fmla="*/ 43 h 633"/>
                <a:gd name="T12" fmla="*/ 0 w 28"/>
                <a:gd name="T13" fmla="*/ 0 h 633"/>
                <a:gd name="T14" fmla="*/ 18 w 28"/>
                <a:gd name="T15" fmla="*/ 22 h 633"/>
                <a:gd name="T16" fmla="*/ 28 w 28"/>
                <a:gd name="T17" fmla="*/ 59 h 633"/>
                <a:gd name="T18" fmla="*/ 28 w 28"/>
                <a:gd name="T19" fmla="*/ 627 h 633"/>
                <a:gd name="T20" fmla="*/ 26 w 28"/>
                <a:gd name="T21" fmla="*/ 633 h 633"/>
                <a:gd name="T22" fmla="*/ 23 w 28"/>
                <a:gd name="T23"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633">
                  <a:moveTo>
                    <a:pt x="23" y="633"/>
                  </a:moveTo>
                  <a:cubicBezTo>
                    <a:pt x="22" y="633"/>
                    <a:pt x="21" y="633"/>
                    <a:pt x="20" y="632"/>
                  </a:cubicBezTo>
                  <a:lnTo>
                    <a:pt x="0" y="621"/>
                  </a:lnTo>
                  <a:cubicBezTo>
                    <a:pt x="1" y="621"/>
                    <a:pt x="2" y="622"/>
                    <a:pt x="3" y="622"/>
                  </a:cubicBezTo>
                  <a:cubicBezTo>
                    <a:pt x="7" y="622"/>
                    <a:pt x="9" y="618"/>
                    <a:pt x="9" y="612"/>
                  </a:cubicBezTo>
                  <a:lnTo>
                    <a:pt x="9" y="43"/>
                  </a:lnTo>
                  <a:cubicBezTo>
                    <a:pt x="9" y="29"/>
                    <a:pt x="6" y="13"/>
                    <a:pt x="0" y="0"/>
                  </a:cubicBezTo>
                  <a:cubicBezTo>
                    <a:pt x="7" y="6"/>
                    <a:pt x="14" y="14"/>
                    <a:pt x="18" y="22"/>
                  </a:cubicBezTo>
                  <a:cubicBezTo>
                    <a:pt x="24" y="34"/>
                    <a:pt x="28" y="47"/>
                    <a:pt x="28" y="59"/>
                  </a:cubicBezTo>
                  <a:lnTo>
                    <a:pt x="28" y="627"/>
                  </a:lnTo>
                  <a:cubicBezTo>
                    <a:pt x="28" y="630"/>
                    <a:pt x="27" y="632"/>
                    <a:pt x="26" y="633"/>
                  </a:cubicBezTo>
                  <a:cubicBezTo>
                    <a:pt x="25" y="633"/>
                    <a:pt x="24" y="633"/>
                    <a:pt x="23" y="633"/>
                  </a:cubicBezTo>
                </a:path>
              </a:pathLst>
            </a:custGeom>
            <a:solidFill>
              <a:srgbClr val="DCB3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638">
              <a:extLst>
                <a:ext uri="{FF2B5EF4-FFF2-40B4-BE49-F238E27FC236}">
                  <a16:creationId xmlns:a16="http://schemas.microsoft.com/office/drawing/2014/main" id="{F66112BC-FE41-4D50-9D42-558C8C584DEB}"/>
                </a:ext>
              </a:extLst>
            </p:cNvPr>
            <p:cNvSpPr>
              <a:spLocks/>
            </p:cNvSpPr>
            <p:nvPr/>
          </p:nvSpPr>
          <p:spPr bwMode="auto">
            <a:xfrm>
              <a:off x="7907338" y="2246313"/>
              <a:ext cx="50800" cy="338138"/>
            </a:xfrm>
            <a:custGeom>
              <a:avLst/>
              <a:gdLst>
                <a:gd name="T0" fmla="*/ 0 w 62"/>
                <a:gd name="T1" fmla="*/ 413 h 413"/>
                <a:gd name="T2" fmla="*/ 0 w 62"/>
                <a:gd name="T3" fmla="*/ 29 h 413"/>
                <a:gd name="T4" fmla="*/ 20 w 62"/>
                <a:gd name="T5" fmla="*/ 0 h 413"/>
                <a:gd name="T6" fmla="*/ 33 w 62"/>
                <a:gd name="T7" fmla="*/ 4 h 413"/>
                <a:gd name="T8" fmla="*/ 38 w 62"/>
                <a:gd name="T9" fmla="*/ 7 h 413"/>
                <a:gd name="T10" fmla="*/ 62 w 62"/>
                <a:gd name="T11" fmla="*/ 34 h 413"/>
                <a:gd name="T12" fmla="*/ 44 w 62"/>
                <a:gd name="T13" fmla="*/ 12 h 413"/>
                <a:gd name="T14" fmla="*/ 52 w 62"/>
                <a:gd name="T15" fmla="*/ 55 h 413"/>
                <a:gd name="T16" fmla="*/ 52 w 62"/>
                <a:gd name="T17" fmla="*/ 360 h 413"/>
                <a:gd name="T18" fmla="*/ 0 w 62"/>
                <a:gd name="T19"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413">
                  <a:moveTo>
                    <a:pt x="0" y="413"/>
                  </a:moveTo>
                  <a:lnTo>
                    <a:pt x="0" y="29"/>
                  </a:lnTo>
                  <a:cubicBezTo>
                    <a:pt x="0" y="11"/>
                    <a:pt x="8" y="0"/>
                    <a:pt x="20" y="0"/>
                  </a:cubicBezTo>
                  <a:cubicBezTo>
                    <a:pt x="24" y="0"/>
                    <a:pt x="28" y="2"/>
                    <a:pt x="33" y="4"/>
                  </a:cubicBezTo>
                  <a:lnTo>
                    <a:pt x="38" y="7"/>
                  </a:lnTo>
                  <a:cubicBezTo>
                    <a:pt x="47" y="13"/>
                    <a:pt x="56" y="22"/>
                    <a:pt x="62" y="34"/>
                  </a:cubicBezTo>
                  <a:cubicBezTo>
                    <a:pt x="57" y="25"/>
                    <a:pt x="51" y="17"/>
                    <a:pt x="44" y="12"/>
                  </a:cubicBezTo>
                  <a:cubicBezTo>
                    <a:pt x="49" y="25"/>
                    <a:pt x="52" y="40"/>
                    <a:pt x="52" y="55"/>
                  </a:cubicBezTo>
                  <a:lnTo>
                    <a:pt x="52" y="360"/>
                  </a:lnTo>
                  <a:lnTo>
                    <a:pt x="0" y="413"/>
                  </a:lnTo>
                  <a:close/>
                </a:path>
              </a:pathLst>
            </a:custGeom>
            <a:solidFill>
              <a:srgbClr val="FFCE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639">
              <a:extLst>
                <a:ext uri="{FF2B5EF4-FFF2-40B4-BE49-F238E27FC236}">
                  <a16:creationId xmlns:a16="http://schemas.microsoft.com/office/drawing/2014/main" id="{D6AF8EFD-DBC8-4F54-8764-204258BF3815}"/>
                </a:ext>
              </a:extLst>
            </p:cNvPr>
            <p:cNvSpPr>
              <a:spLocks/>
            </p:cNvSpPr>
            <p:nvPr/>
          </p:nvSpPr>
          <p:spPr bwMode="auto">
            <a:xfrm>
              <a:off x="7958138" y="2274888"/>
              <a:ext cx="7938" cy="252413"/>
            </a:xfrm>
            <a:custGeom>
              <a:avLst/>
              <a:gdLst>
                <a:gd name="T0" fmla="*/ 9 w 9"/>
                <a:gd name="T1" fmla="*/ 308 h 308"/>
                <a:gd name="T2" fmla="*/ 9 w 9"/>
                <a:gd name="T3" fmla="*/ 36 h 308"/>
                <a:gd name="T4" fmla="*/ 0 w 9"/>
                <a:gd name="T5" fmla="*/ 0 h 308"/>
                <a:gd name="T6" fmla="*/ 9 w 9"/>
                <a:gd name="T7" fmla="*/ 33 h 308"/>
                <a:gd name="T8" fmla="*/ 9 w 9"/>
                <a:gd name="T9" fmla="*/ 308 h 308"/>
              </a:gdLst>
              <a:ahLst/>
              <a:cxnLst>
                <a:cxn ang="0">
                  <a:pos x="T0" y="T1"/>
                </a:cxn>
                <a:cxn ang="0">
                  <a:pos x="T2" y="T3"/>
                </a:cxn>
                <a:cxn ang="0">
                  <a:pos x="T4" y="T5"/>
                </a:cxn>
                <a:cxn ang="0">
                  <a:pos x="T6" y="T7"/>
                </a:cxn>
                <a:cxn ang="0">
                  <a:pos x="T8" y="T9"/>
                </a:cxn>
              </a:cxnLst>
              <a:rect l="0" t="0" r="r" b="b"/>
              <a:pathLst>
                <a:path w="9" h="308">
                  <a:moveTo>
                    <a:pt x="9" y="308"/>
                  </a:moveTo>
                  <a:lnTo>
                    <a:pt x="9" y="36"/>
                  </a:lnTo>
                  <a:cubicBezTo>
                    <a:pt x="9" y="24"/>
                    <a:pt x="5" y="11"/>
                    <a:pt x="0" y="0"/>
                  </a:cubicBezTo>
                  <a:cubicBezTo>
                    <a:pt x="6" y="11"/>
                    <a:pt x="9" y="23"/>
                    <a:pt x="9" y="33"/>
                  </a:cubicBezTo>
                  <a:lnTo>
                    <a:pt x="9" y="308"/>
                  </a:lnTo>
                  <a:close/>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640">
              <a:extLst>
                <a:ext uri="{FF2B5EF4-FFF2-40B4-BE49-F238E27FC236}">
                  <a16:creationId xmlns:a16="http://schemas.microsoft.com/office/drawing/2014/main" id="{67C50C01-E1F1-4615-A650-78312F5B7C90}"/>
                </a:ext>
              </a:extLst>
            </p:cNvPr>
            <p:cNvSpPr>
              <a:spLocks/>
            </p:cNvSpPr>
            <p:nvPr/>
          </p:nvSpPr>
          <p:spPr bwMode="auto">
            <a:xfrm>
              <a:off x="7943851" y="2255838"/>
              <a:ext cx="22225" cy="285750"/>
            </a:xfrm>
            <a:custGeom>
              <a:avLst/>
              <a:gdLst>
                <a:gd name="T0" fmla="*/ 8 w 27"/>
                <a:gd name="T1" fmla="*/ 348 h 348"/>
                <a:gd name="T2" fmla="*/ 8 w 27"/>
                <a:gd name="T3" fmla="*/ 43 h 348"/>
                <a:gd name="T4" fmla="*/ 0 w 27"/>
                <a:gd name="T5" fmla="*/ 0 h 348"/>
                <a:gd name="T6" fmla="*/ 18 w 27"/>
                <a:gd name="T7" fmla="*/ 22 h 348"/>
                <a:gd name="T8" fmla="*/ 27 w 27"/>
                <a:gd name="T9" fmla="*/ 58 h 348"/>
                <a:gd name="T10" fmla="*/ 27 w 27"/>
                <a:gd name="T11" fmla="*/ 330 h 348"/>
                <a:gd name="T12" fmla="*/ 8 w 27"/>
                <a:gd name="T13" fmla="*/ 348 h 348"/>
              </a:gdLst>
              <a:ahLst/>
              <a:cxnLst>
                <a:cxn ang="0">
                  <a:pos x="T0" y="T1"/>
                </a:cxn>
                <a:cxn ang="0">
                  <a:pos x="T2" y="T3"/>
                </a:cxn>
                <a:cxn ang="0">
                  <a:pos x="T4" y="T5"/>
                </a:cxn>
                <a:cxn ang="0">
                  <a:pos x="T6" y="T7"/>
                </a:cxn>
                <a:cxn ang="0">
                  <a:pos x="T8" y="T9"/>
                </a:cxn>
                <a:cxn ang="0">
                  <a:pos x="T10" y="T11"/>
                </a:cxn>
                <a:cxn ang="0">
                  <a:pos x="T12" y="T13"/>
                </a:cxn>
              </a:cxnLst>
              <a:rect l="0" t="0" r="r" b="b"/>
              <a:pathLst>
                <a:path w="27" h="348">
                  <a:moveTo>
                    <a:pt x="8" y="348"/>
                  </a:moveTo>
                  <a:lnTo>
                    <a:pt x="8" y="43"/>
                  </a:lnTo>
                  <a:cubicBezTo>
                    <a:pt x="8" y="28"/>
                    <a:pt x="5" y="13"/>
                    <a:pt x="0" y="0"/>
                  </a:cubicBezTo>
                  <a:cubicBezTo>
                    <a:pt x="7" y="5"/>
                    <a:pt x="13" y="13"/>
                    <a:pt x="18" y="22"/>
                  </a:cubicBezTo>
                  <a:cubicBezTo>
                    <a:pt x="23" y="33"/>
                    <a:pt x="27" y="46"/>
                    <a:pt x="27" y="58"/>
                  </a:cubicBezTo>
                  <a:lnTo>
                    <a:pt x="27" y="330"/>
                  </a:lnTo>
                  <a:lnTo>
                    <a:pt x="8" y="348"/>
                  </a:lnTo>
                  <a:close/>
                </a:path>
              </a:pathLst>
            </a:custGeom>
            <a:solidFill>
              <a:srgbClr val="DCB3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641">
              <a:extLst>
                <a:ext uri="{FF2B5EF4-FFF2-40B4-BE49-F238E27FC236}">
                  <a16:creationId xmlns:a16="http://schemas.microsoft.com/office/drawing/2014/main" id="{7B467A1B-65F9-42F8-AC9A-E2ACB9D3DE39}"/>
                </a:ext>
              </a:extLst>
            </p:cNvPr>
            <p:cNvSpPr>
              <a:spLocks/>
            </p:cNvSpPr>
            <p:nvPr/>
          </p:nvSpPr>
          <p:spPr bwMode="auto">
            <a:xfrm>
              <a:off x="7689851" y="2562226"/>
              <a:ext cx="50800" cy="241300"/>
            </a:xfrm>
            <a:custGeom>
              <a:avLst/>
              <a:gdLst>
                <a:gd name="T0" fmla="*/ 0 w 62"/>
                <a:gd name="T1" fmla="*/ 294 h 294"/>
                <a:gd name="T2" fmla="*/ 0 w 62"/>
                <a:gd name="T3" fmla="*/ 29 h 294"/>
                <a:gd name="T4" fmla="*/ 20 w 62"/>
                <a:gd name="T5" fmla="*/ 0 h 294"/>
                <a:gd name="T6" fmla="*/ 33 w 62"/>
                <a:gd name="T7" fmla="*/ 4 h 294"/>
                <a:gd name="T8" fmla="*/ 38 w 62"/>
                <a:gd name="T9" fmla="*/ 7 h 294"/>
                <a:gd name="T10" fmla="*/ 62 w 62"/>
                <a:gd name="T11" fmla="*/ 34 h 294"/>
                <a:gd name="T12" fmla="*/ 43 w 62"/>
                <a:gd name="T13" fmla="*/ 11 h 294"/>
                <a:gd name="T14" fmla="*/ 52 w 62"/>
                <a:gd name="T15" fmla="*/ 55 h 294"/>
                <a:gd name="T16" fmla="*/ 52 w 62"/>
                <a:gd name="T17" fmla="*/ 241 h 294"/>
                <a:gd name="T18" fmla="*/ 0 w 62"/>
                <a:gd name="T19"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294">
                  <a:moveTo>
                    <a:pt x="0" y="294"/>
                  </a:moveTo>
                  <a:lnTo>
                    <a:pt x="0" y="29"/>
                  </a:lnTo>
                  <a:cubicBezTo>
                    <a:pt x="0" y="11"/>
                    <a:pt x="8" y="0"/>
                    <a:pt x="20" y="0"/>
                  </a:cubicBezTo>
                  <a:cubicBezTo>
                    <a:pt x="24" y="0"/>
                    <a:pt x="28" y="2"/>
                    <a:pt x="33" y="4"/>
                  </a:cubicBezTo>
                  <a:lnTo>
                    <a:pt x="38" y="7"/>
                  </a:lnTo>
                  <a:cubicBezTo>
                    <a:pt x="47" y="12"/>
                    <a:pt x="56" y="22"/>
                    <a:pt x="62" y="34"/>
                  </a:cubicBezTo>
                  <a:cubicBezTo>
                    <a:pt x="57" y="25"/>
                    <a:pt x="50" y="17"/>
                    <a:pt x="43" y="11"/>
                  </a:cubicBezTo>
                  <a:cubicBezTo>
                    <a:pt x="49" y="25"/>
                    <a:pt x="52" y="40"/>
                    <a:pt x="52" y="55"/>
                  </a:cubicBezTo>
                  <a:lnTo>
                    <a:pt x="52" y="241"/>
                  </a:lnTo>
                  <a:lnTo>
                    <a:pt x="0" y="294"/>
                  </a:lnTo>
                  <a:close/>
                </a:path>
              </a:pathLst>
            </a:custGeom>
            <a:solidFill>
              <a:srgbClr val="82B3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642">
              <a:extLst>
                <a:ext uri="{FF2B5EF4-FFF2-40B4-BE49-F238E27FC236}">
                  <a16:creationId xmlns:a16="http://schemas.microsoft.com/office/drawing/2014/main" id="{F34216D4-A9D0-4BB8-A776-DEF59E5E92AB}"/>
                </a:ext>
              </a:extLst>
            </p:cNvPr>
            <p:cNvSpPr>
              <a:spLocks/>
            </p:cNvSpPr>
            <p:nvPr/>
          </p:nvSpPr>
          <p:spPr bwMode="auto">
            <a:xfrm>
              <a:off x="7740651" y="2590801"/>
              <a:ext cx="7938" cy="153988"/>
            </a:xfrm>
            <a:custGeom>
              <a:avLst/>
              <a:gdLst>
                <a:gd name="T0" fmla="*/ 9 w 9"/>
                <a:gd name="T1" fmla="*/ 189 h 189"/>
                <a:gd name="T2" fmla="*/ 9 w 9"/>
                <a:gd name="T3" fmla="*/ 36 h 189"/>
                <a:gd name="T4" fmla="*/ 0 w 9"/>
                <a:gd name="T5" fmla="*/ 0 h 189"/>
                <a:gd name="T6" fmla="*/ 9 w 9"/>
                <a:gd name="T7" fmla="*/ 33 h 189"/>
                <a:gd name="T8" fmla="*/ 9 w 9"/>
                <a:gd name="T9" fmla="*/ 189 h 189"/>
              </a:gdLst>
              <a:ahLst/>
              <a:cxnLst>
                <a:cxn ang="0">
                  <a:pos x="T0" y="T1"/>
                </a:cxn>
                <a:cxn ang="0">
                  <a:pos x="T2" y="T3"/>
                </a:cxn>
                <a:cxn ang="0">
                  <a:pos x="T4" y="T5"/>
                </a:cxn>
                <a:cxn ang="0">
                  <a:pos x="T6" y="T7"/>
                </a:cxn>
                <a:cxn ang="0">
                  <a:pos x="T8" y="T9"/>
                </a:cxn>
              </a:cxnLst>
              <a:rect l="0" t="0" r="r" b="b"/>
              <a:pathLst>
                <a:path w="9" h="189">
                  <a:moveTo>
                    <a:pt x="9" y="189"/>
                  </a:moveTo>
                  <a:lnTo>
                    <a:pt x="9" y="36"/>
                  </a:lnTo>
                  <a:cubicBezTo>
                    <a:pt x="9" y="24"/>
                    <a:pt x="5" y="11"/>
                    <a:pt x="0" y="0"/>
                  </a:cubicBezTo>
                  <a:cubicBezTo>
                    <a:pt x="5" y="11"/>
                    <a:pt x="9" y="22"/>
                    <a:pt x="9" y="33"/>
                  </a:cubicBezTo>
                  <a:lnTo>
                    <a:pt x="9" y="189"/>
                  </a:lnTo>
                  <a:close/>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1643">
              <a:extLst>
                <a:ext uri="{FF2B5EF4-FFF2-40B4-BE49-F238E27FC236}">
                  <a16:creationId xmlns:a16="http://schemas.microsoft.com/office/drawing/2014/main" id="{397F8A07-E717-4396-A623-6D5E32C58CCF}"/>
                </a:ext>
              </a:extLst>
            </p:cNvPr>
            <p:cNvSpPr>
              <a:spLocks/>
            </p:cNvSpPr>
            <p:nvPr/>
          </p:nvSpPr>
          <p:spPr bwMode="auto">
            <a:xfrm>
              <a:off x="7724776" y="2571751"/>
              <a:ext cx="23813" cy="188913"/>
            </a:xfrm>
            <a:custGeom>
              <a:avLst/>
              <a:gdLst>
                <a:gd name="T0" fmla="*/ 9 w 28"/>
                <a:gd name="T1" fmla="*/ 230 h 230"/>
                <a:gd name="T2" fmla="*/ 9 w 28"/>
                <a:gd name="T3" fmla="*/ 44 h 230"/>
                <a:gd name="T4" fmla="*/ 0 w 28"/>
                <a:gd name="T5" fmla="*/ 0 h 230"/>
                <a:gd name="T6" fmla="*/ 19 w 28"/>
                <a:gd name="T7" fmla="*/ 23 h 230"/>
                <a:gd name="T8" fmla="*/ 28 w 28"/>
                <a:gd name="T9" fmla="*/ 59 h 230"/>
                <a:gd name="T10" fmla="*/ 28 w 28"/>
                <a:gd name="T11" fmla="*/ 212 h 230"/>
                <a:gd name="T12" fmla="*/ 9 w 28"/>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28" h="230">
                  <a:moveTo>
                    <a:pt x="9" y="230"/>
                  </a:moveTo>
                  <a:lnTo>
                    <a:pt x="9" y="44"/>
                  </a:lnTo>
                  <a:cubicBezTo>
                    <a:pt x="9" y="29"/>
                    <a:pt x="6" y="14"/>
                    <a:pt x="0" y="0"/>
                  </a:cubicBezTo>
                  <a:cubicBezTo>
                    <a:pt x="7" y="6"/>
                    <a:pt x="14" y="14"/>
                    <a:pt x="19" y="23"/>
                  </a:cubicBezTo>
                  <a:cubicBezTo>
                    <a:pt x="24" y="34"/>
                    <a:pt x="28" y="47"/>
                    <a:pt x="28" y="59"/>
                  </a:cubicBezTo>
                  <a:lnTo>
                    <a:pt x="28" y="212"/>
                  </a:lnTo>
                  <a:lnTo>
                    <a:pt x="9" y="230"/>
                  </a:lnTo>
                  <a:close/>
                </a:path>
              </a:pathLst>
            </a:custGeom>
            <a:solidFill>
              <a:srgbClr val="719B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644">
              <a:extLst>
                <a:ext uri="{FF2B5EF4-FFF2-40B4-BE49-F238E27FC236}">
                  <a16:creationId xmlns:a16="http://schemas.microsoft.com/office/drawing/2014/main" id="{A735CABD-4486-4F5C-B0B6-E2F0D1EC9A46}"/>
                </a:ext>
              </a:extLst>
            </p:cNvPr>
            <p:cNvSpPr>
              <a:spLocks/>
            </p:cNvSpPr>
            <p:nvPr/>
          </p:nvSpPr>
          <p:spPr bwMode="auto">
            <a:xfrm>
              <a:off x="7799388" y="2514601"/>
              <a:ext cx="50800" cy="179388"/>
            </a:xfrm>
            <a:custGeom>
              <a:avLst/>
              <a:gdLst>
                <a:gd name="T0" fmla="*/ 0 w 62"/>
                <a:gd name="T1" fmla="*/ 220 h 220"/>
                <a:gd name="T2" fmla="*/ 0 w 62"/>
                <a:gd name="T3" fmla="*/ 29 h 220"/>
                <a:gd name="T4" fmla="*/ 20 w 62"/>
                <a:gd name="T5" fmla="*/ 0 h 220"/>
                <a:gd name="T6" fmla="*/ 33 w 62"/>
                <a:gd name="T7" fmla="*/ 4 h 220"/>
                <a:gd name="T8" fmla="*/ 38 w 62"/>
                <a:gd name="T9" fmla="*/ 7 h 220"/>
                <a:gd name="T10" fmla="*/ 62 w 62"/>
                <a:gd name="T11" fmla="*/ 33 h 220"/>
                <a:gd name="T12" fmla="*/ 43 w 62"/>
                <a:gd name="T13" fmla="*/ 11 h 220"/>
                <a:gd name="T14" fmla="*/ 52 w 62"/>
                <a:gd name="T15" fmla="*/ 54 h 220"/>
                <a:gd name="T16" fmla="*/ 52 w 62"/>
                <a:gd name="T17" fmla="*/ 167 h 220"/>
                <a:gd name="T18" fmla="*/ 0 w 62"/>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220">
                  <a:moveTo>
                    <a:pt x="0" y="220"/>
                  </a:moveTo>
                  <a:lnTo>
                    <a:pt x="0" y="29"/>
                  </a:lnTo>
                  <a:cubicBezTo>
                    <a:pt x="0" y="11"/>
                    <a:pt x="8" y="0"/>
                    <a:pt x="20" y="0"/>
                  </a:cubicBezTo>
                  <a:cubicBezTo>
                    <a:pt x="24" y="0"/>
                    <a:pt x="28" y="1"/>
                    <a:pt x="33" y="4"/>
                  </a:cubicBezTo>
                  <a:lnTo>
                    <a:pt x="38" y="7"/>
                  </a:lnTo>
                  <a:cubicBezTo>
                    <a:pt x="47" y="12"/>
                    <a:pt x="56" y="22"/>
                    <a:pt x="62" y="33"/>
                  </a:cubicBezTo>
                  <a:cubicBezTo>
                    <a:pt x="57" y="25"/>
                    <a:pt x="51" y="17"/>
                    <a:pt x="43" y="11"/>
                  </a:cubicBezTo>
                  <a:cubicBezTo>
                    <a:pt x="49" y="25"/>
                    <a:pt x="52" y="40"/>
                    <a:pt x="52" y="54"/>
                  </a:cubicBezTo>
                  <a:lnTo>
                    <a:pt x="52" y="167"/>
                  </a:lnTo>
                  <a:lnTo>
                    <a:pt x="0" y="220"/>
                  </a:lnTo>
                </a:path>
              </a:pathLst>
            </a:custGeom>
            <a:solidFill>
              <a:srgbClr val="D365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1645">
              <a:extLst>
                <a:ext uri="{FF2B5EF4-FFF2-40B4-BE49-F238E27FC236}">
                  <a16:creationId xmlns:a16="http://schemas.microsoft.com/office/drawing/2014/main" id="{E40997E3-7792-45CB-B51A-AE01FBDC5F58}"/>
                </a:ext>
              </a:extLst>
            </p:cNvPr>
            <p:cNvSpPr>
              <a:spLocks/>
            </p:cNvSpPr>
            <p:nvPr/>
          </p:nvSpPr>
          <p:spPr bwMode="auto">
            <a:xfrm>
              <a:off x="7850188" y="2541588"/>
              <a:ext cx="7938" cy="93663"/>
            </a:xfrm>
            <a:custGeom>
              <a:avLst/>
              <a:gdLst>
                <a:gd name="T0" fmla="*/ 9 w 9"/>
                <a:gd name="T1" fmla="*/ 116 h 116"/>
                <a:gd name="T2" fmla="*/ 9 w 9"/>
                <a:gd name="T3" fmla="*/ 37 h 116"/>
                <a:gd name="T4" fmla="*/ 0 w 9"/>
                <a:gd name="T5" fmla="*/ 0 h 116"/>
                <a:gd name="T6" fmla="*/ 9 w 9"/>
                <a:gd name="T7" fmla="*/ 34 h 116"/>
                <a:gd name="T8" fmla="*/ 9 w 9"/>
                <a:gd name="T9" fmla="*/ 116 h 116"/>
              </a:gdLst>
              <a:ahLst/>
              <a:cxnLst>
                <a:cxn ang="0">
                  <a:pos x="T0" y="T1"/>
                </a:cxn>
                <a:cxn ang="0">
                  <a:pos x="T2" y="T3"/>
                </a:cxn>
                <a:cxn ang="0">
                  <a:pos x="T4" y="T5"/>
                </a:cxn>
                <a:cxn ang="0">
                  <a:pos x="T6" y="T7"/>
                </a:cxn>
                <a:cxn ang="0">
                  <a:pos x="T8" y="T9"/>
                </a:cxn>
              </a:cxnLst>
              <a:rect l="0" t="0" r="r" b="b"/>
              <a:pathLst>
                <a:path w="9" h="116">
                  <a:moveTo>
                    <a:pt x="9" y="116"/>
                  </a:moveTo>
                  <a:lnTo>
                    <a:pt x="9" y="37"/>
                  </a:lnTo>
                  <a:cubicBezTo>
                    <a:pt x="9" y="25"/>
                    <a:pt x="5" y="12"/>
                    <a:pt x="0" y="0"/>
                  </a:cubicBezTo>
                  <a:cubicBezTo>
                    <a:pt x="5" y="11"/>
                    <a:pt x="9" y="23"/>
                    <a:pt x="9" y="34"/>
                  </a:cubicBezTo>
                  <a:lnTo>
                    <a:pt x="9" y="116"/>
                  </a:lnTo>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1646">
              <a:extLst>
                <a:ext uri="{FF2B5EF4-FFF2-40B4-BE49-F238E27FC236}">
                  <a16:creationId xmlns:a16="http://schemas.microsoft.com/office/drawing/2014/main" id="{212CF328-843B-43CE-9F51-6C7EE29CE709}"/>
                </a:ext>
              </a:extLst>
            </p:cNvPr>
            <p:cNvSpPr>
              <a:spLocks/>
            </p:cNvSpPr>
            <p:nvPr/>
          </p:nvSpPr>
          <p:spPr bwMode="auto">
            <a:xfrm>
              <a:off x="7834313" y="2522538"/>
              <a:ext cx="23813" cy="128588"/>
            </a:xfrm>
            <a:custGeom>
              <a:avLst/>
              <a:gdLst>
                <a:gd name="T0" fmla="*/ 9 w 28"/>
                <a:gd name="T1" fmla="*/ 156 h 156"/>
                <a:gd name="T2" fmla="*/ 9 w 28"/>
                <a:gd name="T3" fmla="*/ 43 h 156"/>
                <a:gd name="T4" fmla="*/ 0 w 28"/>
                <a:gd name="T5" fmla="*/ 0 h 156"/>
                <a:gd name="T6" fmla="*/ 19 w 28"/>
                <a:gd name="T7" fmla="*/ 22 h 156"/>
                <a:gd name="T8" fmla="*/ 28 w 28"/>
                <a:gd name="T9" fmla="*/ 59 h 156"/>
                <a:gd name="T10" fmla="*/ 28 w 28"/>
                <a:gd name="T11" fmla="*/ 138 h 156"/>
                <a:gd name="T12" fmla="*/ 9 w 28"/>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28" h="156">
                  <a:moveTo>
                    <a:pt x="9" y="156"/>
                  </a:moveTo>
                  <a:lnTo>
                    <a:pt x="9" y="43"/>
                  </a:lnTo>
                  <a:cubicBezTo>
                    <a:pt x="9" y="29"/>
                    <a:pt x="6" y="14"/>
                    <a:pt x="0" y="0"/>
                  </a:cubicBezTo>
                  <a:cubicBezTo>
                    <a:pt x="8" y="6"/>
                    <a:pt x="14" y="14"/>
                    <a:pt x="19" y="22"/>
                  </a:cubicBezTo>
                  <a:cubicBezTo>
                    <a:pt x="24" y="34"/>
                    <a:pt x="28" y="47"/>
                    <a:pt x="28" y="59"/>
                  </a:cubicBezTo>
                  <a:lnTo>
                    <a:pt x="28" y="138"/>
                  </a:lnTo>
                  <a:lnTo>
                    <a:pt x="9" y="156"/>
                  </a:lnTo>
                </a:path>
              </a:pathLst>
            </a:custGeom>
            <a:solidFill>
              <a:srgbClr val="B65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647">
              <a:extLst>
                <a:ext uri="{FF2B5EF4-FFF2-40B4-BE49-F238E27FC236}">
                  <a16:creationId xmlns:a16="http://schemas.microsoft.com/office/drawing/2014/main" id="{7139BF1A-5959-4B16-91EE-46CF0D564AD8}"/>
                </a:ext>
              </a:extLst>
            </p:cNvPr>
            <p:cNvSpPr>
              <a:spLocks/>
            </p:cNvSpPr>
            <p:nvPr/>
          </p:nvSpPr>
          <p:spPr bwMode="auto">
            <a:xfrm>
              <a:off x="7389813" y="2844801"/>
              <a:ext cx="174625" cy="190500"/>
            </a:xfrm>
            <a:custGeom>
              <a:avLst/>
              <a:gdLst>
                <a:gd name="T0" fmla="*/ 82 w 212"/>
                <a:gd name="T1" fmla="*/ 232 h 232"/>
                <a:gd name="T2" fmla="*/ 0 w 212"/>
                <a:gd name="T3" fmla="*/ 20 h 232"/>
                <a:gd name="T4" fmla="*/ 25 w 212"/>
                <a:gd name="T5" fmla="*/ 0 h 232"/>
                <a:gd name="T6" fmla="*/ 45 w 212"/>
                <a:gd name="T7" fmla="*/ 6 h 232"/>
                <a:gd name="T8" fmla="*/ 212 w 212"/>
                <a:gd name="T9" fmla="*/ 103 h 232"/>
                <a:gd name="T10" fmla="*/ 82 w 212"/>
                <a:gd name="T11" fmla="*/ 232 h 232"/>
              </a:gdLst>
              <a:ahLst/>
              <a:cxnLst>
                <a:cxn ang="0">
                  <a:pos x="T0" y="T1"/>
                </a:cxn>
                <a:cxn ang="0">
                  <a:pos x="T2" y="T3"/>
                </a:cxn>
                <a:cxn ang="0">
                  <a:pos x="T4" y="T5"/>
                </a:cxn>
                <a:cxn ang="0">
                  <a:pos x="T6" y="T7"/>
                </a:cxn>
                <a:cxn ang="0">
                  <a:pos x="T8" y="T9"/>
                </a:cxn>
                <a:cxn ang="0">
                  <a:pos x="T10" y="T11"/>
                </a:cxn>
              </a:cxnLst>
              <a:rect l="0" t="0" r="r" b="b"/>
              <a:pathLst>
                <a:path w="212" h="232">
                  <a:moveTo>
                    <a:pt x="82" y="232"/>
                  </a:moveTo>
                  <a:lnTo>
                    <a:pt x="0" y="20"/>
                  </a:lnTo>
                  <a:cubicBezTo>
                    <a:pt x="5" y="7"/>
                    <a:pt x="14" y="0"/>
                    <a:pt x="25" y="0"/>
                  </a:cubicBezTo>
                  <a:cubicBezTo>
                    <a:pt x="31" y="0"/>
                    <a:pt x="38" y="2"/>
                    <a:pt x="45" y="6"/>
                  </a:cubicBezTo>
                  <a:lnTo>
                    <a:pt x="212" y="103"/>
                  </a:lnTo>
                  <a:lnTo>
                    <a:pt x="82" y="232"/>
                  </a:lnTo>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648">
              <a:extLst>
                <a:ext uri="{FF2B5EF4-FFF2-40B4-BE49-F238E27FC236}">
                  <a16:creationId xmlns:a16="http://schemas.microsoft.com/office/drawing/2014/main" id="{028C80BE-3F38-4428-B1B9-2430DFA31EBD}"/>
                </a:ext>
              </a:extLst>
            </p:cNvPr>
            <p:cNvSpPr>
              <a:spLocks/>
            </p:cNvSpPr>
            <p:nvPr/>
          </p:nvSpPr>
          <p:spPr bwMode="auto">
            <a:xfrm>
              <a:off x="7435851" y="3814763"/>
              <a:ext cx="295275" cy="554038"/>
            </a:xfrm>
            <a:custGeom>
              <a:avLst/>
              <a:gdLst>
                <a:gd name="T0" fmla="*/ 0 w 359"/>
                <a:gd name="T1" fmla="*/ 676 h 676"/>
                <a:gd name="T2" fmla="*/ 23 w 359"/>
                <a:gd name="T3" fmla="*/ 368 h 676"/>
                <a:gd name="T4" fmla="*/ 23 w 359"/>
                <a:gd name="T5" fmla="*/ 123 h 676"/>
                <a:gd name="T6" fmla="*/ 146 w 359"/>
                <a:gd name="T7" fmla="*/ 0 h 676"/>
                <a:gd name="T8" fmla="*/ 359 w 359"/>
                <a:gd name="T9" fmla="*/ 318 h 676"/>
                <a:gd name="T10" fmla="*/ 257 w 359"/>
                <a:gd name="T11" fmla="*/ 420 h 676"/>
                <a:gd name="T12" fmla="*/ 73 w 359"/>
                <a:gd name="T13" fmla="*/ 314 h 676"/>
                <a:gd name="T14" fmla="*/ 54 w 359"/>
                <a:gd name="T15" fmla="*/ 308 h 676"/>
                <a:gd name="T16" fmla="*/ 26 w 359"/>
                <a:gd name="T17" fmla="*/ 350 h 676"/>
                <a:gd name="T18" fmla="*/ 26 w 359"/>
                <a:gd name="T19" fmla="*/ 456 h 676"/>
                <a:gd name="T20" fmla="*/ 73 w 359"/>
                <a:gd name="T21" fmla="*/ 548 h 676"/>
                <a:gd name="T22" fmla="*/ 109 w 359"/>
                <a:gd name="T23" fmla="*/ 568 h 676"/>
                <a:gd name="T24" fmla="*/ 0 w 359"/>
                <a:gd name="T25"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9" h="676">
                  <a:moveTo>
                    <a:pt x="0" y="676"/>
                  </a:moveTo>
                  <a:cubicBezTo>
                    <a:pt x="16" y="571"/>
                    <a:pt x="23" y="468"/>
                    <a:pt x="23" y="368"/>
                  </a:cubicBezTo>
                  <a:lnTo>
                    <a:pt x="23" y="123"/>
                  </a:lnTo>
                  <a:cubicBezTo>
                    <a:pt x="64" y="82"/>
                    <a:pt x="105" y="41"/>
                    <a:pt x="146" y="0"/>
                  </a:cubicBezTo>
                  <a:cubicBezTo>
                    <a:pt x="200" y="117"/>
                    <a:pt x="274" y="227"/>
                    <a:pt x="359" y="318"/>
                  </a:cubicBezTo>
                  <a:lnTo>
                    <a:pt x="257" y="420"/>
                  </a:lnTo>
                  <a:lnTo>
                    <a:pt x="73" y="314"/>
                  </a:lnTo>
                  <a:cubicBezTo>
                    <a:pt x="67" y="310"/>
                    <a:pt x="60" y="308"/>
                    <a:pt x="54" y="308"/>
                  </a:cubicBezTo>
                  <a:cubicBezTo>
                    <a:pt x="37" y="308"/>
                    <a:pt x="26" y="324"/>
                    <a:pt x="26" y="350"/>
                  </a:cubicBezTo>
                  <a:lnTo>
                    <a:pt x="26" y="456"/>
                  </a:lnTo>
                  <a:cubicBezTo>
                    <a:pt x="26" y="491"/>
                    <a:pt x="47" y="532"/>
                    <a:pt x="73" y="548"/>
                  </a:cubicBezTo>
                  <a:lnTo>
                    <a:pt x="109" y="568"/>
                  </a:lnTo>
                  <a:lnTo>
                    <a:pt x="0" y="676"/>
                  </a:lnTo>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649">
              <a:extLst>
                <a:ext uri="{FF2B5EF4-FFF2-40B4-BE49-F238E27FC236}">
                  <a16:creationId xmlns:a16="http://schemas.microsoft.com/office/drawing/2014/main" id="{B92450A9-8FFD-4ED0-AC07-2D66878F0265}"/>
                </a:ext>
              </a:extLst>
            </p:cNvPr>
            <p:cNvSpPr>
              <a:spLocks/>
            </p:cNvSpPr>
            <p:nvPr/>
          </p:nvSpPr>
          <p:spPr bwMode="auto">
            <a:xfrm>
              <a:off x="7569201" y="3741738"/>
              <a:ext cx="231775" cy="320675"/>
            </a:xfrm>
            <a:custGeom>
              <a:avLst/>
              <a:gdLst>
                <a:gd name="T0" fmla="*/ 213 w 283"/>
                <a:gd name="T1" fmla="*/ 390 h 390"/>
                <a:gd name="T2" fmla="*/ 0 w 283"/>
                <a:gd name="T3" fmla="*/ 72 h 390"/>
                <a:gd name="T4" fmla="*/ 72 w 283"/>
                <a:gd name="T5" fmla="*/ 0 h 390"/>
                <a:gd name="T6" fmla="*/ 283 w 283"/>
                <a:gd name="T7" fmla="*/ 320 h 390"/>
                <a:gd name="T8" fmla="*/ 213 w 283"/>
                <a:gd name="T9" fmla="*/ 390 h 390"/>
              </a:gdLst>
              <a:ahLst/>
              <a:cxnLst>
                <a:cxn ang="0">
                  <a:pos x="T0" y="T1"/>
                </a:cxn>
                <a:cxn ang="0">
                  <a:pos x="T2" y="T3"/>
                </a:cxn>
                <a:cxn ang="0">
                  <a:pos x="T4" y="T5"/>
                </a:cxn>
                <a:cxn ang="0">
                  <a:pos x="T6" y="T7"/>
                </a:cxn>
                <a:cxn ang="0">
                  <a:pos x="T8" y="T9"/>
                </a:cxn>
              </a:cxnLst>
              <a:rect l="0" t="0" r="r" b="b"/>
              <a:pathLst>
                <a:path w="283" h="390">
                  <a:moveTo>
                    <a:pt x="213" y="390"/>
                  </a:moveTo>
                  <a:cubicBezTo>
                    <a:pt x="127" y="299"/>
                    <a:pt x="54" y="188"/>
                    <a:pt x="0" y="72"/>
                  </a:cubicBezTo>
                  <a:cubicBezTo>
                    <a:pt x="24" y="48"/>
                    <a:pt x="48" y="24"/>
                    <a:pt x="72" y="0"/>
                  </a:cubicBezTo>
                  <a:cubicBezTo>
                    <a:pt x="118" y="120"/>
                    <a:pt x="193" y="234"/>
                    <a:pt x="283" y="320"/>
                  </a:cubicBezTo>
                  <a:lnTo>
                    <a:pt x="213" y="390"/>
                  </a:lnTo>
                </a:path>
              </a:pathLst>
            </a:custGeom>
            <a:solidFill>
              <a:srgbClr val="E5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650">
              <a:extLst>
                <a:ext uri="{FF2B5EF4-FFF2-40B4-BE49-F238E27FC236}">
                  <a16:creationId xmlns:a16="http://schemas.microsoft.com/office/drawing/2014/main" id="{0E4CC599-55FB-48EE-9841-951118EB2FC8}"/>
                </a:ext>
              </a:extLst>
            </p:cNvPr>
            <p:cNvSpPr>
              <a:spLocks/>
            </p:cNvSpPr>
            <p:nvPr/>
          </p:nvSpPr>
          <p:spPr bwMode="auto">
            <a:xfrm>
              <a:off x="7556501" y="3814763"/>
              <a:ext cx="174625" cy="260350"/>
            </a:xfrm>
            <a:custGeom>
              <a:avLst/>
              <a:gdLst>
                <a:gd name="T0" fmla="*/ 213 w 213"/>
                <a:gd name="T1" fmla="*/ 318 h 318"/>
                <a:gd name="T2" fmla="*/ 0 w 213"/>
                <a:gd name="T3" fmla="*/ 0 h 318"/>
                <a:gd name="T4" fmla="*/ 0 w 213"/>
                <a:gd name="T5" fmla="*/ 0 h 318"/>
                <a:gd name="T6" fmla="*/ 213 w 213"/>
                <a:gd name="T7" fmla="*/ 318 h 318"/>
                <a:gd name="T8" fmla="*/ 213 w 213"/>
                <a:gd name="T9" fmla="*/ 318 h 318"/>
              </a:gdLst>
              <a:ahLst/>
              <a:cxnLst>
                <a:cxn ang="0">
                  <a:pos x="T0" y="T1"/>
                </a:cxn>
                <a:cxn ang="0">
                  <a:pos x="T2" y="T3"/>
                </a:cxn>
                <a:cxn ang="0">
                  <a:pos x="T4" y="T5"/>
                </a:cxn>
                <a:cxn ang="0">
                  <a:pos x="T6" y="T7"/>
                </a:cxn>
                <a:cxn ang="0">
                  <a:pos x="T8" y="T9"/>
                </a:cxn>
              </a:cxnLst>
              <a:rect l="0" t="0" r="r" b="b"/>
              <a:pathLst>
                <a:path w="213" h="318">
                  <a:moveTo>
                    <a:pt x="213" y="318"/>
                  </a:moveTo>
                  <a:cubicBezTo>
                    <a:pt x="128" y="227"/>
                    <a:pt x="54" y="117"/>
                    <a:pt x="0" y="0"/>
                  </a:cubicBezTo>
                  <a:lnTo>
                    <a:pt x="0" y="0"/>
                  </a:lnTo>
                  <a:cubicBezTo>
                    <a:pt x="54" y="117"/>
                    <a:pt x="128" y="227"/>
                    <a:pt x="213" y="318"/>
                  </a:cubicBezTo>
                  <a:lnTo>
                    <a:pt x="213" y="318"/>
                  </a:lnTo>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651">
              <a:extLst>
                <a:ext uri="{FF2B5EF4-FFF2-40B4-BE49-F238E27FC236}">
                  <a16:creationId xmlns:a16="http://schemas.microsoft.com/office/drawing/2014/main" id="{7F85A3E3-F80C-44B7-99E9-AA29605884CC}"/>
                </a:ext>
              </a:extLst>
            </p:cNvPr>
            <p:cNvSpPr>
              <a:spLocks/>
            </p:cNvSpPr>
            <p:nvPr/>
          </p:nvSpPr>
          <p:spPr bwMode="auto">
            <a:xfrm>
              <a:off x="7556501" y="3802063"/>
              <a:ext cx="187325" cy="273050"/>
            </a:xfrm>
            <a:custGeom>
              <a:avLst/>
              <a:gdLst>
                <a:gd name="T0" fmla="*/ 213 w 229"/>
                <a:gd name="T1" fmla="*/ 334 h 334"/>
                <a:gd name="T2" fmla="*/ 0 w 229"/>
                <a:gd name="T3" fmla="*/ 16 h 334"/>
                <a:gd name="T4" fmla="*/ 16 w 229"/>
                <a:gd name="T5" fmla="*/ 0 h 334"/>
                <a:gd name="T6" fmla="*/ 229 w 229"/>
                <a:gd name="T7" fmla="*/ 318 h 334"/>
                <a:gd name="T8" fmla="*/ 213 w 229"/>
                <a:gd name="T9" fmla="*/ 334 h 334"/>
              </a:gdLst>
              <a:ahLst/>
              <a:cxnLst>
                <a:cxn ang="0">
                  <a:pos x="T0" y="T1"/>
                </a:cxn>
                <a:cxn ang="0">
                  <a:pos x="T2" y="T3"/>
                </a:cxn>
                <a:cxn ang="0">
                  <a:pos x="T4" y="T5"/>
                </a:cxn>
                <a:cxn ang="0">
                  <a:pos x="T6" y="T7"/>
                </a:cxn>
                <a:cxn ang="0">
                  <a:pos x="T8" y="T9"/>
                </a:cxn>
              </a:cxnLst>
              <a:rect l="0" t="0" r="r" b="b"/>
              <a:pathLst>
                <a:path w="229" h="334">
                  <a:moveTo>
                    <a:pt x="213" y="334"/>
                  </a:moveTo>
                  <a:cubicBezTo>
                    <a:pt x="128" y="243"/>
                    <a:pt x="54" y="133"/>
                    <a:pt x="0" y="16"/>
                  </a:cubicBezTo>
                  <a:lnTo>
                    <a:pt x="16" y="0"/>
                  </a:lnTo>
                  <a:cubicBezTo>
                    <a:pt x="70" y="116"/>
                    <a:pt x="143" y="227"/>
                    <a:pt x="229" y="318"/>
                  </a:cubicBezTo>
                  <a:lnTo>
                    <a:pt x="213" y="334"/>
                  </a:lnTo>
                </a:path>
              </a:pathLst>
            </a:custGeom>
            <a:solidFill>
              <a:srgbClr val="C6D7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652">
              <a:extLst>
                <a:ext uri="{FF2B5EF4-FFF2-40B4-BE49-F238E27FC236}">
                  <a16:creationId xmlns:a16="http://schemas.microsoft.com/office/drawing/2014/main" id="{BCFB6FB0-6218-4CD8-AB60-D12CC67495CE}"/>
                </a:ext>
              </a:extLst>
            </p:cNvPr>
            <p:cNvSpPr>
              <a:spLocks/>
            </p:cNvSpPr>
            <p:nvPr/>
          </p:nvSpPr>
          <p:spPr bwMode="auto">
            <a:xfrm>
              <a:off x="7654926" y="3654426"/>
              <a:ext cx="227013" cy="325438"/>
            </a:xfrm>
            <a:custGeom>
              <a:avLst/>
              <a:gdLst>
                <a:gd name="T0" fmla="*/ 209 w 278"/>
                <a:gd name="T1" fmla="*/ 397 h 397"/>
                <a:gd name="T2" fmla="*/ 0 w 278"/>
                <a:gd name="T3" fmla="*/ 76 h 397"/>
                <a:gd name="T4" fmla="*/ 76 w 278"/>
                <a:gd name="T5" fmla="*/ 0 h 397"/>
                <a:gd name="T6" fmla="*/ 278 w 278"/>
                <a:gd name="T7" fmla="*/ 328 h 397"/>
                <a:gd name="T8" fmla="*/ 209 w 278"/>
                <a:gd name="T9" fmla="*/ 397 h 397"/>
              </a:gdLst>
              <a:ahLst/>
              <a:cxnLst>
                <a:cxn ang="0">
                  <a:pos x="T0" y="T1"/>
                </a:cxn>
                <a:cxn ang="0">
                  <a:pos x="T2" y="T3"/>
                </a:cxn>
                <a:cxn ang="0">
                  <a:pos x="T4" y="T5"/>
                </a:cxn>
                <a:cxn ang="0">
                  <a:pos x="T6" y="T7"/>
                </a:cxn>
                <a:cxn ang="0">
                  <a:pos x="T8" y="T9"/>
                </a:cxn>
              </a:cxnLst>
              <a:rect l="0" t="0" r="r" b="b"/>
              <a:pathLst>
                <a:path w="278" h="397">
                  <a:moveTo>
                    <a:pt x="209" y="397"/>
                  </a:moveTo>
                  <a:cubicBezTo>
                    <a:pt x="118" y="314"/>
                    <a:pt x="42" y="197"/>
                    <a:pt x="0" y="76"/>
                  </a:cubicBezTo>
                  <a:lnTo>
                    <a:pt x="76" y="0"/>
                  </a:lnTo>
                  <a:cubicBezTo>
                    <a:pt x="95" y="124"/>
                    <a:pt x="177" y="259"/>
                    <a:pt x="278" y="328"/>
                  </a:cubicBezTo>
                  <a:lnTo>
                    <a:pt x="209" y="397"/>
                  </a:lnTo>
                  <a:close/>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653">
              <a:extLst>
                <a:ext uri="{FF2B5EF4-FFF2-40B4-BE49-F238E27FC236}">
                  <a16:creationId xmlns:a16="http://schemas.microsoft.com/office/drawing/2014/main" id="{457D303A-C57C-40C6-8734-086787781C6A}"/>
                </a:ext>
              </a:extLst>
            </p:cNvPr>
            <p:cNvSpPr>
              <a:spLocks/>
            </p:cNvSpPr>
            <p:nvPr/>
          </p:nvSpPr>
          <p:spPr bwMode="auto">
            <a:xfrm>
              <a:off x="7654926" y="3716338"/>
              <a:ext cx="169863" cy="263525"/>
            </a:xfrm>
            <a:custGeom>
              <a:avLst/>
              <a:gdLst>
                <a:gd name="T0" fmla="*/ 209 w 209"/>
                <a:gd name="T1" fmla="*/ 321 h 321"/>
                <a:gd name="T2" fmla="*/ 0 w 209"/>
                <a:gd name="T3" fmla="*/ 0 h 321"/>
                <a:gd name="T4" fmla="*/ 0 w 209"/>
                <a:gd name="T5" fmla="*/ 0 h 321"/>
                <a:gd name="T6" fmla="*/ 209 w 209"/>
                <a:gd name="T7" fmla="*/ 321 h 321"/>
                <a:gd name="T8" fmla="*/ 209 w 209"/>
                <a:gd name="T9" fmla="*/ 321 h 321"/>
              </a:gdLst>
              <a:ahLst/>
              <a:cxnLst>
                <a:cxn ang="0">
                  <a:pos x="T0" y="T1"/>
                </a:cxn>
                <a:cxn ang="0">
                  <a:pos x="T2" y="T3"/>
                </a:cxn>
                <a:cxn ang="0">
                  <a:pos x="T4" y="T5"/>
                </a:cxn>
                <a:cxn ang="0">
                  <a:pos x="T6" y="T7"/>
                </a:cxn>
                <a:cxn ang="0">
                  <a:pos x="T8" y="T9"/>
                </a:cxn>
              </a:cxnLst>
              <a:rect l="0" t="0" r="r" b="b"/>
              <a:pathLst>
                <a:path w="209" h="321">
                  <a:moveTo>
                    <a:pt x="209" y="321"/>
                  </a:moveTo>
                  <a:cubicBezTo>
                    <a:pt x="118" y="238"/>
                    <a:pt x="42" y="121"/>
                    <a:pt x="0" y="0"/>
                  </a:cubicBezTo>
                  <a:lnTo>
                    <a:pt x="0" y="0"/>
                  </a:lnTo>
                  <a:cubicBezTo>
                    <a:pt x="42" y="121"/>
                    <a:pt x="118" y="238"/>
                    <a:pt x="209" y="321"/>
                  </a:cubicBezTo>
                  <a:lnTo>
                    <a:pt x="209" y="321"/>
                  </a:lnTo>
                  <a:close/>
                </a:path>
              </a:pathLst>
            </a:custGeom>
            <a:solidFill>
              <a:srgbClr val="E5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654">
              <a:extLst>
                <a:ext uri="{FF2B5EF4-FFF2-40B4-BE49-F238E27FC236}">
                  <a16:creationId xmlns:a16="http://schemas.microsoft.com/office/drawing/2014/main" id="{32FEDFBA-2723-4AFB-919C-06538068A5EA}"/>
                </a:ext>
              </a:extLst>
            </p:cNvPr>
            <p:cNvSpPr>
              <a:spLocks/>
            </p:cNvSpPr>
            <p:nvPr/>
          </p:nvSpPr>
          <p:spPr bwMode="auto">
            <a:xfrm>
              <a:off x="7878763" y="3429001"/>
              <a:ext cx="249238" cy="303213"/>
            </a:xfrm>
            <a:custGeom>
              <a:avLst/>
              <a:gdLst>
                <a:gd name="T0" fmla="*/ 235 w 304"/>
                <a:gd name="T1" fmla="*/ 371 h 371"/>
                <a:gd name="T2" fmla="*/ 25 w 304"/>
                <a:gd name="T3" fmla="*/ 89 h 371"/>
                <a:gd name="T4" fmla="*/ 0 w 304"/>
                <a:gd name="T5" fmla="*/ 76 h 371"/>
                <a:gd name="T6" fmla="*/ 76 w 304"/>
                <a:gd name="T7" fmla="*/ 0 h 371"/>
                <a:gd name="T8" fmla="*/ 304 w 304"/>
                <a:gd name="T9" fmla="*/ 302 h 371"/>
                <a:gd name="T10" fmla="*/ 235 w 304"/>
                <a:gd name="T11" fmla="*/ 371 h 371"/>
              </a:gdLst>
              <a:ahLst/>
              <a:cxnLst>
                <a:cxn ang="0">
                  <a:pos x="T0" y="T1"/>
                </a:cxn>
                <a:cxn ang="0">
                  <a:pos x="T2" y="T3"/>
                </a:cxn>
                <a:cxn ang="0">
                  <a:pos x="T4" y="T5"/>
                </a:cxn>
                <a:cxn ang="0">
                  <a:pos x="T6" y="T7"/>
                </a:cxn>
                <a:cxn ang="0">
                  <a:pos x="T8" y="T9"/>
                </a:cxn>
                <a:cxn ang="0">
                  <a:pos x="T10" y="T11"/>
                </a:cxn>
              </a:cxnLst>
              <a:rect l="0" t="0" r="r" b="b"/>
              <a:pathLst>
                <a:path w="304" h="371">
                  <a:moveTo>
                    <a:pt x="235" y="371"/>
                  </a:moveTo>
                  <a:cubicBezTo>
                    <a:pt x="201" y="257"/>
                    <a:pt x="120" y="144"/>
                    <a:pt x="25" y="89"/>
                  </a:cubicBezTo>
                  <a:cubicBezTo>
                    <a:pt x="17" y="84"/>
                    <a:pt x="8" y="80"/>
                    <a:pt x="0" y="76"/>
                  </a:cubicBezTo>
                  <a:cubicBezTo>
                    <a:pt x="25" y="51"/>
                    <a:pt x="50" y="26"/>
                    <a:pt x="76" y="0"/>
                  </a:cubicBezTo>
                  <a:cubicBezTo>
                    <a:pt x="171" y="72"/>
                    <a:pt x="253" y="183"/>
                    <a:pt x="304" y="302"/>
                  </a:cubicBezTo>
                  <a:lnTo>
                    <a:pt x="235" y="371"/>
                  </a:lnTo>
                  <a:close/>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1655">
              <a:extLst>
                <a:ext uri="{FF2B5EF4-FFF2-40B4-BE49-F238E27FC236}">
                  <a16:creationId xmlns:a16="http://schemas.microsoft.com/office/drawing/2014/main" id="{5F2B54D3-4C23-4504-BC43-FB7EE7E00A04}"/>
                </a:ext>
              </a:extLst>
            </p:cNvPr>
            <p:cNvSpPr>
              <a:spLocks/>
            </p:cNvSpPr>
            <p:nvPr/>
          </p:nvSpPr>
          <p:spPr bwMode="auto">
            <a:xfrm>
              <a:off x="7942263" y="3429001"/>
              <a:ext cx="185738" cy="247650"/>
            </a:xfrm>
            <a:custGeom>
              <a:avLst/>
              <a:gdLst>
                <a:gd name="T0" fmla="*/ 228 w 228"/>
                <a:gd name="T1" fmla="*/ 302 h 302"/>
                <a:gd name="T2" fmla="*/ 0 w 228"/>
                <a:gd name="T3" fmla="*/ 0 h 302"/>
                <a:gd name="T4" fmla="*/ 0 w 228"/>
                <a:gd name="T5" fmla="*/ 0 h 302"/>
                <a:gd name="T6" fmla="*/ 228 w 228"/>
                <a:gd name="T7" fmla="*/ 302 h 302"/>
                <a:gd name="T8" fmla="*/ 228 w 228"/>
                <a:gd name="T9" fmla="*/ 302 h 302"/>
              </a:gdLst>
              <a:ahLst/>
              <a:cxnLst>
                <a:cxn ang="0">
                  <a:pos x="T0" y="T1"/>
                </a:cxn>
                <a:cxn ang="0">
                  <a:pos x="T2" y="T3"/>
                </a:cxn>
                <a:cxn ang="0">
                  <a:pos x="T4" y="T5"/>
                </a:cxn>
                <a:cxn ang="0">
                  <a:pos x="T6" y="T7"/>
                </a:cxn>
                <a:cxn ang="0">
                  <a:pos x="T8" y="T9"/>
                </a:cxn>
              </a:cxnLst>
              <a:rect l="0" t="0" r="r" b="b"/>
              <a:pathLst>
                <a:path w="228" h="302">
                  <a:moveTo>
                    <a:pt x="228" y="302"/>
                  </a:moveTo>
                  <a:cubicBezTo>
                    <a:pt x="177" y="183"/>
                    <a:pt x="95" y="72"/>
                    <a:pt x="0" y="0"/>
                  </a:cubicBezTo>
                  <a:lnTo>
                    <a:pt x="0" y="0"/>
                  </a:lnTo>
                  <a:cubicBezTo>
                    <a:pt x="95" y="72"/>
                    <a:pt x="177" y="183"/>
                    <a:pt x="228" y="302"/>
                  </a:cubicBezTo>
                  <a:lnTo>
                    <a:pt x="228" y="302"/>
                  </a:lnTo>
                </a:path>
              </a:pathLst>
            </a:custGeom>
            <a:solidFill>
              <a:srgbClr val="D365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1656">
              <a:extLst>
                <a:ext uri="{FF2B5EF4-FFF2-40B4-BE49-F238E27FC236}">
                  <a16:creationId xmlns:a16="http://schemas.microsoft.com/office/drawing/2014/main" id="{3D08F099-229C-4861-81AB-11944ED8C7D5}"/>
                </a:ext>
              </a:extLst>
            </p:cNvPr>
            <p:cNvSpPr>
              <a:spLocks noEditPoints="1"/>
            </p:cNvSpPr>
            <p:nvPr/>
          </p:nvSpPr>
          <p:spPr bwMode="auto">
            <a:xfrm>
              <a:off x="8120063" y="2543176"/>
              <a:ext cx="706438" cy="866775"/>
            </a:xfrm>
            <a:custGeom>
              <a:avLst/>
              <a:gdLst>
                <a:gd name="T0" fmla="*/ 336 w 863"/>
                <a:gd name="T1" fmla="*/ 1057 h 1057"/>
                <a:gd name="T2" fmla="*/ 0 w 863"/>
                <a:gd name="T3" fmla="*/ 863 h 1057"/>
                <a:gd name="T4" fmla="*/ 79 w 863"/>
                <a:gd name="T5" fmla="*/ 784 h 1057"/>
                <a:gd name="T6" fmla="*/ 415 w 863"/>
                <a:gd name="T7" fmla="*/ 979 h 1057"/>
                <a:gd name="T8" fmla="*/ 336 w 863"/>
                <a:gd name="T9" fmla="*/ 1057 h 1057"/>
                <a:gd name="T10" fmla="*/ 863 w 863"/>
                <a:gd name="T11" fmla="*/ 372 h 1057"/>
                <a:gd name="T12" fmla="*/ 715 w 863"/>
                <a:gd name="T13" fmla="*/ 341 h 1057"/>
                <a:gd name="T14" fmla="*/ 715 w 863"/>
                <a:gd name="T15" fmla="*/ 148 h 1057"/>
                <a:gd name="T16" fmla="*/ 863 w 863"/>
                <a:gd name="T17" fmla="*/ 0 h 1057"/>
                <a:gd name="T18" fmla="*/ 863 w 863"/>
                <a:gd name="T19" fmla="*/ 372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1057">
                  <a:moveTo>
                    <a:pt x="336" y="1057"/>
                  </a:moveTo>
                  <a:lnTo>
                    <a:pt x="0" y="863"/>
                  </a:lnTo>
                  <a:cubicBezTo>
                    <a:pt x="26" y="837"/>
                    <a:pt x="53" y="811"/>
                    <a:pt x="79" y="784"/>
                  </a:cubicBezTo>
                  <a:lnTo>
                    <a:pt x="415" y="979"/>
                  </a:lnTo>
                  <a:lnTo>
                    <a:pt x="336" y="1057"/>
                  </a:lnTo>
                  <a:moveTo>
                    <a:pt x="863" y="372"/>
                  </a:moveTo>
                  <a:cubicBezTo>
                    <a:pt x="811" y="352"/>
                    <a:pt x="762" y="342"/>
                    <a:pt x="715" y="341"/>
                  </a:cubicBezTo>
                  <a:lnTo>
                    <a:pt x="715" y="148"/>
                  </a:lnTo>
                  <a:cubicBezTo>
                    <a:pt x="765" y="98"/>
                    <a:pt x="814" y="49"/>
                    <a:pt x="863" y="0"/>
                  </a:cubicBezTo>
                  <a:lnTo>
                    <a:pt x="863" y="372"/>
                  </a:lnTo>
                </a:path>
              </a:pathLst>
            </a:custGeom>
            <a:solidFill>
              <a:srgbClr val="8C7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1657">
              <a:extLst>
                <a:ext uri="{FF2B5EF4-FFF2-40B4-BE49-F238E27FC236}">
                  <a16:creationId xmlns:a16="http://schemas.microsoft.com/office/drawing/2014/main" id="{9E0FBCC5-8203-43EA-AAE9-834AD11F0F00}"/>
                </a:ext>
              </a:extLst>
            </p:cNvPr>
            <p:cNvSpPr>
              <a:spLocks/>
            </p:cNvSpPr>
            <p:nvPr/>
          </p:nvSpPr>
          <p:spPr bwMode="auto">
            <a:xfrm>
              <a:off x="8183563" y="2663826"/>
              <a:ext cx="522288" cy="681038"/>
            </a:xfrm>
            <a:custGeom>
              <a:avLst/>
              <a:gdLst>
                <a:gd name="T0" fmla="*/ 336 w 636"/>
                <a:gd name="T1" fmla="*/ 831 h 831"/>
                <a:gd name="T2" fmla="*/ 0 w 636"/>
                <a:gd name="T3" fmla="*/ 636 h 831"/>
                <a:gd name="T4" fmla="*/ 62 w 636"/>
                <a:gd name="T5" fmla="*/ 574 h 831"/>
                <a:gd name="T6" fmla="*/ 62 w 636"/>
                <a:gd name="T7" fmla="*/ 587 h 831"/>
                <a:gd name="T8" fmla="*/ 70 w 636"/>
                <a:gd name="T9" fmla="*/ 602 h 831"/>
                <a:gd name="T10" fmla="*/ 126 w 636"/>
                <a:gd name="T11" fmla="*/ 634 h 831"/>
                <a:gd name="T12" fmla="*/ 129 w 636"/>
                <a:gd name="T13" fmla="*/ 635 h 831"/>
                <a:gd name="T14" fmla="*/ 131 w 636"/>
                <a:gd name="T15" fmla="*/ 634 h 831"/>
                <a:gd name="T16" fmla="*/ 133 w 636"/>
                <a:gd name="T17" fmla="*/ 628 h 831"/>
                <a:gd name="T18" fmla="*/ 133 w 636"/>
                <a:gd name="T19" fmla="*/ 503 h 831"/>
                <a:gd name="T20" fmla="*/ 195 w 636"/>
                <a:gd name="T21" fmla="*/ 441 h 831"/>
                <a:gd name="T22" fmla="*/ 195 w 636"/>
                <a:gd name="T23" fmla="*/ 664 h 831"/>
                <a:gd name="T24" fmla="*/ 203 w 636"/>
                <a:gd name="T25" fmla="*/ 678 h 831"/>
                <a:gd name="T26" fmla="*/ 259 w 636"/>
                <a:gd name="T27" fmla="*/ 710 h 831"/>
                <a:gd name="T28" fmla="*/ 262 w 636"/>
                <a:gd name="T29" fmla="*/ 711 h 831"/>
                <a:gd name="T30" fmla="*/ 264 w 636"/>
                <a:gd name="T31" fmla="*/ 710 h 831"/>
                <a:gd name="T32" fmla="*/ 266 w 636"/>
                <a:gd name="T33" fmla="*/ 705 h 831"/>
                <a:gd name="T34" fmla="*/ 266 w 636"/>
                <a:gd name="T35" fmla="*/ 370 h 831"/>
                <a:gd name="T36" fmla="*/ 636 w 636"/>
                <a:gd name="T37" fmla="*/ 0 h 831"/>
                <a:gd name="T38" fmla="*/ 636 w 636"/>
                <a:gd name="T39" fmla="*/ 193 h 831"/>
                <a:gd name="T40" fmla="*/ 627 w 636"/>
                <a:gd name="T41" fmla="*/ 193 h 831"/>
                <a:gd name="T42" fmla="*/ 336 w 636"/>
                <a:gd name="T43" fmla="*/ 420 h 831"/>
                <a:gd name="T44" fmla="*/ 328 w 636"/>
                <a:gd name="T45" fmla="*/ 443 h 831"/>
                <a:gd name="T46" fmla="*/ 328 w 636"/>
                <a:gd name="T47" fmla="*/ 445 h 831"/>
                <a:gd name="T48" fmla="*/ 310 w 636"/>
                <a:gd name="T49" fmla="*/ 601 h 831"/>
                <a:gd name="T50" fmla="*/ 339 w 636"/>
                <a:gd name="T51" fmla="*/ 827 h 831"/>
                <a:gd name="T52" fmla="*/ 336 w 636"/>
                <a:gd name="T53"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6" h="831">
                  <a:moveTo>
                    <a:pt x="336" y="831"/>
                  </a:moveTo>
                  <a:lnTo>
                    <a:pt x="0" y="636"/>
                  </a:lnTo>
                  <a:cubicBezTo>
                    <a:pt x="21" y="615"/>
                    <a:pt x="41" y="595"/>
                    <a:pt x="62" y="574"/>
                  </a:cubicBezTo>
                  <a:lnTo>
                    <a:pt x="62" y="587"/>
                  </a:lnTo>
                  <a:cubicBezTo>
                    <a:pt x="62" y="592"/>
                    <a:pt x="66" y="599"/>
                    <a:pt x="70" y="602"/>
                  </a:cubicBezTo>
                  <a:lnTo>
                    <a:pt x="126" y="634"/>
                  </a:lnTo>
                  <a:cubicBezTo>
                    <a:pt x="127" y="634"/>
                    <a:pt x="128" y="635"/>
                    <a:pt x="129" y="635"/>
                  </a:cubicBezTo>
                  <a:cubicBezTo>
                    <a:pt x="130" y="635"/>
                    <a:pt x="130" y="634"/>
                    <a:pt x="131" y="634"/>
                  </a:cubicBezTo>
                  <a:cubicBezTo>
                    <a:pt x="132" y="633"/>
                    <a:pt x="133" y="631"/>
                    <a:pt x="133" y="628"/>
                  </a:cubicBezTo>
                  <a:lnTo>
                    <a:pt x="133" y="503"/>
                  </a:lnTo>
                  <a:cubicBezTo>
                    <a:pt x="154" y="482"/>
                    <a:pt x="175" y="461"/>
                    <a:pt x="195" y="441"/>
                  </a:cubicBezTo>
                  <a:lnTo>
                    <a:pt x="195" y="664"/>
                  </a:lnTo>
                  <a:cubicBezTo>
                    <a:pt x="195" y="669"/>
                    <a:pt x="199" y="676"/>
                    <a:pt x="203" y="678"/>
                  </a:cubicBezTo>
                  <a:lnTo>
                    <a:pt x="259" y="710"/>
                  </a:lnTo>
                  <a:cubicBezTo>
                    <a:pt x="260" y="711"/>
                    <a:pt x="261" y="711"/>
                    <a:pt x="262" y="711"/>
                  </a:cubicBezTo>
                  <a:cubicBezTo>
                    <a:pt x="263" y="711"/>
                    <a:pt x="264" y="711"/>
                    <a:pt x="264" y="710"/>
                  </a:cubicBezTo>
                  <a:cubicBezTo>
                    <a:pt x="266" y="710"/>
                    <a:pt x="266" y="708"/>
                    <a:pt x="266" y="705"/>
                  </a:cubicBezTo>
                  <a:lnTo>
                    <a:pt x="266" y="370"/>
                  </a:lnTo>
                  <a:cubicBezTo>
                    <a:pt x="390" y="246"/>
                    <a:pt x="513" y="123"/>
                    <a:pt x="636" y="0"/>
                  </a:cubicBezTo>
                  <a:lnTo>
                    <a:pt x="636" y="193"/>
                  </a:lnTo>
                  <a:cubicBezTo>
                    <a:pt x="633" y="193"/>
                    <a:pt x="630" y="193"/>
                    <a:pt x="627" y="193"/>
                  </a:cubicBezTo>
                  <a:cubicBezTo>
                    <a:pt x="488" y="193"/>
                    <a:pt x="382" y="274"/>
                    <a:pt x="336" y="420"/>
                  </a:cubicBezTo>
                  <a:cubicBezTo>
                    <a:pt x="331" y="425"/>
                    <a:pt x="328" y="433"/>
                    <a:pt x="328" y="443"/>
                  </a:cubicBezTo>
                  <a:lnTo>
                    <a:pt x="328" y="445"/>
                  </a:lnTo>
                  <a:cubicBezTo>
                    <a:pt x="316" y="491"/>
                    <a:pt x="310" y="543"/>
                    <a:pt x="310" y="601"/>
                  </a:cubicBezTo>
                  <a:cubicBezTo>
                    <a:pt x="310" y="674"/>
                    <a:pt x="320" y="751"/>
                    <a:pt x="339" y="827"/>
                  </a:cubicBezTo>
                  <a:lnTo>
                    <a:pt x="336" y="831"/>
                  </a:lnTo>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1658">
              <a:extLst>
                <a:ext uri="{FF2B5EF4-FFF2-40B4-BE49-F238E27FC236}">
                  <a16:creationId xmlns:a16="http://schemas.microsoft.com/office/drawing/2014/main" id="{2CB83A47-267A-4E3E-B433-F46DAF63C2A2}"/>
                </a:ext>
              </a:extLst>
            </p:cNvPr>
            <p:cNvSpPr>
              <a:spLocks/>
            </p:cNvSpPr>
            <p:nvPr/>
          </p:nvSpPr>
          <p:spPr bwMode="auto">
            <a:xfrm>
              <a:off x="8343901" y="2982913"/>
              <a:ext cx="57150" cy="263525"/>
            </a:xfrm>
            <a:custGeom>
              <a:avLst/>
              <a:gdLst>
                <a:gd name="T0" fmla="*/ 67 w 69"/>
                <a:gd name="T1" fmla="*/ 323 h 323"/>
                <a:gd name="T2" fmla="*/ 64 w 69"/>
                <a:gd name="T3" fmla="*/ 322 h 323"/>
                <a:gd name="T4" fmla="*/ 8 w 69"/>
                <a:gd name="T5" fmla="*/ 290 h 323"/>
                <a:gd name="T6" fmla="*/ 0 w 69"/>
                <a:gd name="T7" fmla="*/ 276 h 323"/>
                <a:gd name="T8" fmla="*/ 0 w 69"/>
                <a:gd name="T9" fmla="*/ 53 h 323"/>
                <a:gd name="T10" fmla="*/ 53 w 69"/>
                <a:gd name="T11" fmla="*/ 0 h 323"/>
                <a:gd name="T12" fmla="*/ 53 w 69"/>
                <a:gd name="T13" fmla="*/ 301 h 323"/>
                <a:gd name="T14" fmla="*/ 46 w 69"/>
                <a:gd name="T15" fmla="*/ 312 h 323"/>
                <a:gd name="T16" fmla="*/ 43 w 69"/>
                <a:gd name="T17" fmla="*/ 311 h 323"/>
                <a:gd name="T18" fmla="*/ 63 w 69"/>
                <a:gd name="T19" fmla="*/ 322 h 323"/>
                <a:gd name="T20" fmla="*/ 67 w 69"/>
                <a:gd name="T21" fmla="*/ 323 h 323"/>
                <a:gd name="T22" fmla="*/ 69 w 69"/>
                <a:gd name="T23" fmla="*/ 322 h 323"/>
                <a:gd name="T24" fmla="*/ 67 w 69"/>
                <a:gd name="T25"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323">
                  <a:moveTo>
                    <a:pt x="67" y="323"/>
                  </a:moveTo>
                  <a:cubicBezTo>
                    <a:pt x="66" y="323"/>
                    <a:pt x="65" y="323"/>
                    <a:pt x="64" y="322"/>
                  </a:cubicBezTo>
                  <a:lnTo>
                    <a:pt x="8" y="290"/>
                  </a:lnTo>
                  <a:cubicBezTo>
                    <a:pt x="4" y="288"/>
                    <a:pt x="0" y="281"/>
                    <a:pt x="0" y="276"/>
                  </a:cubicBezTo>
                  <a:lnTo>
                    <a:pt x="0" y="53"/>
                  </a:lnTo>
                  <a:cubicBezTo>
                    <a:pt x="18" y="35"/>
                    <a:pt x="35" y="18"/>
                    <a:pt x="53" y="0"/>
                  </a:cubicBezTo>
                  <a:lnTo>
                    <a:pt x="53" y="301"/>
                  </a:lnTo>
                  <a:cubicBezTo>
                    <a:pt x="53" y="308"/>
                    <a:pt x="50" y="312"/>
                    <a:pt x="46" y="312"/>
                  </a:cubicBezTo>
                  <a:cubicBezTo>
                    <a:pt x="45" y="312"/>
                    <a:pt x="44" y="311"/>
                    <a:pt x="43" y="311"/>
                  </a:cubicBezTo>
                  <a:lnTo>
                    <a:pt x="63" y="322"/>
                  </a:lnTo>
                  <a:cubicBezTo>
                    <a:pt x="65" y="323"/>
                    <a:pt x="66" y="323"/>
                    <a:pt x="67" y="323"/>
                  </a:cubicBezTo>
                  <a:cubicBezTo>
                    <a:pt x="68" y="323"/>
                    <a:pt x="69" y="323"/>
                    <a:pt x="69" y="322"/>
                  </a:cubicBezTo>
                  <a:cubicBezTo>
                    <a:pt x="69" y="323"/>
                    <a:pt x="68" y="323"/>
                    <a:pt x="67" y="323"/>
                  </a:cubicBezTo>
                  <a:close/>
                </a:path>
              </a:pathLst>
            </a:custGeom>
            <a:solidFill>
              <a:srgbClr val="82B3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1659">
              <a:extLst>
                <a:ext uri="{FF2B5EF4-FFF2-40B4-BE49-F238E27FC236}">
                  <a16:creationId xmlns:a16="http://schemas.microsoft.com/office/drawing/2014/main" id="{D644E705-4C5F-4DBE-A1B0-389E1A86F6CA}"/>
                </a:ext>
              </a:extLst>
            </p:cNvPr>
            <p:cNvSpPr>
              <a:spLocks/>
            </p:cNvSpPr>
            <p:nvPr/>
          </p:nvSpPr>
          <p:spPr bwMode="auto">
            <a:xfrm>
              <a:off x="8401051" y="2967038"/>
              <a:ext cx="1588" cy="279400"/>
            </a:xfrm>
            <a:custGeom>
              <a:avLst/>
              <a:gdLst>
                <a:gd name="T0" fmla="*/ 0 w 2"/>
                <a:gd name="T1" fmla="*/ 340 h 340"/>
                <a:gd name="T2" fmla="*/ 2 w 2"/>
                <a:gd name="T3" fmla="*/ 335 h 340"/>
                <a:gd name="T4" fmla="*/ 2 w 2"/>
                <a:gd name="T5" fmla="*/ 0 h 340"/>
                <a:gd name="T6" fmla="*/ 2 w 2"/>
                <a:gd name="T7" fmla="*/ 0 h 340"/>
                <a:gd name="T8" fmla="*/ 2 w 2"/>
                <a:gd name="T9" fmla="*/ 335 h 340"/>
                <a:gd name="T10" fmla="*/ 0 w 2"/>
                <a:gd name="T11" fmla="*/ 340 h 340"/>
              </a:gdLst>
              <a:ahLst/>
              <a:cxnLst>
                <a:cxn ang="0">
                  <a:pos x="T0" y="T1"/>
                </a:cxn>
                <a:cxn ang="0">
                  <a:pos x="T2" y="T3"/>
                </a:cxn>
                <a:cxn ang="0">
                  <a:pos x="T4" y="T5"/>
                </a:cxn>
                <a:cxn ang="0">
                  <a:pos x="T6" y="T7"/>
                </a:cxn>
                <a:cxn ang="0">
                  <a:pos x="T8" y="T9"/>
                </a:cxn>
                <a:cxn ang="0">
                  <a:pos x="T10" y="T11"/>
                </a:cxn>
              </a:cxnLst>
              <a:rect l="0" t="0" r="r" b="b"/>
              <a:pathLst>
                <a:path w="2" h="340">
                  <a:moveTo>
                    <a:pt x="0" y="340"/>
                  </a:moveTo>
                  <a:cubicBezTo>
                    <a:pt x="2" y="339"/>
                    <a:pt x="2" y="337"/>
                    <a:pt x="2" y="335"/>
                  </a:cubicBezTo>
                  <a:lnTo>
                    <a:pt x="2" y="0"/>
                  </a:lnTo>
                  <a:lnTo>
                    <a:pt x="2" y="0"/>
                  </a:lnTo>
                  <a:lnTo>
                    <a:pt x="2" y="335"/>
                  </a:lnTo>
                  <a:cubicBezTo>
                    <a:pt x="2" y="338"/>
                    <a:pt x="2" y="340"/>
                    <a:pt x="0" y="340"/>
                  </a:cubicBezTo>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660">
              <a:extLst>
                <a:ext uri="{FF2B5EF4-FFF2-40B4-BE49-F238E27FC236}">
                  <a16:creationId xmlns:a16="http://schemas.microsoft.com/office/drawing/2014/main" id="{1010D056-DAE1-40E2-ADFF-6AD47EFA510B}"/>
                </a:ext>
              </a:extLst>
            </p:cNvPr>
            <p:cNvSpPr>
              <a:spLocks/>
            </p:cNvSpPr>
            <p:nvPr/>
          </p:nvSpPr>
          <p:spPr bwMode="auto">
            <a:xfrm>
              <a:off x="8378826" y="2967038"/>
              <a:ext cx="23813" cy="279400"/>
            </a:xfrm>
            <a:custGeom>
              <a:avLst/>
              <a:gdLst>
                <a:gd name="T0" fmla="*/ 24 w 28"/>
                <a:gd name="T1" fmla="*/ 341 h 341"/>
                <a:gd name="T2" fmla="*/ 20 w 28"/>
                <a:gd name="T3" fmla="*/ 340 h 341"/>
                <a:gd name="T4" fmla="*/ 0 w 28"/>
                <a:gd name="T5" fmla="*/ 329 h 341"/>
                <a:gd name="T6" fmla="*/ 3 w 28"/>
                <a:gd name="T7" fmla="*/ 330 h 341"/>
                <a:gd name="T8" fmla="*/ 10 w 28"/>
                <a:gd name="T9" fmla="*/ 319 h 341"/>
                <a:gd name="T10" fmla="*/ 10 w 28"/>
                <a:gd name="T11" fmla="*/ 18 h 341"/>
                <a:gd name="T12" fmla="*/ 28 w 28"/>
                <a:gd name="T13" fmla="*/ 0 h 341"/>
                <a:gd name="T14" fmla="*/ 28 w 28"/>
                <a:gd name="T15" fmla="*/ 335 h 341"/>
                <a:gd name="T16" fmla="*/ 26 w 28"/>
                <a:gd name="T17" fmla="*/ 340 h 341"/>
                <a:gd name="T18" fmla="*/ 24 w 28"/>
                <a:gd name="T19"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41">
                  <a:moveTo>
                    <a:pt x="24" y="341"/>
                  </a:moveTo>
                  <a:cubicBezTo>
                    <a:pt x="23" y="341"/>
                    <a:pt x="22" y="341"/>
                    <a:pt x="20" y="340"/>
                  </a:cubicBezTo>
                  <a:lnTo>
                    <a:pt x="0" y="329"/>
                  </a:lnTo>
                  <a:cubicBezTo>
                    <a:pt x="1" y="329"/>
                    <a:pt x="2" y="330"/>
                    <a:pt x="3" y="330"/>
                  </a:cubicBezTo>
                  <a:cubicBezTo>
                    <a:pt x="7" y="330"/>
                    <a:pt x="10" y="326"/>
                    <a:pt x="10" y="319"/>
                  </a:cubicBezTo>
                  <a:lnTo>
                    <a:pt x="10" y="18"/>
                  </a:lnTo>
                  <a:cubicBezTo>
                    <a:pt x="16" y="12"/>
                    <a:pt x="22" y="6"/>
                    <a:pt x="28" y="0"/>
                  </a:cubicBezTo>
                  <a:lnTo>
                    <a:pt x="28" y="335"/>
                  </a:lnTo>
                  <a:cubicBezTo>
                    <a:pt x="28" y="337"/>
                    <a:pt x="28" y="339"/>
                    <a:pt x="26" y="340"/>
                  </a:cubicBezTo>
                  <a:cubicBezTo>
                    <a:pt x="26" y="341"/>
                    <a:pt x="25" y="341"/>
                    <a:pt x="24" y="341"/>
                  </a:cubicBezTo>
                  <a:close/>
                </a:path>
              </a:pathLst>
            </a:custGeom>
            <a:solidFill>
              <a:srgbClr val="719B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1661">
              <a:extLst>
                <a:ext uri="{FF2B5EF4-FFF2-40B4-BE49-F238E27FC236}">
                  <a16:creationId xmlns:a16="http://schemas.microsoft.com/office/drawing/2014/main" id="{8444E3E4-C26E-4681-B718-3A0E7B76B73A}"/>
                </a:ext>
              </a:extLst>
            </p:cNvPr>
            <p:cNvSpPr>
              <a:spLocks/>
            </p:cNvSpPr>
            <p:nvPr/>
          </p:nvSpPr>
          <p:spPr bwMode="auto">
            <a:xfrm>
              <a:off x="8234363" y="3092451"/>
              <a:ext cx="57150" cy="92075"/>
            </a:xfrm>
            <a:custGeom>
              <a:avLst/>
              <a:gdLst>
                <a:gd name="T0" fmla="*/ 67 w 69"/>
                <a:gd name="T1" fmla="*/ 113 h 113"/>
                <a:gd name="T2" fmla="*/ 64 w 69"/>
                <a:gd name="T3" fmla="*/ 112 h 113"/>
                <a:gd name="T4" fmla="*/ 8 w 69"/>
                <a:gd name="T5" fmla="*/ 80 h 113"/>
                <a:gd name="T6" fmla="*/ 0 w 69"/>
                <a:gd name="T7" fmla="*/ 65 h 113"/>
                <a:gd name="T8" fmla="*/ 0 w 69"/>
                <a:gd name="T9" fmla="*/ 52 h 113"/>
                <a:gd name="T10" fmla="*/ 52 w 69"/>
                <a:gd name="T11" fmla="*/ 0 h 113"/>
                <a:gd name="T12" fmla="*/ 52 w 69"/>
                <a:gd name="T13" fmla="*/ 91 h 113"/>
                <a:gd name="T14" fmla="*/ 46 w 69"/>
                <a:gd name="T15" fmla="*/ 101 h 113"/>
                <a:gd name="T16" fmla="*/ 43 w 69"/>
                <a:gd name="T17" fmla="*/ 100 h 113"/>
                <a:gd name="T18" fmla="*/ 63 w 69"/>
                <a:gd name="T19" fmla="*/ 111 h 113"/>
                <a:gd name="T20" fmla="*/ 67 w 69"/>
                <a:gd name="T21" fmla="*/ 112 h 113"/>
                <a:gd name="T22" fmla="*/ 69 w 69"/>
                <a:gd name="T23" fmla="*/ 112 h 113"/>
                <a:gd name="T24" fmla="*/ 67 w 69"/>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13">
                  <a:moveTo>
                    <a:pt x="67" y="113"/>
                  </a:moveTo>
                  <a:cubicBezTo>
                    <a:pt x="66" y="113"/>
                    <a:pt x="65" y="112"/>
                    <a:pt x="64" y="112"/>
                  </a:cubicBezTo>
                  <a:lnTo>
                    <a:pt x="8" y="80"/>
                  </a:lnTo>
                  <a:cubicBezTo>
                    <a:pt x="4" y="77"/>
                    <a:pt x="0" y="70"/>
                    <a:pt x="0" y="65"/>
                  </a:cubicBezTo>
                  <a:lnTo>
                    <a:pt x="0" y="52"/>
                  </a:lnTo>
                  <a:cubicBezTo>
                    <a:pt x="18" y="34"/>
                    <a:pt x="35" y="17"/>
                    <a:pt x="52" y="0"/>
                  </a:cubicBezTo>
                  <a:lnTo>
                    <a:pt x="52" y="91"/>
                  </a:lnTo>
                  <a:cubicBezTo>
                    <a:pt x="52" y="97"/>
                    <a:pt x="50" y="101"/>
                    <a:pt x="46" y="101"/>
                  </a:cubicBezTo>
                  <a:cubicBezTo>
                    <a:pt x="45" y="101"/>
                    <a:pt x="44" y="100"/>
                    <a:pt x="43" y="100"/>
                  </a:cubicBezTo>
                  <a:lnTo>
                    <a:pt x="63" y="111"/>
                  </a:lnTo>
                  <a:cubicBezTo>
                    <a:pt x="64" y="112"/>
                    <a:pt x="66" y="112"/>
                    <a:pt x="67" y="112"/>
                  </a:cubicBezTo>
                  <a:cubicBezTo>
                    <a:pt x="68" y="112"/>
                    <a:pt x="68" y="112"/>
                    <a:pt x="69" y="112"/>
                  </a:cubicBezTo>
                  <a:cubicBezTo>
                    <a:pt x="68" y="112"/>
                    <a:pt x="68" y="113"/>
                    <a:pt x="67" y="113"/>
                  </a:cubicBezTo>
                </a:path>
              </a:pathLst>
            </a:custGeom>
            <a:solidFill>
              <a:srgbClr val="FFCE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1662">
              <a:extLst>
                <a:ext uri="{FF2B5EF4-FFF2-40B4-BE49-F238E27FC236}">
                  <a16:creationId xmlns:a16="http://schemas.microsoft.com/office/drawing/2014/main" id="{62F4761D-4FB1-4F0D-9AF8-D1494275C6BF}"/>
                </a:ext>
              </a:extLst>
            </p:cNvPr>
            <p:cNvSpPr>
              <a:spLocks/>
            </p:cNvSpPr>
            <p:nvPr/>
          </p:nvSpPr>
          <p:spPr bwMode="auto">
            <a:xfrm>
              <a:off x="8291513" y="3076576"/>
              <a:ext cx="1588" cy="107950"/>
            </a:xfrm>
            <a:custGeom>
              <a:avLst/>
              <a:gdLst>
                <a:gd name="T0" fmla="*/ 0 w 2"/>
                <a:gd name="T1" fmla="*/ 131 h 131"/>
                <a:gd name="T2" fmla="*/ 2 w 2"/>
                <a:gd name="T3" fmla="*/ 125 h 131"/>
                <a:gd name="T4" fmla="*/ 2 w 2"/>
                <a:gd name="T5" fmla="*/ 0 h 131"/>
                <a:gd name="T6" fmla="*/ 2 w 2"/>
                <a:gd name="T7" fmla="*/ 0 h 131"/>
                <a:gd name="T8" fmla="*/ 2 w 2"/>
                <a:gd name="T9" fmla="*/ 125 h 131"/>
                <a:gd name="T10" fmla="*/ 0 w 2"/>
                <a:gd name="T11" fmla="*/ 131 h 131"/>
              </a:gdLst>
              <a:ahLst/>
              <a:cxnLst>
                <a:cxn ang="0">
                  <a:pos x="T0" y="T1"/>
                </a:cxn>
                <a:cxn ang="0">
                  <a:pos x="T2" y="T3"/>
                </a:cxn>
                <a:cxn ang="0">
                  <a:pos x="T4" y="T5"/>
                </a:cxn>
                <a:cxn ang="0">
                  <a:pos x="T6" y="T7"/>
                </a:cxn>
                <a:cxn ang="0">
                  <a:pos x="T8" y="T9"/>
                </a:cxn>
                <a:cxn ang="0">
                  <a:pos x="T10" y="T11"/>
                </a:cxn>
              </a:cxnLst>
              <a:rect l="0" t="0" r="r" b="b"/>
              <a:pathLst>
                <a:path w="2" h="131">
                  <a:moveTo>
                    <a:pt x="0" y="131"/>
                  </a:moveTo>
                  <a:cubicBezTo>
                    <a:pt x="1" y="130"/>
                    <a:pt x="2" y="128"/>
                    <a:pt x="2" y="125"/>
                  </a:cubicBezTo>
                  <a:lnTo>
                    <a:pt x="2" y="0"/>
                  </a:lnTo>
                  <a:lnTo>
                    <a:pt x="2" y="0"/>
                  </a:lnTo>
                  <a:lnTo>
                    <a:pt x="2" y="125"/>
                  </a:lnTo>
                  <a:cubicBezTo>
                    <a:pt x="2" y="128"/>
                    <a:pt x="1" y="130"/>
                    <a:pt x="0" y="131"/>
                  </a:cubicBezTo>
                  <a:close/>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663">
              <a:extLst>
                <a:ext uri="{FF2B5EF4-FFF2-40B4-BE49-F238E27FC236}">
                  <a16:creationId xmlns:a16="http://schemas.microsoft.com/office/drawing/2014/main" id="{B6AB4154-4EE7-458D-B7B2-3DF229083276}"/>
                </a:ext>
              </a:extLst>
            </p:cNvPr>
            <p:cNvSpPr>
              <a:spLocks/>
            </p:cNvSpPr>
            <p:nvPr/>
          </p:nvSpPr>
          <p:spPr bwMode="auto">
            <a:xfrm>
              <a:off x="8270876" y="3076576"/>
              <a:ext cx="22225" cy="107950"/>
            </a:xfrm>
            <a:custGeom>
              <a:avLst/>
              <a:gdLst>
                <a:gd name="T0" fmla="*/ 24 w 28"/>
                <a:gd name="T1" fmla="*/ 131 h 131"/>
                <a:gd name="T2" fmla="*/ 20 w 28"/>
                <a:gd name="T3" fmla="*/ 130 h 131"/>
                <a:gd name="T4" fmla="*/ 0 w 28"/>
                <a:gd name="T5" fmla="*/ 119 h 131"/>
                <a:gd name="T6" fmla="*/ 3 w 28"/>
                <a:gd name="T7" fmla="*/ 120 h 131"/>
                <a:gd name="T8" fmla="*/ 9 w 28"/>
                <a:gd name="T9" fmla="*/ 110 h 131"/>
                <a:gd name="T10" fmla="*/ 9 w 28"/>
                <a:gd name="T11" fmla="*/ 19 h 131"/>
                <a:gd name="T12" fmla="*/ 28 w 28"/>
                <a:gd name="T13" fmla="*/ 0 h 131"/>
                <a:gd name="T14" fmla="*/ 28 w 28"/>
                <a:gd name="T15" fmla="*/ 125 h 131"/>
                <a:gd name="T16" fmla="*/ 26 w 28"/>
                <a:gd name="T17" fmla="*/ 131 h 131"/>
                <a:gd name="T18" fmla="*/ 24 w 28"/>
                <a:gd name="T1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31">
                  <a:moveTo>
                    <a:pt x="24" y="131"/>
                  </a:moveTo>
                  <a:cubicBezTo>
                    <a:pt x="23" y="131"/>
                    <a:pt x="21" y="131"/>
                    <a:pt x="20" y="130"/>
                  </a:cubicBezTo>
                  <a:lnTo>
                    <a:pt x="0" y="119"/>
                  </a:lnTo>
                  <a:cubicBezTo>
                    <a:pt x="1" y="119"/>
                    <a:pt x="2" y="120"/>
                    <a:pt x="3" y="120"/>
                  </a:cubicBezTo>
                  <a:cubicBezTo>
                    <a:pt x="7" y="120"/>
                    <a:pt x="9" y="116"/>
                    <a:pt x="9" y="110"/>
                  </a:cubicBezTo>
                  <a:lnTo>
                    <a:pt x="9" y="19"/>
                  </a:lnTo>
                  <a:cubicBezTo>
                    <a:pt x="16" y="12"/>
                    <a:pt x="22" y="6"/>
                    <a:pt x="28" y="0"/>
                  </a:cubicBezTo>
                  <a:lnTo>
                    <a:pt x="28" y="125"/>
                  </a:lnTo>
                  <a:cubicBezTo>
                    <a:pt x="28" y="128"/>
                    <a:pt x="27" y="130"/>
                    <a:pt x="26" y="131"/>
                  </a:cubicBezTo>
                  <a:cubicBezTo>
                    <a:pt x="25" y="131"/>
                    <a:pt x="25" y="131"/>
                    <a:pt x="24" y="131"/>
                  </a:cubicBezTo>
                </a:path>
              </a:pathLst>
            </a:custGeom>
            <a:solidFill>
              <a:srgbClr val="DCB3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664">
              <a:extLst>
                <a:ext uri="{FF2B5EF4-FFF2-40B4-BE49-F238E27FC236}">
                  <a16:creationId xmlns:a16="http://schemas.microsoft.com/office/drawing/2014/main" id="{8B4F4830-537C-4F01-92AC-6A52C8C3EAAF}"/>
                </a:ext>
              </a:extLst>
            </p:cNvPr>
            <p:cNvSpPr>
              <a:spLocks/>
            </p:cNvSpPr>
            <p:nvPr/>
          </p:nvSpPr>
          <p:spPr bwMode="auto">
            <a:xfrm>
              <a:off x="8453438" y="3008313"/>
              <a:ext cx="6350" cy="20638"/>
            </a:xfrm>
            <a:custGeom>
              <a:avLst/>
              <a:gdLst>
                <a:gd name="T0" fmla="*/ 0 w 8"/>
                <a:gd name="T1" fmla="*/ 25 h 25"/>
                <a:gd name="T2" fmla="*/ 0 w 8"/>
                <a:gd name="T3" fmla="*/ 23 h 25"/>
                <a:gd name="T4" fmla="*/ 8 w 8"/>
                <a:gd name="T5" fmla="*/ 0 h 25"/>
                <a:gd name="T6" fmla="*/ 0 w 8"/>
                <a:gd name="T7" fmla="*/ 25 h 25"/>
              </a:gdLst>
              <a:ahLst/>
              <a:cxnLst>
                <a:cxn ang="0">
                  <a:pos x="T0" y="T1"/>
                </a:cxn>
                <a:cxn ang="0">
                  <a:pos x="T2" y="T3"/>
                </a:cxn>
                <a:cxn ang="0">
                  <a:pos x="T4" y="T5"/>
                </a:cxn>
                <a:cxn ang="0">
                  <a:pos x="T6" y="T7"/>
                </a:cxn>
              </a:cxnLst>
              <a:rect l="0" t="0" r="r" b="b"/>
              <a:pathLst>
                <a:path w="8" h="25">
                  <a:moveTo>
                    <a:pt x="0" y="25"/>
                  </a:moveTo>
                  <a:lnTo>
                    <a:pt x="0" y="23"/>
                  </a:lnTo>
                  <a:cubicBezTo>
                    <a:pt x="0" y="13"/>
                    <a:pt x="3" y="5"/>
                    <a:pt x="8" y="0"/>
                  </a:cubicBezTo>
                  <a:cubicBezTo>
                    <a:pt x="5" y="8"/>
                    <a:pt x="3" y="16"/>
                    <a:pt x="0" y="25"/>
                  </a:cubicBezTo>
                  <a:close/>
                </a:path>
              </a:pathLst>
            </a:custGeom>
            <a:solidFill>
              <a:srgbClr val="D365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1665">
              <a:extLst>
                <a:ext uri="{FF2B5EF4-FFF2-40B4-BE49-F238E27FC236}">
                  <a16:creationId xmlns:a16="http://schemas.microsoft.com/office/drawing/2014/main" id="{472BB4B0-4BA9-4DB4-9F43-7004FD62694E}"/>
                </a:ext>
              </a:extLst>
            </p:cNvPr>
            <p:cNvSpPr>
              <a:spLocks/>
            </p:cNvSpPr>
            <p:nvPr/>
          </p:nvSpPr>
          <p:spPr bwMode="auto">
            <a:xfrm>
              <a:off x="8040688" y="3249613"/>
              <a:ext cx="354013" cy="330200"/>
            </a:xfrm>
            <a:custGeom>
              <a:avLst/>
              <a:gdLst>
                <a:gd name="T0" fmla="*/ 225 w 433"/>
                <a:gd name="T1" fmla="*/ 402 h 402"/>
                <a:gd name="T2" fmla="*/ 0 w 433"/>
                <a:gd name="T3" fmla="*/ 97 h 402"/>
                <a:gd name="T4" fmla="*/ 97 w 433"/>
                <a:gd name="T5" fmla="*/ 0 h 402"/>
                <a:gd name="T6" fmla="*/ 433 w 433"/>
                <a:gd name="T7" fmla="*/ 194 h 402"/>
                <a:gd name="T8" fmla="*/ 358 w 433"/>
                <a:gd name="T9" fmla="*/ 270 h 402"/>
                <a:gd name="T10" fmla="*/ 214 w 433"/>
                <a:gd name="T11" fmla="*/ 187 h 402"/>
                <a:gd name="T12" fmla="*/ 205 w 433"/>
                <a:gd name="T13" fmla="*/ 185 h 402"/>
                <a:gd name="T14" fmla="*/ 191 w 433"/>
                <a:gd name="T15" fmla="*/ 205 h 402"/>
                <a:gd name="T16" fmla="*/ 214 w 433"/>
                <a:gd name="T17" fmla="*/ 248 h 402"/>
                <a:gd name="T18" fmla="*/ 319 w 433"/>
                <a:gd name="T19" fmla="*/ 309 h 402"/>
                <a:gd name="T20" fmla="*/ 225 w 433"/>
                <a:gd name="T21"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3" h="402">
                  <a:moveTo>
                    <a:pt x="225" y="402"/>
                  </a:moveTo>
                  <a:cubicBezTo>
                    <a:pt x="165" y="289"/>
                    <a:pt x="88" y="183"/>
                    <a:pt x="0" y="97"/>
                  </a:cubicBezTo>
                  <a:cubicBezTo>
                    <a:pt x="32" y="65"/>
                    <a:pt x="65" y="32"/>
                    <a:pt x="97" y="0"/>
                  </a:cubicBezTo>
                  <a:lnTo>
                    <a:pt x="433" y="194"/>
                  </a:lnTo>
                  <a:lnTo>
                    <a:pt x="358" y="270"/>
                  </a:lnTo>
                  <a:lnTo>
                    <a:pt x="214" y="187"/>
                  </a:lnTo>
                  <a:cubicBezTo>
                    <a:pt x="211" y="186"/>
                    <a:pt x="208" y="185"/>
                    <a:pt x="205" y="185"/>
                  </a:cubicBezTo>
                  <a:cubicBezTo>
                    <a:pt x="197" y="185"/>
                    <a:pt x="191" y="192"/>
                    <a:pt x="191" y="205"/>
                  </a:cubicBezTo>
                  <a:cubicBezTo>
                    <a:pt x="191" y="221"/>
                    <a:pt x="202" y="241"/>
                    <a:pt x="214" y="248"/>
                  </a:cubicBezTo>
                  <a:lnTo>
                    <a:pt x="319" y="309"/>
                  </a:lnTo>
                  <a:lnTo>
                    <a:pt x="225" y="402"/>
                  </a:lnTo>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666">
              <a:extLst>
                <a:ext uri="{FF2B5EF4-FFF2-40B4-BE49-F238E27FC236}">
                  <a16:creationId xmlns:a16="http://schemas.microsoft.com/office/drawing/2014/main" id="{C2B03412-29EA-42D6-A4A3-5733254092E0}"/>
                </a:ext>
              </a:extLst>
            </p:cNvPr>
            <p:cNvSpPr>
              <a:spLocks/>
            </p:cNvSpPr>
            <p:nvPr/>
          </p:nvSpPr>
          <p:spPr bwMode="auto">
            <a:xfrm>
              <a:off x="7967663" y="3343276"/>
              <a:ext cx="242888" cy="307975"/>
            </a:xfrm>
            <a:custGeom>
              <a:avLst/>
              <a:gdLst>
                <a:gd name="T0" fmla="*/ 227 w 297"/>
                <a:gd name="T1" fmla="*/ 375 h 375"/>
                <a:gd name="T2" fmla="*/ 0 w 297"/>
                <a:gd name="T3" fmla="*/ 72 h 375"/>
                <a:gd name="T4" fmla="*/ 72 w 297"/>
                <a:gd name="T5" fmla="*/ 0 h 375"/>
                <a:gd name="T6" fmla="*/ 297 w 297"/>
                <a:gd name="T7" fmla="*/ 306 h 375"/>
                <a:gd name="T8" fmla="*/ 227 w 297"/>
                <a:gd name="T9" fmla="*/ 375 h 375"/>
              </a:gdLst>
              <a:ahLst/>
              <a:cxnLst>
                <a:cxn ang="0">
                  <a:pos x="T0" y="T1"/>
                </a:cxn>
                <a:cxn ang="0">
                  <a:pos x="T2" y="T3"/>
                </a:cxn>
                <a:cxn ang="0">
                  <a:pos x="T4" y="T5"/>
                </a:cxn>
                <a:cxn ang="0">
                  <a:pos x="T6" y="T7"/>
                </a:cxn>
                <a:cxn ang="0">
                  <a:pos x="T8" y="T9"/>
                </a:cxn>
              </a:cxnLst>
              <a:rect l="0" t="0" r="r" b="b"/>
              <a:pathLst>
                <a:path w="297" h="375">
                  <a:moveTo>
                    <a:pt x="227" y="375"/>
                  </a:moveTo>
                  <a:cubicBezTo>
                    <a:pt x="173" y="258"/>
                    <a:pt x="93" y="149"/>
                    <a:pt x="0" y="72"/>
                  </a:cubicBezTo>
                  <a:cubicBezTo>
                    <a:pt x="24" y="48"/>
                    <a:pt x="48" y="24"/>
                    <a:pt x="72" y="0"/>
                  </a:cubicBezTo>
                  <a:cubicBezTo>
                    <a:pt x="160" y="85"/>
                    <a:pt x="238" y="191"/>
                    <a:pt x="297" y="306"/>
                  </a:cubicBezTo>
                  <a:lnTo>
                    <a:pt x="227" y="375"/>
                  </a:lnTo>
                </a:path>
              </a:pathLst>
            </a:custGeom>
            <a:solidFill>
              <a:srgbClr val="D365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1667">
              <a:extLst>
                <a:ext uri="{FF2B5EF4-FFF2-40B4-BE49-F238E27FC236}">
                  <a16:creationId xmlns:a16="http://schemas.microsoft.com/office/drawing/2014/main" id="{D7127403-77A2-4B7C-9FD9-FC08257A1B63}"/>
                </a:ext>
              </a:extLst>
            </p:cNvPr>
            <p:cNvSpPr>
              <a:spLocks/>
            </p:cNvSpPr>
            <p:nvPr/>
          </p:nvSpPr>
          <p:spPr bwMode="auto">
            <a:xfrm>
              <a:off x="8040688" y="3330576"/>
              <a:ext cx="184150" cy="250825"/>
            </a:xfrm>
            <a:custGeom>
              <a:avLst/>
              <a:gdLst>
                <a:gd name="T0" fmla="*/ 225 w 225"/>
                <a:gd name="T1" fmla="*/ 306 h 306"/>
                <a:gd name="T2" fmla="*/ 0 w 225"/>
                <a:gd name="T3" fmla="*/ 0 h 306"/>
                <a:gd name="T4" fmla="*/ 0 w 225"/>
                <a:gd name="T5" fmla="*/ 0 h 306"/>
                <a:gd name="T6" fmla="*/ 225 w 225"/>
                <a:gd name="T7" fmla="*/ 305 h 306"/>
                <a:gd name="T8" fmla="*/ 225 w 225"/>
                <a:gd name="T9" fmla="*/ 306 h 306"/>
              </a:gdLst>
              <a:ahLst/>
              <a:cxnLst>
                <a:cxn ang="0">
                  <a:pos x="T0" y="T1"/>
                </a:cxn>
                <a:cxn ang="0">
                  <a:pos x="T2" y="T3"/>
                </a:cxn>
                <a:cxn ang="0">
                  <a:pos x="T4" y="T5"/>
                </a:cxn>
                <a:cxn ang="0">
                  <a:pos x="T6" y="T7"/>
                </a:cxn>
                <a:cxn ang="0">
                  <a:pos x="T8" y="T9"/>
                </a:cxn>
              </a:cxnLst>
              <a:rect l="0" t="0" r="r" b="b"/>
              <a:pathLst>
                <a:path w="225" h="306">
                  <a:moveTo>
                    <a:pt x="225" y="306"/>
                  </a:moveTo>
                  <a:cubicBezTo>
                    <a:pt x="165" y="192"/>
                    <a:pt x="88" y="86"/>
                    <a:pt x="0" y="0"/>
                  </a:cubicBezTo>
                  <a:cubicBezTo>
                    <a:pt x="0" y="0"/>
                    <a:pt x="0" y="0"/>
                    <a:pt x="0" y="0"/>
                  </a:cubicBezTo>
                  <a:cubicBezTo>
                    <a:pt x="88" y="86"/>
                    <a:pt x="165" y="192"/>
                    <a:pt x="225" y="305"/>
                  </a:cubicBezTo>
                  <a:lnTo>
                    <a:pt x="225" y="306"/>
                  </a:lnTo>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1668">
              <a:extLst>
                <a:ext uri="{FF2B5EF4-FFF2-40B4-BE49-F238E27FC236}">
                  <a16:creationId xmlns:a16="http://schemas.microsoft.com/office/drawing/2014/main" id="{AB1D3F7A-2E87-49BC-AC1B-031065846E02}"/>
                </a:ext>
              </a:extLst>
            </p:cNvPr>
            <p:cNvSpPr>
              <a:spLocks/>
            </p:cNvSpPr>
            <p:nvPr/>
          </p:nvSpPr>
          <p:spPr bwMode="auto">
            <a:xfrm>
              <a:off x="8026401" y="3330576"/>
              <a:ext cx="198438" cy="263525"/>
            </a:xfrm>
            <a:custGeom>
              <a:avLst/>
              <a:gdLst>
                <a:gd name="T0" fmla="*/ 225 w 241"/>
                <a:gd name="T1" fmla="*/ 322 h 322"/>
                <a:gd name="T2" fmla="*/ 0 w 241"/>
                <a:gd name="T3" fmla="*/ 16 h 322"/>
                <a:gd name="T4" fmla="*/ 16 w 241"/>
                <a:gd name="T5" fmla="*/ 0 h 322"/>
                <a:gd name="T6" fmla="*/ 241 w 241"/>
                <a:gd name="T7" fmla="*/ 306 h 322"/>
                <a:gd name="T8" fmla="*/ 225 w 241"/>
                <a:gd name="T9" fmla="*/ 322 h 322"/>
              </a:gdLst>
              <a:ahLst/>
              <a:cxnLst>
                <a:cxn ang="0">
                  <a:pos x="T0" y="T1"/>
                </a:cxn>
                <a:cxn ang="0">
                  <a:pos x="T2" y="T3"/>
                </a:cxn>
                <a:cxn ang="0">
                  <a:pos x="T4" y="T5"/>
                </a:cxn>
                <a:cxn ang="0">
                  <a:pos x="T6" y="T7"/>
                </a:cxn>
                <a:cxn ang="0">
                  <a:pos x="T8" y="T9"/>
                </a:cxn>
              </a:cxnLst>
              <a:rect l="0" t="0" r="r" b="b"/>
              <a:pathLst>
                <a:path w="241" h="322">
                  <a:moveTo>
                    <a:pt x="225" y="322"/>
                  </a:moveTo>
                  <a:cubicBezTo>
                    <a:pt x="166" y="207"/>
                    <a:pt x="88" y="101"/>
                    <a:pt x="0" y="16"/>
                  </a:cubicBezTo>
                  <a:cubicBezTo>
                    <a:pt x="5" y="11"/>
                    <a:pt x="11" y="5"/>
                    <a:pt x="16" y="0"/>
                  </a:cubicBezTo>
                  <a:cubicBezTo>
                    <a:pt x="104" y="86"/>
                    <a:pt x="181" y="192"/>
                    <a:pt x="241" y="306"/>
                  </a:cubicBezTo>
                  <a:lnTo>
                    <a:pt x="225" y="322"/>
                  </a:lnTo>
                  <a:close/>
                </a:path>
              </a:pathLst>
            </a:custGeom>
            <a:solidFill>
              <a:srgbClr val="B65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1669">
              <a:extLst>
                <a:ext uri="{FF2B5EF4-FFF2-40B4-BE49-F238E27FC236}">
                  <a16:creationId xmlns:a16="http://schemas.microsoft.com/office/drawing/2014/main" id="{9EDE84AE-C8CE-4BB1-BEA4-EE08CE077AC7}"/>
                </a:ext>
              </a:extLst>
            </p:cNvPr>
            <p:cNvSpPr>
              <a:spLocks/>
            </p:cNvSpPr>
            <p:nvPr/>
          </p:nvSpPr>
          <p:spPr bwMode="auto">
            <a:xfrm>
              <a:off x="7627938" y="3716338"/>
              <a:ext cx="196850" cy="288925"/>
            </a:xfrm>
            <a:custGeom>
              <a:avLst/>
              <a:gdLst>
                <a:gd name="T0" fmla="*/ 211 w 241"/>
                <a:gd name="T1" fmla="*/ 352 h 352"/>
                <a:gd name="T2" fmla="*/ 0 w 241"/>
                <a:gd name="T3" fmla="*/ 32 h 352"/>
                <a:gd name="T4" fmla="*/ 32 w 241"/>
                <a:gd name="T5" fmla="*/ 0 h 352"/>
                <a:gd name="T6" fmla="*/ 241 w 241"/>
                <a:gd name="T7" fmla="*/ 321 h 352"/>
                <a:gd name="T8" fmla="*/ 211 w 241"/>
                <a:gd name="T9" fmla="*/ 352 h 352"/>
              </a:gdLst>
              <a:ahLst/>
              <a:cxnLst>
                <a:cxn ang="0">
                  <a:pos x="T0" y="T1"/>
                </a:cxn>
                <a:cxn ang="0">
                  <a:pos x="T2" y="T3"/>
                </a:cxn>
                <a:cxn ang="0">
                  <a:pos x="T4" y="T5"/>
                </a:cxn>
                <a:cxn ang="0">
                  <a:pos x="T6" y="T7"/>
                </a:cxn>
                <a:cxn ang="0">
                  <a:pos x="T8" y="T9"/>
                </a:cxn>
              </a:cxnLst>
              <a:rect l="0" t="0" r="r" b="b"/>
              <a:pathLst>
                <a:path w="241" h="352">
                  <a:moveTo>
                    <a:pt x="211" y="352"/>
                  </a:moveTo>
                  <a:cubicBezTo>
                    <a:pt x="121" y="266"/>
                    <a:pt x="46" y="152"/>
                    <a:pt x="0" y="32"/>
                  </a:cubicBezTo>
                  <a:lnTo>
                    <a:pt x="32" y="0"/>
                  </a:lnTo>
                  <a:cubicBezTo>
                    <a:pt x="74" y="121"/>
                    <a:pt x="150" y="238"/>
                    <a:pt x="241" y="321"/>
                  </a:cubicBezTo>
                  <a:lnTo>
                    <a:pt x="211" y="352"/>
                  </a:lnTo>
                  <a:close/>
                </a:path>
              </a:pathLst>
            </a:custGeom>
            <a:solidFill>
              <a:srgbClr val="C6D7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1670">
              <a:extLst>
                <a:ext uri="{FF2B5EF4-FFF2-40B4-BE49-F238E27FC236}">
                  <a16:creationId xmlns:a16="http://schemas.microsoft.com/office/drawing/2014/main" id="{3856B593-AF2A-4084-A145-A97D1E13EA6F}"/>
                </a:ext>
              </a:extLst>
            </p:cNvPr>
            <p:cNvSpPr>
              <a:spLocks/>
            </p:cNvSpPr>
            <p:nvPr/>
          </p:nvSpPr>
          <p:spPr bwMode="auto">
            <a:xfrm>
              <a:off x="7942263" y="3402013"/>
              <a:ext cx="211138" cy="274638"/>
            </a:xfrm>
            <a:custGeom>
              <a:avLst/>
              <a:gdLst>
                <a:gd name="T0" fmla="*/ 228 w 259"/>
                <a:gd name="T1" fmla="*/ 334 h 334"/>
                <a:gd name="T2" fmla="*/ 0 w 259"/>
                <a:gd name="T3" fmla="*/ 32 h 334"/>
                <a:gd name="T4" fmla="*/ 32 w 259"/>
                <a:gd name="T5" fmla="*/ 0 h 334"/>
                <a:gd name="T6" fmla="*/ 259 w 259"/>
                <a:gd name="T7" fmla="*/ 303 h 334"/>
                <a:gd name="T8" fmla="*/ 228 w 259"/>
                <a:gd name="T9" fmla="*/ 334 h 334"/>
              </a:gdLst>
              <a:ahLst/>
              <a:cxnLst>
                <a:cxn ang="0">
                  <a:pos x="T0" y="T1"/>
                </a:cxn>
                <a:cxn ang="0">
                  <a:pos x="T2" y="T3"/>
                </a:cxn>
                <a:cxn ang="0">
                  <a:pos x="T4" y="T5"/>
                </a:cxn>
                <a:cxn ang="0">
                  <a:pos x="T6" y="T7"/>
                </a:cxn>
                <a:cxn ang="0">
                  <a:pos x="T8" y="T9"/>
                </a:cxn>
              </a:cxnLst>
              <a:rect l="0" t="0" r="r" b="b"/>
              <a:pathLst>
                <a:path w="259" h="334">
                  <a:moveTo>
                    <a:pt x="228" y="334"/>
                  </a:moveTo>
                  <a:cubicBezTo>
                    <a:pt x="177" y="215"/>
                    <a:pt x="95" y="104"/>
                    <a:pt x="0" y="32"/>
                  </a:cubicBezTo>
                  <a:cubicBezTo>
                    <a:pt x="10" y="22"/>
                    <a:pt x="21" y="11"/>
                    <a:pt x="32" y="0"/>
                  </a:cubicBezTo>
                  <a:cubicBezTo>
                    <a:pt x="125" y="77"/>
                    <a:pt x="205" y="186"/>
                    <a:pt x="259" y="303"/>
                  </a:cubicBezTo>
                  <a:lnTo>
                    <a:pt x="228" y="334"/>
                  </a:lnTo>
                  <a:close/>
                </a:path>
              </a:pathLst>
            </a:custGeom>
            <a:solidFill>
              <a:srgbClr val="B65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1671">
              <a:extLst>
                <a:ext uri="{FF2B5EF4-FFF2-40B4-BE49-F238E27FC236}">
                  <a16:creationId xmlns:a16="http://schemas.microsoft.com/office/drawing/2014/main" id="{5AB9DCA7-D2C2-4F9A-BEA8-C17FAA17F21D}"/>
                </a:ext>
              </a:extLst>
            </p:cNvPr>
            <p:cNvSpPr>
              <a:spLocks/>
            </p:cNvSpPr>
            <p:nvPr/>
          </p:nvSpPr>
          <p:spPr bwMode="auto">
            <a:xfrm>
              <a:off x="7716838" y="3490913"/>
              <a:ext cx="355600" cy="431800"/>
            </a:xfrm>
            <a:custGeom>
              <a:avLst/>
              <a:gdLst>
                <a:gd name="T0" fmla="*/ 202 w 434"/>
                <a:gd name="T1" fmla="*/ 527 h 527"/>
                <a:gd name="T2" fmla="*/ 0 w 434"/>
                <a:gd name="T3" fmla="*/ 199 h 527"/>
                <a:gd name="T4" fmla="*/ 199 w 434"/>
                <a:gd name="T5" fmla="*/ 0 h 527"/>
                <a:gd name="T6" fmla="*/ 224 w 434"/>
                <a:gd name="T7" fmla="*/ 13 h 527"/>
                <a:gd name="T8" fmla="*/ 434 w 434"/>
                <a:gd name="T9" fmla="*/ 295 h 527"/>
                <a:gd name="T10" fmla="*/ 202 w 434"/>
                <a:gd name="T11" fmla="*/ 527 h 527"/>
              </a:gdLst>
              <a:ahLst/>
              <a:cxnLst>
                <a:cxn ang="0">
                  <a:pos x="T0" y="T1"/>
                </a:cxn>
                <a:cxn ang="0">
                  <a:pos x="T2" y="T3"/>
                </a:cxn>
                <a:cxn ang="0">
                  <a:pos x="T4" y="T5"/>
                </a:cxn>
                <a:cxn ang="0">
                  <a:pos x="T6" y="T7"/>
                </a:cxn>
                <a:cxn ang="0">
                  <a:pos x="T8" y="T9"/>
                </a:cxn>
                <a:cxn ang="0">
                  <a:pos x="T10" y="T11"/>
                </a:cxn>
              </a:cxnLst>
              <a:rect l="0" t="0" r="r" b="b"/>
              <a:pathLst>
                <a:path w="434" h="527">
                  <a:moveTo>
                    <a:pt x="202" y="527"/>
                  </a:moveTo>
                  <a:cubicBezTo>
                    <a:pt x="101" y="458"/>
                    <a:pt x="19" y="323"/>
                    <a:pt x="0" y="199"/>
                  </a:cubicBezTo>
                  <a:cubicBezTo>
                    <a:pt x="66" y="133"/>
                    <a:pt x="133" y="66"/>
                    <a:pt x="199" y="0"/>
                  </a:cubicBezTo>
                  <a:cubicBezTo>
                    <a:pt x="207" y="4"/>
                    <a:pt x="216" y="8"/>
                    <a:pt x="224" y="13"/>
                  </a:cubicBezTo>
                  <a:cubicBezTo>
                    <a:pt x="319" y="68"/>
                    <a:pt x="400" y="181"/>
                    <a:pt x="434" y="295"/>
                  </a:cubicBezTo>
                  <a:lnTo>
                    <a:pt x="202" y="527"/>
                  </a:lnTo>
                  <a:close/>
                </a:path>
              </a:pathLst>
            </a:custGeom>
            <a:solidFill>
              <a:srgbClr val="B59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672">
              <a:extLst>
                <a:ext uri="{FF2B5EF4-FFF2-40B4-BE49-F238E27FC236}">
                  <a16:creationId xmlns:a16="http://schemas.microsoft.com/office/drawing/2014/main" id="{D81A7267-69A6-4213-85A7-ECE00F245B72}"/>
                </a:ext>
              </a:extLst>
            </p:cNvPr>
            <p:cNvSpPr>
              <a:spLocks/>
            </p:cNvSpPr>
            <p:nvPr/>
          </p:nvSpPr>
          <p:spPr bwMode="auto">
            <a:xfrm>
              <a:off x="8196263" y="3402013"/>
              <a:ext cx="136525" cy="101600"/>
            </a:xfrm>
            <a:custGeom>
              <a:avLst/>
              <a:gdLst>
                <a:gd name="T0" fmla="*/ 128 w 167"/>
                <a:gd name="T1" fmla="*/ 124 h 124"/>
                <a:gd name="T2" fmla="*/ 23 w 167"/>
                <a:gd name="T3" fmla="*/ 63 h 124"/>
                <a:gd name="T4" fmla="*/ 0 w 167"/>
                <a:gd name="T5" fmla="*/ 20 h 124"/>
                <a:gd name="T6" fmla="*/ 14 w 167"/>
                <a:gd name="T7" fmla="*/ 0 h 124"/>
                <a:gd name="T8" fmla="*/ 23 w 167"/>
                <a:gd name="T9" fmla="*/ 2 h 124"/>
                <a:gd name="T10" fmla="*/ 167 w 167"/>
                <a:gd name="T11" fmla="*/ 85 h 124"/>
                <a:gd name="T12" fmla="*/ 128 w 167"/>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167" h="124">
                  <a:moveTo>
                    <a:pt x="128" y="124"/>
                  </a:moveTo>
                  <a:lnTo>
                    <a:pt x="23" y="63"/>
                  </a:lnTo>
                  <a:cubicBezTo>
                    <a:pt x="11" y="56"/>
                    <a:pt x="0" y="36"/>
                    <a:pt x="0" y="20"/>
                  </a:cubicBezTo>
                  <a:cubicBezTo>
                    <a:pt x="0" y="7"/>
                    <a:pt x="6" y="0"/>
                    <a:pt x="14" y="0"/>
                  </a:cubicBezTo>
                  <a:cubicBezTo>
                    <a:pt x="17" y="0"/>
                    <a:pt x="20" y="1"/>
                    <a:pt x="23" y="2"/>
                  </a:cubicBezTo>
                  <a:lnTo>
                    <a:pt x="167" y="85"/>
                  </a:lnTo>
                  <a:lnTo>
                    <a:pt x="128" y="124"/>
                  </a:lnTo>
                </a:path>
              </a:pathLst>
            </a:custGeom>
            <a:solidFill>
              <a:srgbClr val="E4D6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1673">
              <a:extLst>
                <a:ext uri="{FF2B5EF4-FFF2-40B4-BE49-F238E27FC236}">
                  <a16:creationId xmlns:a16="http://schemas.microsoft.com/office/drawing/2014/main" id="{DA549371-AEDE-45F8-9A20-6494E5B5CB18}"/>
                </a:ext>
              </a:extLst>
            </p:cNvPr>
            <p:cNvSpPr>
              <a:spLocks/>
            </p:cNvSpPr>
            <p:nvPr/>
          </p:nvSpPr>
          <p:spPr bwMode="auto">
            <a:xfrm>
              <a:off x="7458076" y="4067176"/>
              <a:ext cx="188913" cy="212725"/>
            </a:xfrm>
            <a:custGeom>
              <a:avLst/>
              <a:gdLst>
                <a:gd name="T0" fmla="*/ 83 w 231"/>
                <a:gd name="T1" fmla="*/ 260 h 260"/>
                <a:gd name="T2" fmla="*/ 47 w 231"/>
                <a:gd name="T3" fmla="*/ 240 h 260"/>
                <a:gd name="T4" fmla="*/ 0 w 231"/>
                <a:gd name="T5" fmla="*/ 148 h 260"/>
                <a:gd name="T6" fmla="*/ 0 w 231"/>
                <a:gd name="T7" fmla="*/ 42 h 260"/>
                <a:gd name="T8" fmla="*/ 28 w 231"/>
                <a:gd name="T9" fmla="*/ 0 h 260"/>
                <a:gd name="T10" fmla="*/ 47 w 231"/>
                <a:gd name="T11" fmla="*/ 6 h 260"/>
                <a:gd name="T12" fmla="*/ 231 w 231"/>
                <a:gd name="T13" fmla="*/ 112 h 260"/>
                <a:gd name="T14" fmla="*/ 83 w 231"/>
                <a:gd name="T15" fmla="*/ 260 h 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1" h="260">
                  <a:moveTo>
                    <a:pt x="83" y="260"/>
                  </a:moveTo>
                  <a:lnTo>
                    <a:pt x="47" y="240"/>
                  </a:lnTo>
                  <a:cubicBezTo>
                    <a:pt x="21" y="224"/>
                    <a:pt x="0" y="183"/>
                    <a:pt x="0" y="148"/>
                  </a:cubicBezTo>
                  <a:lnTo>
                    <a:pt x="0" y="42"/>
                  </a:lnTo>
                  <a:cubicBezTo>
                    <a:pt x="0" y="16"/>
                    <a:pt x="11" y="0"/>
                    <a:pt x="28" y="0"/>
                  </a:cubicBezTo>
                  <a:cubicBezTo>
                    <a:pt x="34" y="0"/>
                    <a:pt x="41" y="2"/>
                    <a:pt x="47" y="6"/>
                  </a:cubicBezTo>
                  <a:lnTo>
                    <a:pt x="231" y="112"/>
                  </a:lnTo>
                  <a:lnTo>
                    <a:pt x="83" y="260"/>
                  </a:lnTo>
                </a:path>
              </a:pathLst>
            </a:custGeom>
            <a:solidFill>
              <a:srgbClr val="B59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1674">
              <a:extLst>
                <a:ext uri="{FF2B5EF4-FFF2-40B4-BE49-F238E27FC236}">
                  <a16:creationId xmlns:a16="http://schemas.microsoft.com/office/drawing/2014/main" id="{F87FB693-A09A-4AC9-B33F-42D5D8ECC8DB}"/>
                </a:ext>
              </a:extLst>
            </p:cNvPr>
            <p:cNvSpPr>
              <a:spLocks/>
            </p:cNvSpPr>
            <p:nvPr/>
          </p:nvSpPr>
          <p:spPr bwMode="auto">
            <a:xfrm>
              <a:off x="7385051" y="4556126"/>
              <a:ext cx="307975" cy="282575"/>
            </a:xfrm>
            <a:custGeom>
              <a:avLst/>
              <a:gdLst>
                <a:gd name="T0" fmla="*/ 38 w 194"/>
                <a:gd name="T1" fmla="*/ 178 h 178"/>
                <a:gd name="T2" fmla="*/ 12 w 194"/>
                <a:gd name="T3" fmla="*/ 163 h 178"/>
                <a:gd name="T4" fmla="*/ 0 w 194"/>
                <a:gd name="T5" fmla="*/ 157 h 178"/>
                <a:gd name="T6" fmla="*/ 157 w 194"/>
                <a:gd name="T7" fmla="*/ 0 h 178"/>
                <a:gd name="T8" fmla="*/ 194 w 194"/>
                <a:gd name="T9" fmla="*/ 22 h 178"/>
                <a:gd name="T10" fmla="*/ 38 w 194"/>
                <a:gd name="T11" fmla="*/ 178 h 178"/>
              </a:gdLst>
              <a:ahLst/>
              <a:cxnLst>
                <a:cxn ang="0">
                  <a:pos x="T0" y="T1"/>
                </a:cxn>
                <a:cxn ang="0">
                  <a:pos x="T2" y="T3"/>
                </a:cxn>
                <a:cxn ang="0">
                  <a:pos x="T4" y="T5"/>
                </a:cxn>
                <a:cxn ang="0">
                  <a:pos x="T6" y="T7"/>
                </a:cxn>
                <a:cxn ang="0">
                  <a:pos x="T8" y="T9"/>
                </a:cxn>
                <a:cxn ang="0">
                  <a:pos x="T10" y="T11"/>
                </a:cxn>
              </a:cxnLst>
              <a:rect l="0" t="0" r="r" b="b"/>
              <a:pathLst>
                <a:path w="194" h="178">
                  <a:moveTo>
                    <a:pt x="38" y="178"/>
                  </a:moveTo>
                  <a:lnTo>
                    <a:pt x="12" y="163"/>
                  </a:lnTo>
                  <a:lnTo>
                    <a:pt x="0" y="157"/>
                  </a:lnTo>
                  <a:lnTo>
                    <a:pt x="157" y="0"/>
                  </a:lnTo>
                  <a:lnTo>
                    <a:pt x="194" y="22"/>
                  </a:lnTo>
                  <a:lnTo>
                    <a:pt x="38" y="178"/>
                  </a:lnTo>
                  <a:close/>
                </a:path>
              </a:pathLst>
            </a:custGeom>
            <a:solidFill>
              <a:srgbClr val="8C7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1675">
              <a:extLst>
                <a:ext uri="{FF2B5EF4-FFF2-40B4-BE49-F238E27FC236}">
                  <a16:creationId xmlns:a16="http://schemas.microsoft.com/office/drawing/2014/main" id="{A57DD995-A2E4-420D-87FE-5633BFC3D910}"/>
                </a:ext>
              </a:extLst>
            </p:cNvPr>
            <p:cNvSpPr>
              <a:spLocks noEditPoints="1"/>
            </p:cNvSpPr>
            <p:nvPr/>
          </p:nvSpPr>
          <p:spPr bwMode="auto">
            <a:xfrm>
              <a:off x="7634288" y="3763963"/>
              <a:ext cx="850900" cy="827088"/>
            </a:xfrm>
            <a:custGeom>
              <a:avLst/>
              <a:gdLst>
                <a:gd name="T0" fmla="*/ 72 w 1038"/>
                <a:gd name="T1" fmla="*/ 1008 h 1008"/>
                <a:gd name="T2" fmla="*/ 0 w 1038"/>
                <a:gd name="T3" fmla="*/ 966 h 1008"/>
                <a:gd name="T4" fmla="*/ 63 w 1038"/>
                <a:gd name="T5" fmla="*/ 903 h 1008"/>
                <a:gd name="T6" fmla="*/ 135 w 1038"/>
                <a:gd name="T7" fmla="*/ 945 h 1008"/>
                <a:gd name="T8" fmla="*/ 72 w 1038"/>
                <a:gd name="T9" fmla="*/ 1008 h 1008"/>
                <a:gd name="T10" fmla="*/ 178 w 1038"/>
                <a:gd name="T11" fmla="*/ 902 h 1008"/>
                <a:gd name="T12" fmla="*/ 105 w 1038"/>
                <a:gd name="T13" fmla="*/ 861 h 1008"/>
                <a:gd name="T14" fmla="*/ 164 w 1038"/>
                <a:gd name="T15" fmla="*/ 802 h 1008"/>
                <a:gd name="T16" fmla="*/ 237 w 1038"/>
                <a:gd name="T17" fmla="*/ 843 h 1008"/>
                <a:gd name="T18" fmla="*/ 178 w 1038"/>
                <a:gd name="T19" fmla="*/ 902 h 1008"/>
                <a:gd name="T20" fmla="*/ 384 w 1038"/>
                <a:gd name="T21" fmla="*/ 695 h 1008"/>
                <a:gd name="T22" fmla="*/ 312 w 1038"/>
                <a:gd name="T23" fmla="*/ 654 h 1008"/>
                <a:gd name="T24" fmla="*/ 386 w 1038"/>
                <a:gd name="T25" fmla="*/ 580 h 1008"/>
                <a:gd name="T26" fmla="*/ 470 w 1038"/>
                <a:gd name="T27" fmla="*/ 610 h 1008"/>
                <a:gd name="T28" fmla="*/ 384 w 1038"/>
                <a:gd name="T29" fmla="*/ 695 h 1008"/>
                <a:gd name="T30" fmla="*/ 848 w 1038"/>
                <a:gd name="T31" fmla="*/ 232 h 1008"/>
                <a:gd name="T32" fmla="*/ 839 w 1038"/>
                <a:gd name="T33" fmla="*/ 127 h 1008"/>
                <a:gd name="T34" fmla="*/ 966 w 1038"/>
                <a:gd name="T35" fmla="*/ 0 h 1008"/>
                <a:gd name="T36" fmla="*/ 1038 w 1038"/>
                <a:gd name="T37" fmla="*/ 42 h 1008"/>
                <a:gd name="T38" fmla="*/ 848 w 1038"/>
                <a:gd name="T39" fmla="*/ 232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8" h="1008">
                  <a:moveTo>
                    <a:pt x="72" y="1008"/>
                  </a:moveTo>
                  <a:lnTo>
                    <a:pt x="0" y="966"/>
                  </a:lnTo>
                  <a:lnTo>
                    <a:pt x="63" y="903"/>
                  </a:lnTo>
                  <a:lnTo>
                    <a:pt x="135" y="945"/>
                  </a:lnTo>
                  <a:lnTo>
                    <a:pt x="72" y="1008"/>
                  </a:lnTo>
                  <a:close/>
                  <a:moveTo>
                    <a:pt x="178" y="902"/>
                  </a:moveTo>
                  <a:lnTo>
                    <a:pt x="105" y="861"/>
                  </a:lnTo>
                  <a:lnTo>
                    <a:pt x="164" y="802"/>
                  </a:lnTo>
                  <a:lnTo>
                    <a:pt x="237" y="843"/>
                  </a:lnTo>
                  <a:lnTo>
                    <a:pt x="178" y="902"/>
                  </a:lnTo>
                  <a:close/>
                  <a:moveTo>
                    <a:pt x="384" y="695"/>
                  </a:moveTo>
                  <a:lnTo>
                    <a:pt x="312" y="654"/>
                  </a:lnTo>
                  <a:lnTo>
                    <a:pt x="386" y="580"/>
                  </a:lnTo>
                  <a:cubicBezTo>
                    <a:pt x="415" y="593"/>
                    <a:pt x="443" y="603"/>
                    <a:pt x="470" y="610"/>
                  </a:cubicBezTo>
                  <a:lnTo>
                    <a:pt x="384" y="695"/>
                  </a:lnTo>
                  <a:moveTo>
                    <a:pt x="848" y="232"/>
                  </a:moveTo>
                  <a:cubicBezTo>
                    <a:pt x="847" y="198"/>
                    <a:pt x="844" y="163"/>
                    <a:pt x="839" y="127"/>
                  </a:cubicBezTo>
                  <a:lnTo>
                    <a:pt x="966" y="0"/>
                  </a:lnTo>
                  <a:lnTo>
                    <a:pt x="1038" y="42"/>
                  </a:lnTo>
                  <a:lnTo>
                    <a:pt x="848" y="232"/>
                  </a:lnTo>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1676">
              <a:extLst>
                <a:ext uri="{FF2B5EF4-FFF2-40B4-BE49-F238E27FC236}">
                  <a16:creationId xmlns:a16="http://schemas.microsoft.com/office/drawing/2014/main" id="{4A36CFB5-1821-4743-B646-54B587262434}"/>
                </a:ext>
              </a:extLst>
            </p:cNvPr>
            <p:cNvSpPr>
              <a:spLocks/>
            </p:cNvSpPr>
            <p:nvPr/>
          </p:nvSpPr>
          <p:spPr bwMode="auto">
            <a:xfrm>
              <a:off x="7988301" y="3886201"/>
              <a:ext cx="319088" cy="355600"/>
            </a:xfrm>
            <a:custGeom>
              <a:avLst/>
              <a:gdLst>
                <a:gd name="T0" fmla="*/ 66 w 389"/>
                <a:gd name="T1" fmla="*/ 433 h 433"/>
                <a:gd name="T2" fmla="*/ 6 w 389"/>
                <a:gd name="T3" fmla="*/ 420 h 433"/>
                <a:gd name="T4" fmla="*/ 0 w 389"/>
                <a:gd name="T5" fmla="*/ 385 h 433"/>
                <a:gd name="T6" fmla="*/ 97 w 389"/>
                <a:gd name="T7" fmla="*/ 288 h 433"/>
                <a:gd name="T8" fmla="*/ 263 w 389"/>
                <a:gd name="T9" fmla="*/ 122 h 433"/>
                <a:gd name="T10" fmla="*/ 385 w 389"/>
                <a:gd name="T11" fmla="*/ 0 h 433"/>
                <a:gd name="T12" fmla="*/ 389 w 389"/>
                <a:gd name="T13" fmla="*/ 82 h 433"/>
                <a:gd name="T14" fmla="*/ 389 w 389"/>
                <a:gd name="T15" fmla="*/ 110 h 433"/>
                <a:gd name="T16" fmla="*/ 66 w 389"/>
                <a:gd name="T1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433">
                  <a:moveTo>
                    <a:pt x="66" y="433"/>
                  </a:moveTo>
                  <a:cubicBezTo>
                    <a:pt x="46" y="431"/>
                    <a:pt x="27" y="426"/>
                    <a:pt x="6" y="420"/>
                  </a:cubicBezTo>
                  <a:lnTo>
                    <a:pt x="0" y="385"/>
                  </a:lnTo>
                  <a:lnTo>
                    <a:pt x="97" y="288"/>
                  </a:lnTo>
                  <a:cubicBezTo>
                    <a:pt x="178" y="275"/>
                    <a:pt x="238" y="217"/>
                    <a:pt x="263" y="122"/>
                  </a:cubicBezTo>
                  <a:lnTo>
                    <a:pt x="385" y="0"/>
                  </a:lnTo>
                  <a:cubicBezTo>
                    <a:pt x="388" y="28"/>
                    <a:pt x="389" y="55"/>
                    <a:pt x="389" y="82"/>
                  </a:cubicBezTo>
                  <a:cubicBezTo>
                    <a:pt x="389" y="92"/>
                    <a:pt x="389" y="101"/>
                    <a:pt x="389" y="110"/>
                  </a:cubicBezTo>
                  <a:lnTo>
                    <a:pt x="66" y="433"/>
                  </a:lnTo>
                </a:path>
              </a:pathLst>
            </a:custGeom>
            <a:solidFill>
              <a:srgbClr val="FFCE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677">
              <a:extLst>
                <a:ext uri="{FF2B5EF4-FFF2-40B4-BE49-F238E27FC236}">
                  <a16:creationId xmlns:a16="http://schemas.microsoft.com/office/drawing/2014/main" id="{DC23D2CF-4776-4420-B4CE-124C70399F81}"/>
                </a:ext>
              </a:extLst>
            </p:cNvPr>
            <p:cNvSpPr>
              <a:spLocks/>
            </p:cNvSpPr>
            <p:nvPr/>
          </p:nvSpPr>
          <p:spPr bwMode="auto">
            <a:xfrm>
              <a:off x="7969251" y="4202113"/>
              <a:ext cx="23813" cy="28575"/>
            </a:xfrm>
            <a:custGeom>
              <a:avLst/>
              <a:gdLst>
                <a:gd name="T0" fmla="*/ 30 w 30"/>
                <a:gd name="T1" fmla="*/ 35 h 35"/>
                <a:gd name="T2" fmla="*/ 0 w 30"/>
                <a:gd name="T3" fmla="*/ 24 h 35"/>
                <a:gd name="T4" fmla="*/ 24 w 30"/>
                <a:gd name="T5" fmla="*/ 0 h 35"/>
                <a:gd name="T6" fmla="*/ 30 w 30"/>
                <a:gd name="T7" fmla="*/ 35 h 35"/>
              </a:gdLst>
              <a:ahLst/>
              <a:cxnLst>
                <a:cxn ang="0">
                  <a:pos x="T0" y="T1"/>
                </a:cxn>
                <a:cxn ang="0">
                  <a:pos x="T2" y="T3"/>
                </a:cxn>
                <a:cxn ang="0">
                  <a:pos x="T4" y="T5"/>
                </a:cxn>
                <a:cxn ang="0">
                  <a:pos x="T6" y="T7"/>
                </a:cxn>
              </a:cxnLst>
              <a:rect l="0" t="0" r="r" b="b"/>
              <a:pathLst>
                <a:path w="30" h="35">
                  <a:moveTo>
                    <a:pt x="30" y="35"/>
                  </a:moveTo>
                  <a:cubicBezTo>
                    <a:pt x="20" y="32"/>
                    <a:pt x="10" y="28"/>
                    <a:pt x="0" y="24"/>
                  </a:cubicBezTo>
                  <a:lnTo>
                    <a:pt x="24" y="0"/>
                  </a:lnTo>
                  <a:lnTo>
                    <a:pt x="30" y="35"/>
                  </a:lnTo>
                  <a:close/>
                </a:path>
              </a:pathLst>
            </a:custGeom>
            <a:solidFill>
              <a:srgbClr val="E5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678">
              <a:extLst>
                <a:ext uri="{FF2B5EF4-FFF2-40B4-BE49-F238E27FC236}">
                  <a16:creationId xmlns:a16="http://schemas.microsoft.com/office/drawing/2014/main" id="{C67BD357-F3E3-4FF0-ACBA-68CC7DDD1D12}"/>
                </a:ext>
              </a:extLst>
            </p:cNvPr>
            <p:cNvSpPr>
              <a:spLocks/>
            </p:cNvSpPr>
            <p:nvPr/>
          </p:nvSpPr>
          <p:spPr bwMode="auto">
            <a:xfrm>
              <a:off x="7950201" y="4230688"/>
              <a:ext cx="69850" cy="33338"/>
            </a:xfrm>
            <a:custGeom>
              <a:avLst/>
              <a:gdLst>
                <a:gd name="T0" fmla="*/ 84 w 84"/>
                <a:gd name="T1" fmla="*/ 41 h 41"/>
                <a:gd name="T2" fmla="*/ 0 w 84"/>
                <a:gd name="T3" fmla="*/ 11 h 41"/>
                <a:gd name="T4" fmla="*/ 0 w 84"/>
                <a:gd name="T5" fmla="*/ 11 h 41"/>
                <a:gd name="T6" fmla="*/ 59 w 84"/>
                <a:gd name="T7" fmla="*/ 33 h 41"/>
                <a:gd name="T8" fmla="*/ 52 w 84"/>
                <a:gd name="T9" fmla="*/ 0 h 41"/>
                <a:gd name="T10" fmla="*/ 52 w 84"/>
                <a:gd name="T11" fmla="*/ 0 h 41"/>
                <a:gd name="T12" fmla="*/ 59 w 84"/>
                <a:gd name="T13" fmla="*/ 33 h 41"/>
                <a:gd name="T14" fmla="*/ 84 w 84"/>
                <a:gd name="T15" fmla="*/ 41 h 41"/>
                <a:gd name="T16" fmla="*/ 84 w 84"/>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41">
                  <a:moveTo>
                    <a:pt x="84" y="41"/>
                  </a:moveTo>
                  <a:cubicBezTo>
                    <a:pt x="57" y="34"/>
                    <a:pt x="29" y="24"/>
                    <a:pt x="0" y="11"/>
                  </a:cubicBezTo>
                  <a:lnTo>
                    <a:pt x="0" y="11"/>
                  </a:lnTo>
                  <a:cubicBezTo>
                    <a:pt x="20" y="20"/>
                    <a:pt x="39" y="28"/>
                    <a:pt x="59" y="33"/>
                  </a:cubicBezTo>
                  <a:lnTo>
                    <a:pt x="52" y="0"/>
                  </a:lnTo>
                  <a:lnTo>
                    <a:pt x="52" y="0"/>
                  </a:lnTo>
                  <a:lnTo>
                    <a:pt x="59" y="33"/>
                  </a:lnTo>
                  <a:cubicBezTo>
                    <a:pt x="67" y="36"/>
                    <a:pt x="76" y="38"/>
                    <a:pt x="84" y="41"/>
                  </a:cubicBezTo>
                  <a:lnTo>
                    <a:pt x="84" y="41"/>
                  </a:lnTo>
                  <a:close/>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679">
              <a:extLst>
                <a:ext uri="{FF2B5EF4-FFF2-40B4-BE49-F238E27FC236}">
                  <a16:creationId xmlns:a16="http://schemas.microsoft.com/office/drawing/2014/main" id="{B5D20CA6-F854-452D-94D4-15FEE1F7D40C}"/>
                </a:ext>
              </a:extLst>
            </p:cNvPr>
            <p:cNvSpPr>
              <a:spLocks/>
            </p:cNvSpPr>
            <p:nvPr/>
          </p:nvSpPr>
          <p:spPr bwMode="auto">
            <a:xfrm>
              <a:off x="8321676" y="3867151"/>
              <a:ext cx="7938" cy="87313"/>
            </a:xfrm>
            <a:custGeom>
              <a:avLst/>
              <a:gdLst>
                <a:gd name="T0" fmla="*/ 9 w 9"/>
                <a:gd name="T1" fmla="*/ 105 h 105"/>
                <a:gd name="T2" fmla="*/ 0 w 9"/>
                <a:gd name="T3" fmla="*/ 0 h 105"/>
                <a:gd name="T4" fmla="*/ 0 w 9"/>
                <a:gd name="T5" fmla="*/ 0 h 105"/>
                <a:gd name="T6" fmla="*/ 9 w 9"/>
                <a:gd name="T7" fmla="*/ 105 h 105"/>
                <a:gd name="T8" fmla="*/ 9 w 9"/>
                <a:gd name="T9" fmla="*/ 105 h 105"/>
              </a:gdLst>
              <a:ahLst/>
              <a:cxnLst>
                <a:cxn ang="0">
                  <a:pos x="T0" y="T1"/>
                </a:cxn>
                <a:cxn ang="0">
                  <a:pos x="T2" y="T3"/>
                </a:cxn>
                <a:cxn ang="0">
                  <a:pos x="T4" y="T5"/>
                </a:cxn>
                <a:cxn ang="0">
                  <a:pos x="T6" y="T7"/>
                </a:cxn>
                <a:cxn ang="0">
                  <a:pos x="T8" y="T9"/>
                </a:cxn>
              </a:cxnLst>
              <a:rect l="0" t="0" r="r" b="b"/>
              <a:pathLst>
                <a:path w="9" h="105">
                  <a:moveTo>
                    <a:pt x="9" y="105"/>
                  </a:moveTo>
                  <a:cubicBezTo>
                    <a:pt x="8" y="71"/>
                    <a:pt x="5" y="36"/>
                    <a:pt x="0" y="0"/>
                  </a:cubicBezTo>
                  <a:lnTo>
                    <a:pt x="0" y="0"/>
                  </a:lnTo>
                  <a:cubicBezTo>
                    <a:pt x="5" y="36"/>
                    <a:pt x="8" y="71"/>
                    <a:pt x="9" y="105"/>
                  </a:cubicBezTo>
                  <a:lnTo>
                    <a:pt x="9" y="105"/>
                  </a:lnTo>
                  <a:close/>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680">
              <a:extLst>
                <a:ext uri="{FF2B5EF4-FFF2-40B4-BE49-F238E27FC236}">
                  <a16:creationId xmlns:a16="http://schemas.microsoft.com/office/drawing/2014/main" id="{4508475D-BCC1-4DCA-B467-8358774E876C}"/>
                </a:ext>
              </a:extLst>
            </p:cNvPr>
            <p:cNvSpPr>
              <a:spLocks noEditPoints="1"/>
            </p:cNvSpPr>
            <p:nvPr/>
          </p:nvSpPr>
          <p:spPr bwMode="auto">
            <a:xfrm>
              <a:off x="7993063" y="3867151"/>
              <a:ext cx="336550" cy="396875"/>
            </a:xfrm>
            <a:custGeom>
              <a:avLst/>
              <a:gdLst>
                <a:gd name="T0" fmla="*/ 32 w 410"/>
                <a:gd name="T1" fmla="*/ 483 h 483"/>
                <a:gd name="T2" fmla="*/ 7 w 410"/>
                <a:gd name="T3" fmla="*/ 475 h 483"/>
                <a:gd name="T4" fmla="*/ 0 w 410"/>
                <a:gd name="T5" fmla="*/ 442 h 483"/>
                <a:gd name="T6" fmla="*/ 60 w 410"/>
                <a:gd name="T7" fmla="*/ 455 h 483"/>
                <a:gd name="T8" fmla="*/ 32 w 410"/>
                <a:gd name="T9" fmla="*/ 483 h 483"/>
                <a:gd name="T10" fmla="*/ 383 w 410"/>
                <a:gd name="T11" fmla="*/ 132 h 483"/>
                <a:gd name="T12" fmla="*/ 383 w 410"/>
                <a:gd name="T13" fmla="*/ 104 h 483"/>
                <a:gd name="T14" fmla="*/ 379 w 410"/>
                <a:gd name="T15" fmla="*/ 22 h 483"/>
                <a:gd name="T16" fmla="*/ 401 w 410"/>
                <a:gd name="T17" fmla="*/ 0 h 483"/>
                <a:gd name="T18" fmla="*/ 410 w 410"/>
                <a:gd name="T19" fmla="*/ 105 h 483"/>
                <a:gd name="T20" fmla="*/ 383 w 410"/>
                <a:gd name="T21" fmla="*/ 132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0" h="483">
                  <a:moveTo>
                    <a:pt x="32" y="483"/>
                  </a:moveTo>
                  <a:cubicBezTo>
                    <a:pt x="24" y="480"/>
                    <a:pt x="15" y="478"/>
                    <a:pt x="7" y="475"/>
                  </a:cubicBezTo>
                  <a:lnTo>
                    <a:pt x="0" y="442"/>
                  </a:lnTo>
                  <a:cubicBezTo>
                    <a:pt x="21" y="448"/>
                    <a:pt x="40" y="453"/>
                    <a:pt x="60" y="455"/>
                  </a:cubicBezTo>
                  <a:lnTo>
                    <a:pt x="32" y="483"/>
                  </a:lnTo>
                  <a:moveTo>
                    <a:pt x="383" y="132"/>
                  </a:moveTo>
                  <a:cubicBezTo>
                    <a:pt x="383" y="123"/>
                    <a:pt x="383" y="114"/>
                    <a:pt x="383" y="104"/>
                  </a:cubicBezTo>
                  <a:cubicBezTo>
                    <a:pt x="383" y="77"/>
                    <a:pt x="382" y="50"/>
                    <a:pt x="379" y="22"/>
                  </a:cubicBezTo>
                  <a:lnTo>
                    <a:pt x="401" y="0"/>
                  </a:lnTo>
                  <a:cubicBezTo>
                    <a:pt x="406" y="36"/>
                    <a:pt x="409" y="71"/>
                    <a:pt x="410" y="105"/>
                  </a:cubicBezTo>
                  <a:lnTo>
                    <a:pt x="383" y="132"/>
                  </a:lnTo>
                </a:path>
              </a:pathLst>
            </a:custGeom>
            <a:solidFill>
              <a:srgbClr val="DCB3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1681">
              <a:extLst>
                <a:ext uri="{FF2B5EF4-FFF2-40B4-BE49-F238E27FC236}">
                  <a16:creationId xmlns:a16="http://schemas.microsoft.com/office/drawing/2014/main" id="{1634DDD5-1936-4C43-9C23-21FD4E6ADC43}"/>
                </a:ext>
              </a:extLst>
            </p:cNvPr>
            <p:cNvSpPr>
              <a:spLocks/>
            </p:cNvSpPr>
            <p:nvPr/>
          </p:nvSpPr>
          <p:spPr bwMode="auto">
            <a:xfrm>
              <a:off x="7950201" y="4221163"/>
              <a:ext cx="49213" cy="36513"/>
            </a:xfrm>
            <a:custGeom>
              <a:avLst/>
              <a:gdLst>
                <a:gd name="T0" fmla="*/ 59 w 59"/>
                <a:gd name="T1" fmla="*/ 44 h 44"/>
                <a:gd name="T2" fmla="*/ 0 w 59"/>
                <a:gd name="T3" fmla="*/ 22 h 44"/>
                <a:gd name="T4" fmla="*/ 22 w 59"/>
                <a:gd name="T5" fmla="*/ 0 h 44"/>
                <a:gd name="T6" fmla="*/ 52 w 59"/>
                <a:gd name="T7" fmla="*/ 11 h 44"/>
                <a:gd name="T8" fmla="*/ 59 w 59"/>
                <a:gd name="T9" fmla="*/ 44 h 44"/>
              </a:gdLst>
              <a:ahLst/>
              <a:cxnLst>
                <a:cxn ang="0">
                  <a:pos x="T0" y="T1"/>
                </a:cxn>
                <a:cxn ang="0">
                  <a:pos x="T2" y="T3"/>
                </a:cxn>
                <a:cxn ang="0">
                  <a:pos x="T4" y="T5"/>
                </a:cxn>
                <a:cxn ang="0">
                  <a:pos x="T6" y="T7"/>
                </a:cxn>
                <a:cxn ang="0">
                  <a:pos x="T8" y="T9"/>
                </a:cxn>
              </a:cxnLst>
              <a:rect l="0" t="0" r="r" b="b"/>
              <a:pathLst>
                <a:path w="59" h="44">
                  <a:moveTo>
                    <a:pt x="59" y="44"/>
                  </a:moveTo>
                  <a:cubicBezTo>
                    <a:pt x="39" y="39"/>
                    <a:pt x="20" y="31"/>
                    <a:pt x="0" y="22"/>
                  </a:cubicBezTo>
                  <a:lnTo>
                    <a:pt x="22" y="0"/>
                  </a:lnTo>
                  <a:cubicBezTo>
                    <a:pt x="32" y="4"/>
                    <a:pt x="42" y="8"/>
                    <a:pt x="52" y="11"/>
                  </a:cubicBezTo>
                  <a:lnTo>
                    <a:pt x="59" y="44"/>
                  </a:lnTo>
                </a:path>
              </a:pathLst>
            </a:custGeom>
            <a:solidFill>
              <a:srgbClr val="C6D7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682">
              <a:extLst>
                <a:ext uri="{FF2B5EF4-FFF2-40B4-BE49-F238E27FC236}">
                  <a16:creationId xmlns:a16="http://schemas.microsoft.com/office/drawing/2014/main" id="{DEEBF9C6-5C26-4D51-963F-CD7C731B8B42}"/>
                </a:ext>
              </a:extLst>
            </p:cNvPr>
            <p:cNvSpPr>
              <a:spLocks/>
            </p:cNvSpPr>
            <p:nvPr/>
          </p:nvSpPr>
          <p:spPr bwMode="auto">
            <a:xfrm>
              <a:off x="8456613" y="3644901"/>
              <a:ext cx="147638" cy="120650"/>
            </a:xfrm>
            <a:custGeom>
              <a:avLst/>
              <a:gdLst>
                <a:gd name="T0" fmla="*/ 38 w 93"/>
                <a:gd name="T1" fmla="*/ 76 h 76"/>
                <a:gd name="T2" fmla="*/ 0 w 93"/>
                <a:gd name="T3" fmla="*/ 55 h 76"/>
                <a:gd name="T4" fmla="*/ 56 w 93"/>
                <a:gd name="T5" fmla="*/ 0 h 76"/>
                <a:gd name="T6" fmla="*/ 93 w 93"/>
                <a:gd name="T7" fmla="*/ 21 h 76"/>
                <a:gd name="T8" fmla="*/ 38 w 93"/>
                <a:gd name="T9" fmla="*/ 76 h 76"/>
              </a:gdLst>
              <a:ahLst/>
              <a:cxnLst>
                <a:cxn ang="0">
                  <a:pos x="T0" y="T1"/>
                </a:cxn>
                <a:cxn ang="0">
                  <a:pos x="T2" y="T3"/>
                </a:cxn>
                <a:cxn ang="0">
                  <a:pos x="T4" y="T5"/>
                </a:cxn>
                <a:cxn ang="0">
                  <a:pos x="T6" y="T7"/>
                </a:cxn>
                <a:cxn ang="0">
                  <a:pos x="T8" y="T9"/>
                </a:cxn>
              </a:cxnLst>
              <a:rect l="0" t="0" r="r" b="b"/>
              <a:pathLst>
                <a:path w="93" h="76">
                  <a:moveTo>
                    <a:pt x="38" y="76"/>
                  </a:moveTo>
                  <a:lnTo>
                    <a:pt x="0" y="55"/>
                  </a:lnTo>
                  <a:lnTo>
                    <a:pt x="56" y="0"/>
                  </a:lnTo>
                  <a:lnTo>
                    <a:pt x="93" y="21"/>
                  </a:lnTo>
                  <a:lnTo>
                    <a:pt x="38" y="76"/>
                  </a:lnTo>
                  <a:close/>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1683">
              <a:extLst>
                <a:ext uri="{FF2B5EF4-FFF2-40B4-BE49-F238E27FC236}">
                  <a16:creationId xmlns:a16="http://schemas.microsoft.com/office/drawing/2014/main" id="{8DE79C62-83AC-4345-97BA-21ECFDC20520}"/>
                </a:ext>
              </a:extLst>
            </p:cNvPr>
            <p:cNvSpPr>
              <a:spLocks/>
            </p:cNvSpPr>
            <p:nvPr/>
          </p:nvSpPr>
          <p:spPr bwMode="auto">
            <a:xfrm>
              <a:off x="8067676" y="3986213"/>
              <a:ext cx="136525" cy="136525"/>
            </a:xfrm>
            <a:custGeom>
              <a:avLst/>
              <a:gdLst>
                <a:gd name="T0" fmla="*/ 0 w 166"/>
                <a:gd name="T1" fmla="*/ 166 h 166"/>
                <a:gd name="T2" fmla="*/ 166 w 166"/>
                <a:gd name="T3" fmla="*/ 0 h 166"/>
                <a:gd name="T4" fmla="*/ 0 w 166"/>
                <a:gd name="T5" fmla="*/ 166 h 166"/>
              </a:gdLst>
              <a:ahLst/>
              <a:cxnLst>
                <a:cxn ang="0">
                  <a:pos x="T0" y="T1"/>
                </a:cxn>
                <a:cxn ang="0">
                  <a:pos x="T2" y="T3"/>
                </a:cxn>
                <a:cxn ang="0">
                  <a:pos x="T4" y="T5"/>
                </a:cxn>
              </a:cxnLst>
              <a:rect l="0" t="0" r="r" b="b"/>
              <a:pathLst>
                <a:path w="166" h="166">
                  <a:moveTo>
                    <a:pt x="0" y="166"/>
                  </a:moveTo>
                  <a:lnTo>
                    <a:pt x="166" y="0"/>
                  </a:lnTo>
                  <a:cubicBezTo>
                    <a:pt x="141" y="95"/>
                    <a:pt x="81" y="153"/>
                    <a:pt x="0" y="166"/>
                  </a:cubicBezTo>
                  <a:close/>
                </a:path>
              </a:pathLst>
            </a:custGeom>
            <a:solidFill>
              <a:srgbClr val="DCB3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1684">
              <a:extLst>
                <a:ext uri="{FF2B5EF4-FFF2-40B4-BE49-F238E27FC236}">
                  <a16:creationId xmlns:a16="http://schemas.microsoft.com/office/drawing/2014/main" id="{B49EE207-B825-4F74-8DC2-2D2C2F588A90}"/>
                </a:ext>
              </a:extLst>
            </p:cNvPr>
            <p:cNvSpPr>
              <a:spLocks/>
            </p:cNvSpPr>
            <p:nvPr/>
          </p:nvSpPr>
          <p:spPr bwMode="auto">
            <a:xfrm>
              <a:off x="8545513" y="3616326"/>
              <a:ext cx="63500" cy="61913"/>
            </a:xfrm>
            <a:custGeom>
              <a:avLst/>
              <a:gdLst>
                <a:gd name="T0" fmla="*/ 72 w 78"/>
                <a:gd name="T1" fmla="*/ 76 h 76"/>
                <a:gd name="T2" fmla="*/ 0 w 78"/>
                <a:gd name="T3" fmla="*/ 35 h 76"/>
                <a:gd name="T4" fmla="*/ 34 w 78"/>
                <a:gd name="T5" fmla="*/ 0 h 76"/>
                <a:gd name="T6" fmla="*/ 78 w 78"/>
                <a:gd name="T7" fmla="*/ 70 h 76"/>
                <a:gd name="T8" fmla="*/ 72 w 78"/>
                <a:gd name="T9" fmla="*/ 76 h 76"/>
              </a:gdLst>
              <a:ahLst/>
              <a:cxnLst>
                <a:cxn ang="0">
                  <a:pos x="T0" y="T1"/>
                </a:cxn>
                <a:cxn ang="0">
                  <a:pos x="T2" y="T3"/>
                </a:cxn>
                <a:cxn ang="0">
                  <a:pos x="T4" y="T5"/>
                </a:cxn>
                <a:cxn ang="0">
                  <a:pos x="T6" y="T7"/>
                </a:cxn>
                <a:cxn ang="0">
                  <a:pos x="T8" y="T9"/>
                </a:cxn>
              </a:cxnLst>
              <a:rect l="0" t="0" r="r" b="b"/>
              <a:pathLst>
                <a:path w="78" h="76">
                  <a:moveTo>
                    <a:pt x="72" y="76"/>
                  </a:moveTo>
                  <a:lnTo>
                    <a:pt x="0" y="35"/>
                  </a:lnTo>
                  <a:lnTo>
                    <a:pt x="34" y="0"/>
                  </a:lnTo>
                  <a:cubicBezTo>
                    <a:pt x="48" y="24"/>
                    <a:pt x="63" y="47"/>
                    <a:pt x="78" y="70"/>
                  </a:cubicBezTo>
                  <a:lnTo>
                    <a:pt x="72" y="76"/>
                  </a:lnTo>
                  <a:close/>
                </a:path>
              </a:pathLst>
            </a:custGeom>
            <a:solidFill>
              <a:srgbClr val="E4D6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1685">
              <a:extLst>
                <a:ext uri="{FF2B5EF4-FFF2-40B4-BE49-F238E27FC236}">
                  <a16:creationId xmlns:a16="http://schemas.microsoft.com/office/drawing/2014/main" id="{5340AF39-6326-4892-9553-8EBD3297C977}"/>
                </a:ext>
              </a:extLst>
            </p:cNvPr>
            <p:cNvSpPr>
              <a:spLocks/>
            </p:cNvSpPr>
            <p:nvPr/>
          </p:nvSpPr>
          <p:spPr bwMode="auto">
            <a:xfrm>
              <a:off x="8426451" y="3732213"/>
              <a:ext cx="90488" cy="66675"/>
            </a:xfrm>
            <a:custGeom>
              <a:avLst/>
              <a:gdLst>
                <a:gd name="T0" fmla="*/ 37 w 57"/>
                <a:gd name="T1" fmla="*/ 42 h 42"/>
                <a:gd name="T2" fmla="*/ 0 w 57"/>
                <a:gd name="T3" fmla="*/ 20 h 42"/>
                <a:gd name="T4" fmla="*/ 19 w 57"/>
                <a:gd name="T5" fmla="*/ 0 h 42"/>
                <a:gd name="T6" fmla="*/ 57 w 57"/>
                <a:gd name="T7" fmla="*/ 21 h 42"/>
                <a:gd name="T8" fmla="*/ 37 w 57"/>
                <a:gd name="T9" fmla="*/ 42 h 42"/>
              </a:gdLst>
              <a:ahLst/>
              <a:cxnLst>
                <a:cxn ang="0">
                  <a:pos x="T0" y="T1"/>
                </a:cxn>
                <a:cxn ang="0">
                  <a:pos x="T2" y="T3"/>
                </a:cxn>
                <a:cxn ang="0">
                  <a:pos x="T4" y="T5"/>
                </a:cxn>
                <a:cxn ang="0">
                  <a:pos x="T6" y="T7"/>
                </a:cxn>
                <a:cxn ang="0">
                  <a:pos x="T8" y="T9"/>
                </a:cxn>
              </a:cxnLst>
              <a:rect l="0" t="0" r="r" b="b"/>
              <a:pathLst>
                <a:path w="57" h="42">
                  <a:moveTo>
                    <a:pt x="37" y="42"/>
                  </a:moveTo>
                  <a:lnTo>
                    <a:pt x="0" y="20"/>
                  </a:lnTo>
                  <a:lnTo>
                    <a:pt x="19" y="0"/>
                  </a:lnTo>
                  <a:lnTo>
                    <a:pt x="57" y="21"/>
                  </a:lnTo>
                  <a:lnTo>
                    <a:pt x="37" y="42"/>
                  </a:lnTo>
                  <a:close/>
                </a:path>
              </a:pathLst>
            </a:custGeom>
            <a:solidFill>
              <a:srgbClr val="E4D6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686">
              <a:extLst>
                <a:ext uri="{FF2B5EF4-FFF2-40B4-BE49-F238E27FC236}">
                  <a16:creationId xmlns:a16="http://schemas.microsoft.com/office/drawing/2014/main" id="{DBF8C6E8-15DC-4F9D-82E8-FC1A326102E4}"/>
                </a:ext>
              </a:extLst>
            </p:cNvPr>
            <p:cNvSpPr>
              <a:spLocks/>
            </p:cNvSpPr>
            <p:nvPr/>
          </p:nvSpPr>
          <p:spPr bwMode="auto">
            <a:xfrm>
              <a:off x="7769226" y="4300538"/>
              <a:ext cx="179388" cy="153988"/>
            </a:xfrm>
            <a:custGeom>
              <a:avLst/>
              <a:gdLst>
                <a:gd name="T0" fmla="*/ 37 w 113"/>
                <a:gd name="T1" fmla="*/ 97 h 97"/>
                <a:gd name="T2" fmla="*/ 0 w 113"/>
                <a:gd name="T3" fmla="*/ 76 h 97"/>
                <a:gd name="T4" fmla="*/ 76 w 113"/>
                <a:gd name="T5" fmla="*/ 0 h 97"/>
                <a:gd name="T6" fmla="*/ 113 w 113"/>
                <a:gd name="T7" fmla="*/ 21 h 97"/>
                <a:gd name="T8" fmla="*/ 37 w 113"/>
                <a:gd name="T9" fmla="*/ 97 h 97"/>
              </a:gdLst>
              <a:ahLst/>
              <a:cxnLst>
                <a:cxn ang="0">
                  <a:pos x="T0" y="T1"/>
                </a:cxn>
                <a:cxn ang="0">
                  <a:pos x="T2" y="T3"/>
                </a:cxn>
                <a:cxn ang="0">
                  <a:pos x="T4" y="T5"/>
                </a:cxn>
                <a:cxn ang="0">
                  <a:pos x="T6" y="T7"/>
                </a:cxn>
                <a:cxn ang="0">
                  <a:pos x="T8" y="T9"/>
                </a:cxn>
              </a:cxnLst>
              <a:rect l="0" t="0" r="r" b="b"/>
              <a:pathLst>
                <a:path w="113" h="97">
                  <a:moveTo>
                    <a:pt x="37" y="97"/>
                  </a:moveTo>
                  <a:lnTo>
                    <a:pt x="0" y="76"/>
                  </a:lnTo>
                  <a:lnTo>
                    <a:pt x="76" y="0"/>
                  </a:lnTo>
                  <a:lnTo>
                    <a:pt x="113" y="21"/>
                  </a:lnTo>
                  <a:lnTo>
                    <a:pt x="37" y="97"/>
                  </a:lnTo>
                  <a:close/>
                </a:path>
              </a:pathLst>
            </a:custGeom>
            <a:solidFill>
              <a:srgbClr val="B59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1687">
              <a:extLst>
                <a:ext uri="{FF2B5EF4-FFF2-40B4-BE49-F238E27FC236}">
                  <a16:creationId xmlns:a16="http://schemas.microsoft.com/office/drawing/2014/main" id="{6CBAE25B-F218-41A1-BE36-77F34C227ABB}"/>
                </a:ext>
              </a:extLst>
            </p:cNvPr>
            <p:cNvSpPr>
              <a:spLocks/>
            </p:cNvSpPr>
            <p:nvPr/>
          </p:nvSpPr>
          <p:spPr bwMode="auto">
            <a:xfrm>
              <a:off x="7686676" y="4470401"/>
              <a:ext cx="93663" cy="68263"/>
            </a:xfrm>
            <a:custGeom>
              <a:avLst/>
              <a:gdLst>
                <a:gd name="T0" fmla="*/ 37 w 59"/>
                <a:gd name="T1" fmla="*/ 43 h 43"/>
                <a:gd name="T2" fmla="*/ 0 w 59"/>
                <a:gd name="T3" fmla="*/ 21 h 43"/>
                <a:gd name="T4" fmla="*/ 21 w 59"/>
                <a:gd name="T5" fmla="*/ 0 h 43"/>
                <a:gd name="T6" fmla="*/ 59 w 59"/>
                <a:gd name="T7" fmla="*/ 21 h 43"/>
                <a:gd name="T8" fmla="*/ 37 w 59"/>
                <a:gd name="T9" fmla="*/ 43 h 43"/>
              </a:gdLst>
              <a:ahLst/>
              <a:cxnLst>
                <a:cxn ang="0">
                  <a:pos x="T0" y="T1"/>
                </a:cxn>
                <a:cxn ang="0">
                  <a:pos x="T2" y="T3"/>
                </a:cxn>
                <a:cxn ang="0">
                  <a:pos x="T4" y="T5"/>
                </a:cxn>
                <a:cxn ang="0">
                  <a:pos x="T6" y="T7"/>
                </a:cxn>
                <a:cxn ang="0">
                  <a:pos x="T8" y="T9"/>
                </a:cxn>
              </a:cxnLst>
              <a:rect l="0" t="0" r="r" b="b"/>
              <a:pathLst>
                <a:path w="59" h="43">
                  <a:moveTo>
                    <a:pt x="37" y="43"/>
                  </a:moveTo>
                  <a:lnTo>
                    <a:pt x="0" y="21"/>
                  </a:lnTo>
                  <a:lnTo>
                    <a:pt x="21" y="0"/>
                  </a:lnTo>
                  <a:lnTo>
                    <a:pt x="59" y="21"/>
                  </a:lnTo>
                  <a:lnTo>
                    <a:pt x="37" y="43"/>
                  </a:lnTo>
                  <a:close/>
                </a:path>
              </a:pathLst>
            </a:custGeom>
            <a:solidFill>
              <a:srgbClr val="B59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1688">
              <a:extLst>
                <a:ext uri="{FF2B5EF4-FFF2-40B4-BE49-F238E27FC236}">
                  <a16:creationId xmlns:a16="http://schemas.microsoft.com/office/drawing/2014/main" id="{56665E0F-AA88-47AA-90E2-AA90BB935AF7}"/>
                </a:ext>
              </a:extLst>
            </p:cNvPr>
            <p:cNvSpPr>
              <a:spLocks/>
            </p:cNvSpPr>
            <p:nvPr/>
          </p:nvSpPr>
          <p:spPr bwMode="auto">
            <a:xfrm>
              <a:off x="8805863" y="5132388"/>
              <a:ext cx="20638" cy="34925"/>
            </a:xfrm>
            <a:custGeom>
              <a:avLst/>
              <a:gdLst>
                <a:gd name="T0" fmla="*/ 13 w 13"/>
                <a:gd name="T1" fmla="*/ 22 h 22"/>
                <a:gd name="T2" fmla="*/ 0 w 13"/>
                <a:gd name="T3" fmla="*/ 14 h 22"/>
                <a:gd name="T4" fmla="*/ 13 w 13"/>
                <a:gd name="T5" fmla="*/ 0 h 22"/>
                <a:gd name="T6" fmla="*/ 13 w 13"/>
                <a:gd name="T7" fmla="*/ 22 h 22"/>
              </a:gdLst>
              <a:ahLst/>
              <a:cxnLst>
                <a:cxn ang="0">
                  <a:pos x="T0" y="T1"/>
                </a:cxn>
                <a:cxn ang="0">
                  <a:pos x="T2" y="T3"/>
                </a:cxn>
                <a:cxn ang="0">
                  <a:pos x="T4" y="T5"/>
                </a:cxn>
                <a:cxn ang="0">
                  <a:pos x="T6" y="T7"/>
                </a:cxn>
              </a:cxnLst>
              <a:rect l="0" t="0" r="r" b="b"/>
              <a:pathLst>
                <a:path w="13" h="22">
                  <a:moveTo>
                    <a:pt x="13" y="22"/>
                  </a:moveTo>
                  <a:lnTo>
                    <a:pt x="0" y="14"/>
                  </a:lnTo>
                  <a:lnTo>
                    <a:pt x="13" y="0"/>
                  </a:lnTo>
                  <a:lnTo>
                    <a:pt x="13" y="22"/>
                  </a:lnTo>
                  <a:close/>
                </a:path>
              </a:pathLst>
            </a:custGeom>
            <a:solidFill>
              <a:srgbClr val="8C7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1689">
              <a:extLst>
                <a:ext uri="{FF2B5EF4-FFF2-40B4-BE49-F238E27FC236}">
                  <a16:creationId xmlns:a16="http://schemas.microsoft.com/office/drawing/2014/main" id="{BD6750F7-30BD-4965-9F77-441AAAE5E6E5}"/>
                </a:ext>
              </a:extLst>
            </p:cNvPr>
            <p:cNvSpPr>
              <a:spLocks/>
            </p:cNvSpPr>
            <p:nvPr/>
          </p:nvSpPr>
          <p:spPr bwMode="auto">
            <a:xfrm>
              <a:off x="8705851" y="4687888"/>
              <a:ext cx="120650" cy="180975"/>
            </a:xfrm>
            <a:custGeom>
              <a:avLst/>
              <a:gdLst>
                <a:gd name="T0" fmla="*/ 0 w 76"/>
                <a:gd name="T1" fmla="*/ 114 h 114"/>
                <a:gd name="T2" fmla="*/ 0 w 76"/>
                <a:gd name="T3" fmla="*/ 77 h 114"/>
                <a:gd name="T4" fmla="*/ 76 w 76"/>
                <a:gd name="T5" fmla="*/ 0 h 114"/>
                <a:gd name="T6" fmla="*/ 76 w 76"/>
                <a:gd name="T7" fmla="*/ 38 h 114"/>
                <a:gd name="T8" fmla="*/ 0 w 76"/>
                <a:gd name="T9" fmla="*/ 114 h 114"/>
              </a:gdLst>
              <a:ahLst/>
              <a:cxnLst>
                <a:cxn ang="0">
                  <a:pos x="T0" y="T1"/>
                </a:cxn>
                <a:cxn ang="0">
                  <a:pos x="T2" y="T3"/>
                </a:cxn>
                <a:cxn ang="0">
                  <a:pos x="T4" y="T5"/>
                </a:cxn>
                <a:cxn ang="0">
                  <a:pos x="T6" y="T7"/>
                </a:cxn>
                <a:cxn ang="0">
                  <a:pos x="T8" y="T9"/>
                </a:cxn>
              </a:cxnLst>
              <a:rect l="0" t="0" r="r" b="b"/>
              <a:pathLst>
                <a:path w="76" h="114">
                  <a:moveTo>
                    <a:pt x="0" y="114"/>
                  </a:moveTo>
                  <a:lnTo>
                    <a:pt x="0" y="77"/>
                  </a:lnTo>
                  <a:lnTo>
                    <a:pt x="76" y="0"/>
                  </a:lnTo>
                  <a:lnTo>
                    <a:pt x="76" y="38"/>
                  </a:lnTo>
                  <a:lnTo>
                    <a:pt x="0" y="114"/>
                  </a:lnTo>
                  <a:close/>
                </a:path>
              </a:pathLst>
            </a:custGeom>
            <a:solidFill>
              <a:srgbClr val="8C7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690">
              <a:extLst>
                <a:ext uri="{FF2B5EF4-FFF2-40B4-BE49-F238E27FC236}">
                  <a16:creationId xmlns:a16="http://schemas.microsoft.com/office/drawing/2014/main" id="{110ACAC2-DA87-4639-999F-E3B2B9F32952}"/>
                </a:ext>
              </a:extLst>
            </p:cNvPr>
            <p:cNvSpPr>
              <a:spLocks/>
            </p:cNvSpPr>
            <p:nvPr/>
          </p:nvSpPr>
          <p:spPr bwMode="auto">
            <a:xfrm>
              <a:off x="8524876" y="4810126"/>
              <a:ext cx="180975" cy="203200"/>
            </a:xfrm>
            <a:custGeom>
              <a:avLst/>
              <a:gdLst>
                <a:gd name="T0" fmla="*/ 45 w 221"/>
                <a:gd name="T1" fmla="*/ 249 h 249"/>
                <a:gd name="T2" fmla="*/ 0 w 221"/>
                <a:gd name="T3" fmla="*/ 222 h 249"/>
                <a:gd name="T4" fmla="*/ 106 w 221"/>
                <a:gd name="T5" fmla="*/ 115 h 249"/>
                <a:gd name="T6" fmla="*/ 107 w 221"/>
                <a:gd name="T7" fmla="*/ 115 h 249"/>
                <a:gd name="T8" fmla="*/ 134 w 221"/>
                <a:gd name="T9" fmla="*/ 87 h 249"/>
                <a:gd name="T10" fmla="*/ 221 w 221"/>
                <a:gd name="T11" fmla="*/ 0 h 249"/>
                <a:gd name="T12" fmla="*/ 221 w 221"/>
                <a:gd name="T13" fmla="*/ 73 h 249"/>
                <a:gd name="T14" fmla="*/ 45 w 221"/>
                <a:gd name="T15" fmla="*/ 249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 h="249">
                  <a:moveTo>
                    <a:pt x="45" y="249"/>
                  </a:moveTo>
                  <a:lnTo>
                    <a:pt x="0" y="222"/>
                  </a:lnTo>
                  <a:lnTo>
                    <a:pt x="106" y="115"/>
                  </a:lnTo>
                  <a:lnTo>
                    <a:pt x="107" y="115"/>
                  </a:lnTo>
                  <a:cubicBezTo>
                    <a:pt x="121" y="115"/>
                    <a:pt x="131" y="105"/>
                    <a:pt x="134" y="87"/>
                  </a:cubicBezTo>
                  <a:lnTo>
                    <a:pt x="221" y="0"/>
                  </a:lnTo>
                  <a:lnTo>
                    <a:pt x="221" y="73"/>
                  </a:lnTo>
                  <a:lnTo>
                    <a:pt x="45" y="249"/>
                  </a:lnTo>
                  <a:close/>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691">
              <a:extLst>
                <a:ext uri="{FF2B5EF4-FFF2-40B4-BE49-F238E27FC236}">
                  <a16:creationId xmlns:a16="http://schemas.microsoft.com/office/drawing/2014/main" id="{B96F3880-D9E5-4F5C-A166-3FB151B99388}"/>
                </a:ext>
              </a:extLst>
            </p:cNvPr>
            <p:cNvSpPr>
              <a:spLocks/>
            </p:cNvSpPr>
            <p:nvPr/>
          </p:nvSpPr>
          <p:spPr bwMode="auto">
            <a:xfrm>
              <a:off x="8610601" y="4881563"/>
              <a:ext cx="23813" cy="22225"/>
            </a:xfrm>
            <a:custGeom>
              <a:avLst/>
              <a:gdLst>
                <a:gd name="T0" fmla="*/ 1 w 28"/>
                <a:gd name="T1" fmla="*/ 28 h 28"/>
                <a:gd name="T2" fmla="*/ 0 w 28"/>
                <a:gd name="T3" fmla="*/ 28 h 28"/>
                <a:gd name="T4" fmla="*/ 28 w 28"/>
                <a:gd name="T5" fmla="*/ 0 h 28"/>
                <a:gd name="T6" fmla="*/ 1 w 28"/>
                <a:gd name="T7" fmla="*/ 28 h 28"/>
              </a:gdLst>
              <a:ahLst/>
              <a:cxnLst>
                <a:cxn ang="0">
                  <a:pos x="T0" y="T1"/>
                </a:cxn>
                <a:cxn ang="0">
                  <a:pos x="T2" y="T3"/>
                </a:cxn>
                <a:cxn ang="0">
                  <a:pos x="T4" y="T5"/>
                </a:cxn>
                <a:cxn ang="0">
                  <a:pos x="T6" y="T7"/>
                </a:cxn>
              </a:cxnLst>
              <a:rect l="0" t="0" r="r" b="b"/>
              <a:pathLst>
                <a:path w="28" h="28">
                  <a:moveTo>
                    <a:pt x="1" y="28"/>
                  </a:moveTo>
                  <a:lnTo>
                    <a:pt x="0" y="28"/>
                  </a:lnTo>
                  <a:lnTo>
                    <a:pt x="28" y="0"/>
                  </a:lnTo>
                  <a:cubicBezTo>
                    <a:pt x="25" y="18"/>
                    <a:pt x="15" y="28"/>
                    <a:pt x="1" y="28"/>
                  </a:cubicBezTo>
                </a:path>
              </a:pathLst>
            </a:custGeom>
            <a:solidFill>
              <a:srgbClr val="B59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692">
              <a:extLst>
                <a:ext uri="{FF2B5EF4-FFF2-40B4-BE49-F238E27FC236}">
                  <a16:creationId xmlns:a16="http://schemas.microsoft.com/office/drawing/2014/main" id="{285AFF5B-4405-4739-8F86-363343C2EE57}"/>
                </a:ext>
              </a:extLst>
            </p:cNvPr>
            <p:cNvSpPr>
              <a:spLocks noEditPoints="1"/>
            </p:cNvSpPr>
            <p:nvPr/>
          </p:nvSpPr>
          <p:spPr bwMode="auto">
            <a:xfrm>
              <a:off x="7688263" y="4730751"/>
              <a:ext cx="377825" cy="341313"/>
            </a:xfrm>
            <a:custGeom>
              <a:avLst/>
              <a:gdLst>
                <a:gd name="T0" fmla="*/ 195 w 461"/>
                <a:gd name="T1" fmla="*/ 417 h 417"/>
                <a:gd name="T2" fmla="*/ 0 w 461"/>
                <a:gd name="T3" fmla="*/ 304 h 417"/>
                <a:gd name="T4" fmla="*/ 202 w 461"/>
                <a:gd name="T5" fmla="*/ 102 h 417"/>
                <a:gd name="T6" fmla="*/ 195 w 461"/>
                <a:gd name="T7" fmla="*/ 133 h 417"/>
                <a:gd name="T8" fmla="*/ 195 w 461"/>
                <a:gd name="T9" fmla="*/ 417 h 417"/>
                <a:gd name="T10" fmla="*/ 396 w 461"/>
                <a:gd name="T11" fmla="*/ 186 h 417"/>
                <a:gd name="T12" fmla="*/ 237 w 461"/>
                <a:gd name="T13" fmla="*/ 94 h 417"/>
                <a:gd name="T14" fmla="*/ 222 w 461"/>
                <a:gd name="T15" fmla="*/ 90 h 417"/>
                <a:gd name="T16" fmla="*/ 212 w 461"/>
                <a:gd name="T17" fmla="*/ 92 h 417"/>
                <a:gd name="T18" fmla="*/ 304 w 461"/>
                <a:gd name="T19" fmla="*/ 0 h 417"/>
                <a:gd name="T20" fmla="*/ 461 w 461"/>
                <a:gd name="T21" fmla="*/ 91 h 417"/>
                <a:gd name="T22" fmla="*/ 460 w 461"/>
                <a:gd name="T23" fmla="*/ 110 h 417"/>
                <a:gd name="T24" fmla="*/ 460 w 461"/>
                <a:gd name="T25" fmla="*/ 131 h 417"/>
                <a:gd name="T26" fmla="*/ 419 w 461"/>
                <a:gd name="T27" fmla="*/ 157 h 417"/>
                <a:gd name="T28" fmla="*/ 396 w 461"/>
                <a:gd name="T29" fmla="*/ 18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1" h="417">
                  <a:moveTo>
                    <a:pt x="195" y="417"/>
                  </a:moveTo>
                  <a:lnTo>
                    <a:pt x="0" y="304"/>
                  </a:lnTo>
                  <a:lnTo>
                    <a:pt x="202" y="102"/>
                  </a:lnTo>
                  <a:cubicBezTo>
                    <a:pt x="198" y="109"/>
                    <a:pt x="195" y="120"/>
                    <a:pt x="195" y="133"/>
                  </a:cubicBezTo>
                  <a:lnTo>
                    <a:pt x="195" y="417"/>
                  </a:lnTo>
                  <a:close/>
                  <a:moveTo>
                    <a:pt x="396" y="186"/>
                  </a:moveTo>
                  <a:lnTo>
                    <a:pt x="237" y="94"/>
                  </a:lnTo>
                  <a:cubicBezTo>
                    <a:pt x="232" y="91"/>
                    <a:pt x="227" y="90"/>
                    <a:pt x="222" y="90"/>
                  </a:cubicBezTo>
                  <a:cubicBezTo>
                    <a:pt x="219" y="90"/>
                    <a:pt x="215" y="91"/>
                    <a:pt x="212" y="92"/>
                  </a:cubicBezTo>
                  <a:lnTo>
                    <a:pt x="304" y="0"/>
                  </a:lnTo>
                  <a:lnTo>
                    <a:pt x="461" y="91"/>
                  </a:lnTo>
                  <a:cubicBezTo>
                    <a:pt x="460" y="97"/>
                    <a:pt x="460" y="103"/>
                    <a:pt x="460" y="110"/>
                  </a:cubicBezTo>
                  <a:lnTo>
                    <a:pt x="460" y="131"/>
                  </a:lnTo>
                  <a:lnTo>
                    <a:pt x="419" y="157"/>
                  </a:lnTo>
                  <a:cubicBezTo>
                    <a:pt x="409" y="162"/>
                    <a:pt x="401" y="172"/>
                    <a:pt x="396" y="186"/>
                  </a:cubicBezTo>
                </a:path>
              </a:pathLst>
            </a:custGeom>
            <a:solidFill>
              <a:srgbClr val="8C7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693">
              <a:extLst>
                <a:ext uri="{FF2B5EF4-FFF2-40B4-BE49-F238E27FC236}">
                  <a16:creationId xmlns:a16="http://schemas.microsoft.com/office/drawing/2014/main" id="{D3B13901-C90C-4225-BF89-1D2A71F7F55C}"/>
                </a:ext>
              </a:extLst>
            </p:cNvPr>
            <p:cNvSpPr>
              <a:spLocks noEditPoints="1"/>
            </p:cNvSpPr>
            <p:nvPr/>
          </p:nvSpPr>
          <p:spPr bwMode="auto">
            <a:xfrm>
              <a:off x="7937501" y="4418013"/>
              <a:ext cx="606425" cy="431800"/>
            </a:xfrm>
            <a:custGeom>
              <a:avLst/>
              <a:gdLst>
                <a:gd name="T0" fmla="*/ 418 w 740"/>
                <a:gd name="T1" fmla="*/ 528 h 528"/>
                <a:gd name="T2" fmla="*/ 242 w 740"/>
                <a:gd name="T3" fmla="*/ 427 h 528"/>
                <a:gd name="T4" fmla="*/ 208 w 740"/>
                <a:gd name="T5" fmla="*/ 416 h 528"/>
                <a:gd name="T6" fmla="*/ 157 w 740"/>
                <a:gd name="T7" fmla="*/ 473 h 528"/>
                <a:gd name="T8" fmla="*/ 0 w 740"/>
                <a:gd name="T9" fmla="*/ 382 h 528"/>
                <a:gd name="T10" fmla="*/ 63 w 740"/>
                <a:gd name="T11" fmla="*/ 320 h 528"/>
                <a:gd name="T12" fmla="*/ 420 w 740"/>
                <a:gd name="T13" fmla="*/ 526 h 528"/>
                <a:gd name="T14" fmla="*/ 418 w 740"/>
                <a:gd name="T15" fmla="*/ 528 h 528"/>
                <a:gd name="T16" fmla="*/ 463 w 740"/>
                <a:gd name="T17" fmla="*/ 484 h 528"/>
                <a:gd name="T18" fmla="*/ 105 w 740"/>
                <a:gd name="T19" fmla="*/ 277 h 528"/>
                <a:gd name="T20" fmla="*/ 164 w 740"/>
                <a:gd name="T21" fmla="*/ 218 h 528"/>
                <a:gd name="T22" fmla="*/ 522 w 740"/>
                <a:gd name="T23" fmla="*/ 425 h 528"/>
                <a:gd name="T24" fmla="*/ 463 w 740"/>
                <a:gd name="T25" fmla="*/ 484 h 528"/>
                <a:gd name="T26" fmla="*/ 670 w 740"/>
                <a:gd name="T27" fmla="*/ 277 h 528"/>
                <a:gd name="T28" fmla="*/ 312 w 740"/>
                <a:gd name="T29" fmla="*/ 70 h 528"/>
                <a:gd name="T30" fmla="*/ 383 w 740"/>
                <a:gd name="T31" fmla="*/ 0 h 528"/>
                <a:gd name="T32" fmla="*/ 385 w 740"/>
                <a:gd name="T33" fmla="*/ 1 h 528"/>
                <a:gd name="T34" fmla="*/ 740 w 740"/>
                <a:gd name="T35" fmla="*/ 206 h 528"/>
                <a:gd name="T36" fmla="*/ 670 w 740"/>
                <a:gd name="T37" fmla="*/ 277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0" h="528">
                  <a:moveTo>
                    <a:pt x="418" y="528"/>
                  </a:moveTo>
                  <a:lnTo>
                    <a:pt x="242" y="427"/>
                  </a:lnTo>
                  <a:cubicBezTo>
                    <a:pt x="230" y="420"/>
                    <a:pt x="218" y="416"/>
                    <a:pt x="208" y="416"/>
                  </a:cubicBezTo>
                  <a:cubicBezTo>
                    <a:pt x="182" y="416"/>
                    <a:pt x="162" y="437"/>
                    <a:pt x="157" y="473"/>
                  </a:cubicBezTo>
                  <a:lnTo>
                    <a:pt x="0" y="382"/>
                  </a:lnTo>
                  <a:lnTo>
                    <a:pt x="63" y="320"/>
                  </a:lnTo>
                  <a:lnTo>
                    <a:pt x="420" y="526"/>
                  </a:lnTo>
                  <a:lnTo>
                    <a:pt x="418" y="528"/>
                  </a:lnTo>
                  <a:close/>
                  <a:moveTo>
                    <a:pt x="463" y="484"/>
                  </a:moveTo>
                  <a:lnTo>
                    <a:pt x="105" y="277"/>
                  </a:lnTo>
                  <a:lnTo>
                    <a:pt x="164" y="218"/>
                  </a:lnTo>
                  <a:lnTo>
                    <a:pt x="522" y="425"/>
                  </a:lnTo>
                  <a:lnTo>
                    <a:pt x="463" y="484"/>
                  </a:lnTo>
                  <a:moveTo>
                    <a:pt x="670" y="277"/>
                  </a:moveTo>
                  <a:lnTo>
                    <a:pt x="312" y="70"/>
                  </a:lnTo>
                  <a:lnTo>
                    <a:pt x="383" y="0"/>
                  </a:lnTo>
                  <a:cubicBezTo>
                    <a:pt x="383" y="0"/>
                    <a:pt x="384" y="0"/>
                    <a:pt x="385" y="1"/>
                  </a:cubicBezTo>
                  <a:lnTo>
                    <a:pt x="740" y="206"/>
                  </a:lnTo>
                  <a:lnTo>
                    <a:pt x="670" y="277"/>
                  </a:lnTo>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694">
              <a:extLst>
                <a:ext uri="{FF2B5EF4-FFF2-40B4-BE49-F238E27FC236}">
                  <a16:creationId xmlns:a16="http://schemas.microsoft.com/office/drawing/2014/main" id="{06C7FE10-C93A-4C65-BC8B-70C86F7F96A3}"/>
                </a:ext>
              </a:extLst>
            </p:cNvPr>
            <p:cNvSpPr>
              <a:spLocks/>
            </p:cNvSpPr>
            <p:nvPr/>
          </p:nvSpPr>
          <p:spPr bwMode="auto">
            <a:xfrm>
              <a:off x="8705851" y="3881438"/>
              <a:ext cx="120650" cy="542925"/>
            </a:xfrm>
            <a:custGeom>
              <a:avLst/>
              <a:gdLst>
                <a:gd name="T0" fmla="*/ 0 w 148"/>
                <a:gd name="T1" fmla="*/ 662 h 662"/>
                <a:gd name="T2" fmla="*/ 0 w 148"/>
                <a:gd name="T3" fmla="*/ 98 h 662"/>
                <a:gd name="T4" fmla="*/ 99 w 148"/>
                <a:gd name="T5" fmla="*/ 0 h 662"/>
                <a:gd name="T6" fmla="*/ 148 w 148"/>
                <a:gd name="T7" fmla="*/ 41 h 662"/>
                <a:gd name="T8" fmla="*/ 148 w 148"/>
                <a:gd name="T9" fmla="*/ 514 h 662"/>
                <a:gd name="T10" fmla="*/ 0 w 148"/>
                <a:gd name="T11" fmla="*/ 662 h 662"/>
              </a:gdLst>
              <a:ahLst/>
              <a:cxnLst>
                <a:cxn ang="0">
                  <a:pos x="T0" y="T1"/>
                </a:cxn>
                <a:cxn ang="0">
                  <a:pos x="T2" y="T3"/>
                </a:cxn>
                <a:cxn ang="0">
                  <a:pos x="T4" y="T5"/>
                </a:cxn>
                <a:cxn ang="0">
                  <a:pos x="T6" y="T7"/>
                </a:cxn>
                <a:cxn ang="0">
                  <a:pos x="T8" y="T9"/>
                </a:cxn>
                <a:cxn ang="0">
                  <a:pos x="T10" y="T11"/>
                </a:cxn>
              </a:cxnLst>
              <a:rect l="0" t="0" r="r" b="b"/>
              <a:pathLst>
                <a:path w="148" h="662">
                  <a:moveTo>
                    <a:pt x="0" y="662"/>
                  </a:moveTo>
                  <a:lnTo>
                    <a:pt x="0" y="98"/>
                  </a:lnTo>
                  <a:lnTo>
                    <a:pt x="99" y="0"/>
                  </a:lnTo>
                  <a:cubicBezTo>
                    <a:pt x="115" y="14"/>
                    <a:pt x="132" y="28"/>
                    <a:pt x="148" y="41"/>
                  </a:cubicBezTo>
                  <a:lnTo>
                    <a:pt x="148" y="514"/>
                  </a:lnTo>
                  <a:lnTo>
                    <a:pt x="0" y="662"/>
                  </a:lnTo>
                  <a:close/>
                </a:path>
              </a:pathLst>
            </a:custGeom>
            <a:solidFill>
              <a:srgbClr val="8C7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695">
              <a:extLst>
                <a:ext uri="{FF2B5EF4-FFF2-40B4-BE49-F238E27FC236}">
                  <a16:creationId xmlns:a16="http://schemas.microsoft.com/office/drawing/2014/main" id="{92B36527-0AA6-4743-BEFA-8E8FCB72CB43}"/>
                </a:ext>
              </a:extLst>
            </p:cNvPr>
            <p:cNvSpPr>
              <a:spLocks/>
            </p:cNvSpPr>
            <p:nvPr/>
          </p:nvSpPr>
          <p:spPr bwMode="auto">
            <a:xfrm>
              <a:off x="8281988" y="3962401"/>
              <a:ext cx="423863" cy="592138"/>
            </a:xfrm>
            <a:custGeom>
              <a:avLst/>
              <a:gdLst>
                <a:gd name="T0" fmla="*/ 358 w 516"/>
                <a:gd name="T1" fmla="*/ 722 h 722"/>
                <a:gd name="T2" fmla="*/ 0 w 516"/>
                <a:gd name="T3" fmla="*/ 516 h 722"/>
                <a:gd name="T4" fmla="*/ 107 w 516"/>
                <a:gd name="T5" fmla="*/ 409 h 722"/>
                <a:gd name="T6" fmla="*/ 408 w 516"/>
                <a:gd name="T7" fmla="*/ 582 h 722"/>
                <a:gd name="T8" fmla="*/ 417 w 516"/>
                <a:gd name="T9" fmla="*/ 585 h 722"/>
                <a:gd name="T10" fmla="*/ 431 w 516"/>
                <a:gd name="T11" fmla="*/ 565 h 722"/>
                <a:gd name="T12" fmla="*/ 408 w 516"/>
                <a:gd name="T13" fmla="*/ 521 h 722"/>
                <a:gd name="T14" fmla="*/ 146 w 516"/>
                <a:gd name="T15" fmla="*/ 370 h 722"/>
                <a:gd name="T16" fmla="*/ 253 w 516"/>
                <a:gd name="T17" fmla="*/ 263 h 722"/>
                <a:gd name="T18" fmla="*/ 408 w 516"/>
                <a:gd name="T19" fmla="*/ 352 h 722"/>
                <a:gd name="T20" fmla="*/ 417 w 516"/>
                <a:gd name="T21" fmla="*/ 355 h 722"/>
                <a:gd name="T22" fmla="*/ 431 w 516"/>
                <a:gd name="T23" fmla="*/ 335 h 722"/>
                <a:gd name="T24" fmla="*/ 408 w 516"/>
                <a:gd name="T25" fmla="*/ 292 h 722"/>
                <a:gd name="T26" fmla="*/ 292 w 516"/>
                <a:gd name="T27" fmla="*/ 225 h 722"/>
                <a:gd name="T28" fmla="*/ 399 w 516"/>
                <a:gd name="T29" fmla="*/ 117 h 722"/>
                <a:gd name="T30" fmla="*/ 408 w 516"/>
                <a:gd name="T31" fmla="*/ 123 h 722"/>
                <a:gd name="T32" fmla="*/ 417 w 516"/>
                <a:gd name="T33" fmla="*/ 125 h 722"/>
                <a:gd name="T34" fmla="*/ 431 w 516"/>
                <a:gd name="T35" fmla="*/ 105 h 722"/>
                <a:gd name="T36" fmla="*/ 428 w 516"/>
                <a:gd name="T37" fmla="*/ 89 h 722"/>
                <a:gd name="T38" fmla="*/ 516 w 516"/>
                <a:gd name="T39" fmla="*/ 0 h 722"/>
                <a:gd name="T40" fmla="*/ 516 w 516"/>
                <a:gd name="T41" fmla="*/ 564 h 722"/>
                <a:gd name="T42" fmla="*/ 358 w 516"/>
                <a:gd name="T43"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6" h="722">
                  <a:moveTo>
                    <a:pt x="358" y="722"/>
                  </a:moveTo>
                  <a:lnTo>
                    <a:pt x="0" y="516"/>
                  </a:lnTo>
                  <a:lnTo>
                    <a:pt x="107" y="409"/>
                  </a:lnTo>
                  <a:lnTo>
                    <a:pt x="408" y="582"/>
                  </a:lnTo>
                  <a:cubicBezTo>
                    <a:pt x="411" y="584"/>
                    <a:pt x="414" y="585"/>
                    <a:pt x="417" y="585"/>
                  </a:cubicBezTo>
                  <a:cubicBezTo>
                    <a:pt x="425" y="585"/>
                    <a:pt x="431" y="578"/>
                    <a:pt x="431" y="565"/>
                  </a:cubicBezTo>
                  <a:cubicBezTo>
                    <a:pt x="431" y="548"/>
                    <a:pt x="420" y="529"/>
                    <a:pt x="408" y="521"/>
                  </a:cubicBezTo>
                  <a:lnTo>
                    <a:pt x="146" y="370"/>
                  </a:lnTo>
                  <a:lnTo>
                    <a:pt x="253" y="263"/>
                  </a:lnTo>
                  <a:lnTo>
                    <a:pt x="408" y="352"/>
                  </a:lnTo>
                  <a:cubicBezTo>
                    <a:pt x="411" y="354"/>
                    <a:pt x="414" y="355"/>
                    <a:pt x="417" y="355"/>
                  </a:cubicBezTo>
                  <a:cubicBezTo>
                    <a:pt x="425" y="355"/>
                    <a:pt x="431" y="348"/>
                    <a:pt x="431" y="335"/>
                  </a:cubicBezTo>
                  <a:cubicBezTo>
                    <a:pt x="431" y="318"/>
                    <a:pt x="420" y="299"/>
                    <a:pt x="408" y="292"/>
                  </a:cubicBezTo>
                  <a:lnTo>
                    <a:pt x="292" y="225"/>
                  </a:lnTo>
                  <a:lnTo>
                    <a:pt x="399" y="117"/>
                  </a:lnTo>
                  <a:lnTo>
                    <a:pt x="408" y="123"/>
                  </a:lnTo>
                  <a:cubicBezTo>
                    <a:pt x="411" y="124"/>
                    <a:pt x="414" y="125"/>
                    <a:pt x="417" y="125"/>
                  </a:cubicBezTo>
                  <a:cubicBezTo>
                    <a:pt x="425" y="125"/>
                    <a:pt x="431" y="118"/>
                    <a:pt x="431" y="105"/>
                  </a:cubicBezTo>
                  <a:cubicBezTo>
                    <a:pt x="431" y="100"/>
                    <a:pt x="430" y="94"/>
                    <a:pt x="428" y="89"/>
                  </a:cubicBezTo>
                  <a:lnTo>
                    <a:pt x="516" y="0"/>
                  </a:lnTo>
                  <a:lnTo>
                    <a:pt x="516" y="564"/>
                  </a:lnTo>
                  <a:lnTo>
                    <a:pt x="358" y="722"/>
                  </a:lnTo>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1696">
              <a:extLst>
                <a:ext uri="{FF2B5EF4-FFF2-40B4-BE49-F238E27FC236}">
                  <a16:creationId xmlns:a16="http://schemas.microsoft.com/office/drawing/2014/main" id="{D4D2CE9A-4812-4EC0-B8E9-3C4C1912C689}"/>
                </a:ext>
              </a:extLst>
            </p:cNvPr>
            <p:cNvSpPr>
              <a:spLocks/>
            </p:cNvSpPr>
            <p:nvPr/>
          </p:nvSpPr>
          <p:spPr bwMode="auto">
            <a:xfrm>
              <a:off x="8370888" y="4265613"/>
              <a:ext cx="265113" cy="176213"/>
            </a:xfrm>
            <a:custGeom>
              <a:avLst/>
              <a:gdLst>
                <a:gd name="T0" fmla="*/ 310 w 324"/>
                <a:gd name="T1" fmla="*/ 215 h 215"/>
                <a:gd name="T2" fmla="*/ 301 w 324"/>
                <a:gd name="T3" fmla="*/ 212 h 215"/>
                <a:gd name="T4" fmla="*/ 0 w 324"/>
                <a:gd name="T5" fmla="*/ 39 h 215"/>
                <a:gd name="T6" fmla="*/ 39 w 324"/>
                <a:gd name="T7" fmla="*/ 0 h 215"/>
                <a:gd name="T8" fmla="*/ 301 w 324"/>
                <a:gd name="T9" fmla="*/ 151 h 215"/>
                <a:gd name="T10" fmla="*/ 324 w 324"/>
                <a:gd name="T11" fmla="*/ 195 h 215"/>
                <a:gd name="T12" fmla="*/ 310 w 324"/>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324" h="215">
                  <a:moveTo>
                    <a:pt x="310" y="215"/>
                  </a:moveTo>
                  <a:cubicBezTo>
                    <a:pt x="307" y="215"/>
                    <a:pt x="304" y="214"/>
                    <a:pt x="301" y="212"/>
                  </a:cubicBezTo>
                  <a:lnTo>
                    <a:pt x="0" y="39"/>
                  </a:lnTo>
                  <a:lnTo>
                    <a:pt x="39" y="0"/>
                  </a:lnTo>
                  <a:lnTo>
                    <a:pt x="301" y="151"/>
                  </a:lnTo>
                  <a:cubicBezTo>
                    <a:pt x="313" y="159"/>
                    <a:pt x="324" y="178"/>
                    <a:pt x="324" y="195"/>
                  </a:cubicBezTo>
                  <a:cubicBezTo>
                    <a:pt x="324" y="208"/>
                    <a:pt x="318" y="215"/>
                    <a:pt x="310" y="215"/>
                  </a:cubicBezTo>
                </a:path>
              </a:pathLst>
            </a:custGeom>
            <a:solidFill>
              <a:srgbClr val="E4D6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1697">
              <a:extLst>
                <a:ext uri="{FF2B5EF4-FFF2-40B4-BE49-F238E27FC236}">
                  <a16:creationId xmlns:a16="http://schemas.microsoft.com/office/drawing/2014/main" id="{E42BC628-E713-4F55-A3B8-013BECD22BA4}"/>
                </a:ext>
              </a:extLst>
            </p:cNvPr>
            <p:cNvSpPr>
              <a:spLocks/>
            </p:cNvSpPr>
            <p:nvPr/>
          </p:nvSpPr>
          <p:spPr bwMode="auto">
            <a:xfrm>
              <a:off x="8251826" y="4384676"/>
              <a:ext cx="323850" cy="201613"/>
            </a:xfrm>
            <a:custGeom>
              <a:avLst/>
              <a:gdLst>
                <a:gd name="T0" fmla="*/ 357 w 396"/>
                <a:gd name="T1" fmla="*/ 245 h 245"/>
                <a:gd name="T2" fmla="*/ 2 w 396"/>
                <a:gd name="T3" fmla="*/ 40 h 245"/>
                <a:gd name="T4" fmla="*/ 0 w 396"/>
                <a:gd name="T5" fmla="*/ 39 h 245"/>
                <a:gd name="T6" fmla="*/ 38 w 396"/>
                <a:gd name="T7" fmla="*/ 0 h 245"/>
                <a:gd name="T8" fmla="*/ 396 w 396"/>
                <a:gd name="T9" fmla="*/ 206 h 245"/>
                <a:gd name="T10" fmla="*/ 357 w 396"/>
                <a:gd name="T11" fmla="*/ 245 h 245"/>
              </a:gdLst>
              <a:ahLst/>
              <a:cxnLst>
                <a:cxn ang="0">
                  <a:pos x="T0" y="T1"/>
                </a:cxn>
                <a:cxn ang="0">
                  <a:pos x="T2" y="T3"/>
                </a:cxn>
                <a:cxn ang="0">
                  <a:pos x="T4" y="T5"/>
                </a:cxn>
                <a:cxn ang="0">
                  <a:pos x="T6" y="T7"/>
                </a:cxn>
                <a:cxn ang="0">
                  <a:pos x="T8" y="T9"/>
                </a:cxn>
                <a:cxn ang="0">
                  <a:pos x="T10" y="T11"/>
                </a:cxn>
              </a:cxnLst>
              <a:rect l="0" t="0" r="r" b="b"/>
              <a:pathLst>
                <a:path w="396" h="245">
                  <a:moveTo>
                    <a:pt x="357" y="245"/>
                  </a:moveTo>
                  <a:lnTo>
                    <a:pt x="2" y="40"/>
                  </a:lnTo>
                  <a:cubicBezTo>
                    <a:pt x="1" y="39"/>
                    <a:pt x="0" y="39"/>
                    <a:pt x="0" y="39"/>
                  </a:cubicBezTo>
                  <a:lnTo>
                    <a:pt x="38" y="0"/>
                  </a:lnTo>
                  <a:lnTo>
                    <a:pt x="396" y="206"/>
                  </a:lnTo>
                  <a:lnTo>
                    <a:pt x="357" y="245"/>
                  </a:lnTo>
                  <a:close/>
                </a:path>
              </a:pathLst>
            </a:custGeom>
            <a:solidFill>
              <a:srgbClr val="E4D6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698">
              <a:extLst>
                <a:ext uri="{FF2B5EF4-FFF2-40B4-BE49-F238E27FC236}">
                  <a16:creationId xmlns:a16="http://schemas.microsoft.com/office/drawing/2014/main" id="{0707199F-3742-41A3-AD1D-019FFDBB69B7}"/>
                </a:ext>
              </a:extLst>
            </p:cNvPr>
            <p:cNvSpPr>
              <a:spLocks/>
            </p:cNvSpPr>
            <p:nvPr/>
          </p:nvSpPr>
          <p:spPr bwMode="auto">
            <a:xfrm>
              <a:off x="8489951" y="4146551"/>
              <a:ext cx="146050" cy="106363"/>
            </a:xfrm>
            <a:custGeom>
              <a:avLst/>
              <a:gdLst>
                <a:gd name="T0" fmla="*/ 164 w 178"/>
                <a:gd name="T1" fmla="*/ 130 h 130"/>
                <a:gd name="T2" fmla="*/ 155 w 178"/>
                <a:gd name="T3" fmla="*/ 127 h 130"/>
                <a:gd name="T4" fmla="*/ 0 w 178"/>
                <a:gd name="T5" fmla="*/ 38 h 130"/>
                <a:gd name="T6" fmla="*/ 39 w 178"/>
                <a:gd name="T7" fmla="*/ 0 h 130"/>
                <a:gd name="T8" fmla="*/ 155 w 178"/>
                <a:gd name="T9" fmla="*/ 67 h 130"/>
                <a:gd name="T10" fmla="*/ 178 w 178"/>
                <a:gd name="T11" fmla="*/ 110 h 130"/>
                <a:gd name="T12" fmla="*/ 164 w 178"/>
                <a:gd name="T13" fmla="*/ 130 h 130"/>
              </a:gdLst>
              <a:ahLst/>
              <a:cxnLst>
                <a:cxn ang="0">
                  <a:pos x="T0" y="T1"/>
                </a:cxn>
                <a:cxn ang="0">
                  <a:pos x="T2" y="T3"/>
                </a:cxn>
                <a:cxn ang="0">
                  <a:pos x="T4" y="T5"/>
                </a:cxn>
                <a:cxn ang="0">
                  <a:pos x="T6" y="T7"/>
                </a:cxn>
                <a:cxn ang="0">
                  <a:pos x="T8" y="T9"/>
                </a:cxn>
                <a:cxn ang="0">
                  <a:pos x="T10" y="T11"/>
                </a:cxn>
                <a:cxn ang="0">
                  <a:pos x="T12" y="T13"/>
                </a:cxn>
              </a:cxnLst>
              <a:rect l="0" t="0" r="r" b="b"/>
              <a:pathLst>
                <a:path w="178" h="130">
                  <a:moveTo>
                    <a:pt x="164" y="130"/>
                  </a:moveTo>
                  <a:cubicBezTo>
                    <a:pt x="161" y="130"/>
                    <a:pt x="158" y="129"/>
                    <a:pt x="155" y="127"/>
                  </a:cubicBezTo>
                  <a:lnTo>
                    <a:pt x="0" y="38"/>
                  </a:lnTo>
                  <a:lnTo>
                    <a:pt x="39" y="0"/>
                  </a:lnTo>
                  <a:lnTo>
                    <a:pt x="155" y="67"/>
                  </a:lnTo>
                  <a:cubicBezTo>
                    <a:pt x="167" y="74"/>
                    <a:pt x="178" y="93"/>
                    <a:pt x="178" y="110"/>
                  </a:cubicBezTo>
                  <a:cubicBezTo>
                    <a:pt x="178" y="123"/>
                    <a:pt x="172" y="130"/>
                    <a:pt x="164" y="130"/>
                  </a:cubicBezTo>
                  <a:close/>
                </a:path>
              </a:pathLst>
            </a:custGeom>
            <a:solidFill>
              <a:srgbClr val="E4D6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1699">
              <a:extLst>
                <a:ext uri="{FF2B5EF4-FFF2-40B4-BE49-F238E27FC236}">
                  <a16:creationId xmlns:a16="http://schemas.microsoft.com/office/drawing/2014/main" id="{6194E289-83EB-4AFD-AB52-11DBA091FB7E}"/>
                </a:ext>
              </a:extLst>
            </p:cNvPr>
            <p:cNvSpPr>
              <a:spLocks/>
            </p:cNvSpPr>
            <p:nvPr/>
          </p:nvSpPr>
          <p:spPr bwMode="auto">
            <a:xfrm>
              <a:off x="8609013" y="4035426"/>
              <a:ext cx="26988" cy="28575"/>
            </a:xfrm>
            <a:custGeom>
              <a:avLst/>
              <a:gdLst>
                <a:gd name="T0" fmla="*/ 18 w 32"/>
                <a:gd name="T1" fmla="*/ 36 h 36"/>
                <a:gd name="T2" fmla="*/ 9 w 32"/>
                <a:gd name="T3" fmla="*/ 34 h 36"/>
                <a:gd name="T4" fmla="*/ 0 w 32"/>
                <a:gd name="T5" fmla="*/ 28 h 36"/>
                <a:gd name="T6" fmla="*/ 29 w 32"/>
                <a:gd name="T7" fmla="*/ 0 h 36"/>
                <a:gd name="T8" fmla="*/ 32 w 32"/>
                <a:gd name="T9" fmla="*/ 16 h 36"/>
                <a:gd name="T10" fmla="*/ 18 w 32"/>
                <a:gd name="T11" fmla="*/ 36 h 36"/>
              </a:gdLst>
              <a:ahLst/>
              <a:cxnLst>
                <a:cxn ang="0">
                  <a:pos x="T0" y="T1"/>
                </a:cxn>
                <a:cxn ang="0">
                  <a:pos x="T2" y="T3"/>
                </a:cxn>
                <a:cxn ang="0">
                  <a:pos x="T4" y="T5"/>
                </a:cxn>
                <a:cxn ang="0">
                  <a:pos x="T6" y="T7"/>
                </a:cxn>
                <a:cxn ang="0">
                  <a:pos x="T8" y="T9"/>
                </a:cxn>
                <a:cxn ang="0">
                  <a:pos x="T10" y="T11"/>
                </a:cxn>
              </a:cxnLst>
              <a:rect l="0" t="0" r="r" b="b"/>
              <a:pathLst>
                <a:path w="32" h="36">
                  <a:moveTo>
                    <a:pt x="18" y="36"/>
                  </a:moveTo>
                  <a:cubicBezTo>
                    <a:pt x="15" y="36"/>
                    <a:pt x="12" y="35"/>
                    <a:pt x="9" y="34"/>
                  </a:cubicBezTo>
                  <a:lnTo>
                    <a:pt x="0" y="28"/>
                  </a:lnTo>
                  <a:lnTo>
                    <a:pt x="29" y="0"/>
                  </a:lnTo>
                  <a:cubicBezTo>
                    <a:pt x="31" y="5"/>
                    <a:pt x="32" y="11"/>
                    <a:pt x="32" y="16"/>
                  </a:cubicBezTo>
                  <a:cubicBezTo>
                    <a:pt x="32" y="29"/>
                    <a:pt x="26" y="36"/>
                    <a:pt x="18" y="36"/>
                  </a:cubicBezTo>
                </a:path>
              </a:pathLst>
            </a:custGeom>
            <a:solidFill>
              <a:srgbClr val="E4D6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700">
              <a:extLst>
                <a:ext uri="{FF2B5EF4-FFF2-40B4-BE49-F238E27FC236}">
                  <a16:creationId xmlns:a16="http://schemas.microsoft.com/office/drawing/2014/main" id="{65D5F721-4C4B-44DE-BB42-80251666536C}"/>
                </a:ext>
              </a:extLst>
            </p:cNvPr>
            <p:cNvSpPr>
              <a:spLocks/>
            </p:cNvSpPr>
            <p:nvPr/>
          </p:nvSpPr>
          <p:spPr bwMode="auto">
            <a:xfrm>
              <a:off x="8072438" y="4475163"/>
              <a:ext cx="414338" cy="290513"/>
            </a:xfrm>
            <a:custGeom>
              <a:avLst/>
              <a:gdLst>
                <a:gd name="T0" fmla="*/ 184 w 261"/>
                <a:gd name="T1" fmla="*/ 183 h 183"/>
                <a:gd name="T2" fmla="*/ 0 w 261"/>
                <a:gd name="T3" fmla="*/ 76 h 183"/>
                <a:gd name="T4" fmla="*/ 76 w 261"/>
                <a:gd name="T5" fmla="*/ 0 h 183"/>
                <a:gd name="T6" fmla="*/ 261 w 261"/>
                <a:gd name="T7" fmla="*/ 107 h 183"/>
                <a:gd name="T8" fmla="*/ 184 w 261"/>
                <a:gd name="T9" fmla="*/ 183 h 183"/>
              </a:gdLst>
              <a:ahLst/>
              <a:cxnLst>
                <a:cxn ang="0">
                  <a:pos x="T0" y="T1"/>
                </a:cxn>
                <a:cxn ang="0">
                  <a:pos x="T2" y="T3"/>
                </a:cxn>
                <a:cxn ang="0">
                  <a:pos x="T4" y="T5"/>
                </a:cxn>
                <a:cxn ang="0">
                  <a:pos x="T6" y="T7"/>
                </a:cxn>
                <a:cxn ang="0">
                  <a:pos x="T8" y="T9"/>
                </a:cxn>
              </a:cxnLst>
              <a:rect l="0" t="0" r="r" b="b"/>
              <a:pathLst>
                <a:path w="261" h="183">
                  <a:moveTo>
                    <a:pt x="184" y="183"/>
                  </a:moveTo>
                  <a:lnTo>
                    <a:pt x="0" y="76"/>
                  </a:lnTo>
                  <a:lnTo>
                    <a:pt x="76" y="0"/>
                  </a:lnTo>
                  <a:lnTo>
                    <a:pt x="261" y="107"/>
                  </a:lnTo>
                  <a:lnTo>
                    <a:pt x="184" y="183"/>
                  </a:lnTo>
                  <a:close/>
                </a:path>
              </a:pathLst>
            </a:custGeom>
            <a:solidFill>
              <a:srgbClr val="B59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701">
              <a:extLst>
                <a:ext uri="{FF2B5EF4-FFF2-40B4-BE49-F238E27FC236}">
                  <a16:creationId xmlns:a16="http://schemas.microsoft.com/office/drawing/2014/main" id="{4693E31D-2E64-4D71-A697-859B77EC8608}"/>
                </a:ext>
              </a:extLst>
            </p:cNvPr>
            <p:cNvSpPr>
              <a:spLocks/>
            </p:cNvSpPr>
            <p:nvPr/>
          </p:nvSpPr>
          <p:spPr bwMode="auto">
            <a:xfrm>
              <a:off x="7989888" y="4645026"/>
              <a:ext cx="327025" cy="203200"/>
            </a:xfrm>
            <a:custGeom>
              <a:avLst/>
              <a:gdLst>
                <a:gd name="T0" fmla="*/ 184 w 206"/>
                <a:gd name="T1" fmla="*/ 128 h 128"/>
                <a:gd name="T2" fmla="*/ 0 w 206"/>
                <a:gd name="T3" fmla="*/ 22 h 128"/>
                <a:gd name="T4" fmla="*/ 21 w 206"/>
                <a:gd name="T5" fmla="*/ 0 h 128"/>
                <a:gd name="T6" fmla="*/ 206 w 206"/>
                <a:gd name="T7" fmla="*/ 107 h 128"/>
                <a:gd name="T8" fmla="*/ 184 w 206"/>
                <a:gd name="T9" fmla="*/ 128 h 128"/>
              </a:gdLst>
              <a:ahLst/>
              <a:cxnLst>
                <a:cxn ang="0">
                  <a:pos x="T0" y="T1"/>
                </a:cxn>
                <a:cxn ang="0">
                  <a:pos x="T2" y="T3"/>
                </a:cxn>
                <a:cxn ang="0">
                  <a:pos x="T4" y="T5"/>
                </a:cxn>
                <a:cxn ang="0">
                  <a:pos x="T6" y="T7"/>
                </a:cxn>
                <a:cxn ang="0">
                  <a:pos x="T8" y="T9"/>
                </a:cxn>
              </a:cxnLst>
              <a:rect l="0" t="0" r="r" b="b"/>
              <a:pathLst>
                <a:path w="206" h="128">
                  <a:moveTo>
                    <a:pt x="184" y="128"/>
                  </a:moveTo>
                  <a:lnTo>
                    <a:pt x="0" y="22"/>
                  </a:lnTo>
                  <a:lnTo>
                    <a:pt x="21" y="0"/>
                  </a:lnTo>
                  <a:lnTo>
                    <a:pt x="206" y="107"/>
                  </a:lnTo>
                  <a:lnTo>
                    <a:pt x="184" y="128"/>
                  </a:lnTo>
                  <a:close/>
                </a:path>
              </a:pathLst>
            </a:custGeom>
            <a:solidFill>
              <a:srgbClr val="B59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702">
              <a:extLst>
                <a:ext uri="{FF2B5EF4-FFF2-40B4-BE49-F238E27FC236}">
                  <a16:creationId xmlns:a16="http://schemas.microsoft.com/office/drawing/2014/main" id="{18CFDBEF-DF08-4AF1-8B00-4E3D1897C5F9}"/>
                </a:ext>
              </a:extLst>
            </p:cNvPr>
            <p:cNvSpPr>
              <a:spLocks noEditPoints="1"/>
            </p:cNvSpPr>
            <p:nvPr/>
          </p:nvSpPr>
          <p:spPr bwMode="auto">
            <a:xfrm>
              <a:off x="8712201" y="2163763"/>
              <a:ext cx="12700" cy="9525"/>
            </a:xfrm>
            <a:custGeom>
              <a:avLst/>
              <a:gdLst>
                <a:gd name="T0" fmla="*/ 16 w 16"/>
                <a:gd name="T1" fmla="*/ 10 h 10"/>
                <a:gd name="T2" fmla="*/ 16 w 16"/>
                <a:gd name="T3" fmla="*/ 10 h 10"/>
                <a:gd name="T4" fmla="*/ 16 w 16"/>
                <a:gd name="T5" fmla="*/ 10 h 10"/>
                <a:gd name="T6" fmla="*/ 16 w 16"/>
                <a:gd name="T7" fmla="*/ 10 h 10"/>
                <a:gd name="T8" fmla="*/ 15 w 16"/>
                <a:gd name="T9" fmla="*/ 9 h 10"/>
                <a:gd name="T10" fmla="*/ 16 w 16"/>
                <a:gd name="T11" fmla="*/ 10 h 10"/>
                <a:gd name="T12" fmla="*/ 15 w 16"/>
                <a:gd name="T13" fmla="*/ 9 h 10"/>
                <a:gd name="T14" fmla="*/ 13 w 16"/>
                <a:gd name="T15" fmla="*/ 8 h 10"/>
                <a:gd name="T16" fmla="*/ 15 w 16"/>
                <a:gd name="T17" fmla="*/ 9 h 10"/>
                <a:gd name="T18" fmla="*/ 12 w 16"/>
                <a:gd name="T19" fmla="*/ 8 h 10"/>
                <a:gd name="T20" fmla="*/ 12 w 16"/>
                <a:gd name="T21" fmla="*/ 7 h 10"/>
                <a:gd name="T22" fmla="*/ 12 w 16"/>
                <a:gd name="T23" fmla="*/ 8 h 10"/>
                <a:gd name="T24" fmla="*/ 12 w 16"/>
                <a:gd name="T25" fmla="*/ 7 h 10"/>
                <a:gd name="T26" fmla="*/ 0 w 16"/>
                <a:gd name="T27" fmla="*/ 0 h 10"/>
                <a:gd name="T28" fmla="*/ 0 w 16"/>
                <a:gd name="T29" fmla="*/ 0 h 10"/>
                <a:gd name="T30" fmla="*/ 12 w 16"/>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0">
                  <a:moveTo>
                    <a:pt x="16" y="10"/>
                  </a:moveTo>
                  <a:cubicBezTo>
                    <a:pt x="16" y="10"/>
                    <a:pt x="16" y="10"/>
                    <a:pt x="16" y="10"/>
                  </a:cubicBezTo>
                  <a:cubicBezTo>
                    <a:pt x="16" y="10"/>
                    <a:pt x="16" y="10"/>
                    <a:pt x="16" y="10"/>
                  </a:cubicBezTo>
                  <a:close/>
                  <a:moveTo>
                    <a:pt x="16" y="10"/>
                  </a:moveTo>
                  <a:cubicBezTo>
                    <a:pt x="16" y="10"/>
                    <a:pt x="16" y="10"/>
                    <a:pt x="15" y="9"/>
                  </a:cubicBezTo>
                  <a:cubicBezTo>
                    <a:pt x="16" y="10"/>
                    <a:pt x="16" y="10"/>
                    <a:pt x="16" y="10"/>
                  </a:cubicBezTo>
                  <a:close/>
                  <a:moveTo>
                    <a:pt x="15" y="9"/>
                  </a:moveTo>
                  <a:cubicBezTo>
                    <a:pt x="14" y="9"/>
                    <a:pt x="13" y="8"/>
                    <a:pt x="13" y="8"/>
                  </a:cubicBezTo>
                  <a:cubicBezTo>
                    <a:pt x="13" y="8"/>
                    <a:pt x="14" y="9"/>
                    <a:pt x="15" y="9"/>
                  </a:cubicBezTo>
                  <a:close/>
                  <a:moveTo>
                    <a:pt x="12" y="8"/>
                  </a:moveTo>
                  <a:lnTo>
                    <a:pt x="12" y="7"/>
                  </a:lnTo>
                  <a:lnTo>
                    <a:pt x="12" y="8"/>
                  </a:lnTo>
                  <a:close/>
                  <a:moveTo>
                    <a:pt x="12" y="7"/>
                  </a:moveTo>
                  <a:lnTo>
                    <a:pt x="0" y="0"/>
                  </a:lnTo>
                  <a:lnTo>
                    <a:pt x="0" y="0"/>
                  </a:lnTo>
                  <a:lnTo>
                    <a:pt x="12" y="7"/>
                  </a:lnTo>
                  <a:close/>
                </a:path>
              </a:pathLst>
            </a:custGeom>
            <a:solidFill>
              <a:srgbClr val="604B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703">
              <a:extLst>
                <a:ext uri="{FF2B5EF4-FFF2-40B4-BE49-F238E27FC236}">
                  <a16:creationId xmlns:a16="http://schemas.microsoft.com/office/drawing/2014/main" id="{E713D9F4-C69A-48B1-BA11-96808854FDC9}"/>
                </a:ext>
              </a:extLst>
            </p:cNvPr>
            <p:cNvSpPr>
              <a:spLocks noEditPoints="1"/>
            </p:cNvSpPr>
            <p:nvPr/>
          </p:nvSpPr>
          <p:spPr bwMode="auto">
            <a:xfrm>
              <a:off x="7808913" y="2163763"/>
              <a:ext cx="960438" cy="946150"/>
            </a:xfrm>
            <a:custGeom>
              <a:avLst/>
              <a:gdLst>
                <a:gd name="T0" fmla="*/ 82 w 1174"/>
                <a:gd name="T1" fmla="*/ 1152 h 1152"/>
                <a:gd name="T2" fmla="*/ 0 w 1174"/>
                <a:gd name="T3" fmla="*/ 1104 h 1152"/>
                <a:gd name="T4" fmla="*/ 78 w 1174"/>
                <a:gd name="T5" fmla="*/ 1026 h 1152"/>
                <a:gd name="T6" fmla="*/ 161 w 1174"/>
                <a:gd name="T7" fmla="*/ 1074 h 1152"/>
                <a:gd name="T8" fmla="*/ 82 w 1174"/>
                <a:gd name="T9" fmla="*/ 1152 h 1152"/>
                <a:gd name="T10" fmla="*/ 933 w 1174"/>
                <a:gd name="T11" fmla="*/ 301 h 1152"/>
                <a:gd name="T12" fmla="*/ 851 w 1174"/>
                <a:gd name="T13" fmla="*/ 253 h 1152"/>
                <a:gd name="T14" fmla="*/ 1104 w 1174"/>
                <a:gd name="T15" fmla="*/ 0 h 1152"/>
                <a:gd name="T16" fmla="*/ 1116 w 1174"/>
                <a:gd name="T17" fmla="*/ 7 h 1152"/>
                <a:gd name="T18" fmla="*/ 1116 w 1174"/>
                <a:gd name="T19" fmla="*/ 7 h 1152"/>
                <a:gd name="T20" fmla="*/ 1116 w 1174"/>
                <a:gd name="T21" fmla="*/ 8 h 1152"/>
                <a:gd name="T22" fmla="*/ 1117 w 1174"/>
                <a:gd name="T23" fmla="*/ 8 h 1152"/>
                <a:gd name="T24" fmla="*/ 1119 w 1174"/>
                <a:gd name="T25" fmla="*/ 9 h 1152"/>
                <a:gd name="T26" fmla="*/ 1119 w 1174"/>
                <a:gd name="T27" fmla="*/ 9 h 1152"/>
                <a:gd name="T28" fmla="*/ 1120 w 1174"/>
                <a:gd name="T29" fmla="*/ 10 h 1152"/>
                <a:gd name="T30" fmla="*/ 1120 w 1174"/>
                <a:gd name="T31" fmla="*/ 10 h 1152"/>
                <a:gd name="T32" fmla="*/ 1120 w 1174"/>
                <a:gd name="T33" fmla="*/ 10 h 1152"/>
                <a:gd name="T34" fmla="*/ 1174 w 1174"/>
                <a:gd name="T35" fmla="*/ 60 h 1152"/>
                <a:gd name="T36" fmla="*/ 933 w 1174"/>
                <a:gd name="T37" fmla="*/ 301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4" h="1152">
                  <a:moveTo>
                    <a:pt x="82" y="1152"/>
                  </a:moveTo>
                  <a:lnTo>
                    <a:pt x="0" y="1104"/>
                  </a:lnTo>
                  <a:cubicBezTo>
                    <a:pt x="26" y="1078"/>
                    <a:pt x="52" y="1052"/>
                    <a:pt x="78" y="1026"/>
                  </a:cubicBezTo>
                  <a:lnTo>
                    <a:pt x="161" y="1074"/>
                  </a:lnTo>
                  <a:lnTo>
                    <a:pt x="82" y="1152"/>
                  </a:lnTo>
                  <a:close/>
                  <a:moveTo>
                    <a:pt x="933" y="301"/>
                  </a:moveTo>
                  <a:lnTo>
                    <a:pt x="851" y="253"/>
                  </a:lnTo>
                  <a:cubicBezTo>
                    <a:pt x="935" y="169"/>
                    <a:pt x="1019" y="85"/>
                    <a:pt x="1104" y="0"/>
                  </a:cubicBezTo>
                  <a:lnTo>
                    <a:pt x="1116" y="7"/>
                  </a:lnTo>
                  <a:cubicBezTo>
                    <a:pt x="1116" y="7"/>
                    <a:pt x="1116" y="7"/>
                    <a:pt x="1116" y="7"/>
                  </a:cubicBezTo>
                  <a:lnTo>
                    <a:pt x="1116" y="8"/>
                  </a:lnTo>
                  <a:cubicBezTo>
                    <a:pt x="1116" y="8"/>
                    <a:pt x="1117" y="8"/>
                    <a:pt x="1117" y="8"/>
                  </a:cubicBezTo>
                  <a:cubicBezTo>
                    <a:pt x="1117" y="8"/>
                    <a:pt x="1118" y="9"/>
                    <a:pt x="1119" y="9"/>
                  </a:cubicBezTo>
                  <a:cubicBezTo>
                    <a:pt x="1119" y="9"/>
                    <a:pt x="1119" y="9"/>
                    <a:pt x="1119" y="9"/>
                  </a:cubicBezTo>
                  <a:cubicBezTo>
                    <a:pt x="1120" y="10"/>
                    <a:pt x="1120" y="10"/>
                    <a:pt x="1120" y="10"/>
                  </a:cubicBezTo>
                  <a:cubicBezTo>
                    <a:pt x="1120" y="10"/>
                    <a:pt x="1120" y="10"/>
                    <a:pt x="1120" y="10"/>
                  </a:cubicBezTo>
                  <a:cubicBezTo>
                    <a:pt x="1120" y="10"/>
                    <a:pt x="1120" y="10"/>
                    <a:pt x="1120" y="10"/>
                  </a:cubicBezTo>
                  <a:cubicBezTo>
                    <a:pt x="1140" y="22"/>
                    <a:pt x="1158" y="39"/>
                    <a:pt x="1174" y="60"/>
                  </a:cubicBezTo>
                  <a:lnTo>
                    <a:pt x="933" y="301"/>
                  </a:lnTo>
                  <a:close/>
                </a:path>
              </a:pathLst>
            </a:custGeom>
            <a:solidFill>
              <a:srgbClr val="8C7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1704">
              <a:extLst>
                <a:ext uri="{FF2B5EF4-FFF2-40B4-BE49-F238E27FC236}">
                  <a16:creationId xmlns:a16="http://schemas.microsoft.com/office/drawing/2014/main" id="{D69FCFA1-AFA2-4C98-8717-E076E3FD3524}"/>
                </a:ext>
              </a:extLst>
            </p:cNvPr>
            <p:cNvSpPr>
              <a:spLocks noEditPoints="1"/>
            </p:cNvSpPr>
            <p:nvPr/>
          </p:nvSpPr>
          <p:spPr bwMode="auto">
            <a:xfrm>
              <a:off x="7872413" y="2371726"/>
              <a:ext cx="700088" cy="673100"/>
            </a:xfrm>
            <a:custGeom>
              <a:avLst/>
              <a:gdLst>
                <a:gd name="T0" fmla="*/ 83 w 855"/>
                <a:gd name="T1" fmla="*/ 821 h 821"/>
                <a:gd name="T2" fmla="*/ 0 w 855"/>
                <a:gd name="T3" fmla="*/ 773 h 821"/>
                <a:gd name="T4" fmla="*/ 49 w 855"/>
                <a:gd name="T5" fmla="*/ 724 h 821"/>
                <a:gd name="T6" fmla="*/ 52 w 855"/>
                <a:gd name="T7" fmla="*/ 727 h 821"/>
                <a:gd name="T8" fmla="*/ 107 w 855"/>
                <a:gd name="T9" fmla="*/ 759 h 821"/>
                <a:gd name="T10" fmla="*/ 110 w 855"/>
                <a:gd name="T11" fmla="*/ 760 h 821"/>
                <a:gd name="T12" fmla="*/ 113 w 855"/>
                <a:gd name="T13" fmla="*/ 759 h 821"/>
                <a:gd name="T14" fmla="*/ 115 w 855"/>
                <a:gd name="T15" fmla="*/ 754 h 821"/>
                <a:gd name="T16" fmla="*/ 115 w 855"/>
                <a:gd name="T17" fmla="*/ 658 h 821"/>
                <a:gd name="T18" fmla="*/ 177 w 855"/>
                <a:gd name="T19" fmla="*/ 596 h 821"/>
                <a:gd name="T20" fmla="*/ 177 w 855"/>
                <a:gd name="T21" fmla="*/ 726 h 821"/>
                <a:gd name="T22" fmla="*/ 83 w 855"/>
                <a:gd name="T23" fmla="*/ 821 h 821"/>
                <a:gd name="T24" fmla="*/ 248 w 855"/>
                <a:gd name="T25" fmla="*/ 655 h 821"/>
                <a:gd name="T26" fmla="*/ 248 w 855"/>
                <a:gd name="T27" fmla="*/ 525 h 821"/>
                <a:gd name="T28" fmla="*/ 310 w 855"/>
                <a:gd name="T29" fmla="*/ 463 h 821"/>
                <a:gd name="T30" fmla="*/ 310 w 855"/>
                <a:gd name="T31" fmla="*/ 593 h 821"/>
                <a:gd name="T32" fmla="*/ 248 w 855"/>
                <a:gd name="T33" fmla="*/ 655 h 821"/>
                <a:gd name="T34" fmla="*/ 381 w 855"/>
                <a:gd name="T35" fmla="*/ 522 h 821"/>
                <a:gd name="T36" fmla="*/ 381 w 855"/>
                <a:gd name="T37" fmla="*/ 392 h 821"/>
                <a:gd name="T38" fmla="*/ 773 w 855"/>
                <a:gd name="T39" fmla="*/ 0 h 821"/>
                <a:gd name="T40" fmla="*/ 855 w 855"/>
                <a:gd name="T41" fmla="*/ 48 h 821"/>
                <a:gd name="T42" fmla="*/ 381 w 855"/>
                <a:gd name="T43" fmla="*/ 522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5" h="821">
                  <a:moveTo>
                    <a:pt x="83" y="821"/>
                  </a:moveTo>
                  <a:lnTo>
                    <a:pt x="0" y="773"/>
                  </a:lnTo>
                  <a:cubicBezTo>
                    <a:pt x="16" y="757"/>
                    <a:pt x="33" y="740"/>
                    <a:pt x="49" y="724"/>
                  </a:cubicBezTo>
                  <a:cubicBezTo>
                    <a:pt x="50" y="726"/>
                    <a:pt x="51" y="726"/>
                    <a:pt x="52" y="727"/>
                  </a:cubicBezTo>
                  <a:lnTo>
                    <a:pt x="107" y="759"/>
                  </a:lnTo>
                  <a:cubicBezTo>
                    <a:pt x="108" y="760"/>
                    <a:pt x="109" y="760"/>
                    <a:pt x="110" y="760"/>
                  </a:cubicBezTo>
                  <a:cubicBezTo>
                    <a:pt x="111" y="760"/>
                    <a:pt x="112" y="760"/>
                    <a:pt x="113" y="759"/>
                  </a:cubicBezTo>
                  <a:cubicBezTo>
                    <a:pt x="114" y="758"/>
                    <a:pt x="115" y="756"/>
                    <a:pt x="115" y="754"/>
                  </a:cubicBezTo>
                  <a:lnTo>
                    <a:pt x="115" y="658"/>
                  </a:lnTo>
                  <a:cubicBezTo>
                    <a:pt x="136" y="637"/>
                    <a:pt x="156" y="617"/>
                    <a:pt x="177" y="596"/>
                  </a:cubicBezTo>
                  <a:lnTo>
                    <a:pt x="177" y="726"/>
                  </a:lnTo>
                  <a:lnTo>
                    <a:pt x="83" y="821"/>
                  </a:lnTo>
                  <a:moveTo>
                    <a:pt x="248" y="655"/>
                  </a:moveTo>
                  <a:lnTo>
                    <a:pt x="248" y="525"/>
                  </a:lnTo>
                  <a:cubicBezTo>
                    <a:pt x="269" y="504"/>
                    <a:pt x="290" y="483"/>
                    <a:pt x="310" y="463"/>
                  </a:cubicBezTo>
                  <a:lnTo>
                    <a:pt x="310" y="593"/>
                  </a:lnTo>
                  <a:lnTo>
                    <a:pt x="248" y="655"/>
                  </a:lnTo>
                  <a:close/>
                  <a:moveTo>
                    <a:pt x="381" y="522"/>
                  </a:moveTo>
                  <a:lnTo>
                    <a:pt x="381" y="392"/>
                  </a:lnTo>
                  <a:cubicBezTo>
                    <a:pt x="512" y="261"/>
                    <a:pt x="642" y="131"/>
                    <a:pt x="773" y="0"/>
                  </a:cubicBezTo>
                  <a:lnTo>
                    <a:pt x="855" y="48"/>
                  </a:lnTo>
                  <a:lnTo>
                    <a:pt x="381" y="522"/>
                  </a:lnTo>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705">
              <a:extLst>
                <a:ext uri="{FF2B5EF4-FFF2-40B4-BE49-F238E27FC236}">
                  <a16:creationId xmlns:a16="http://schemas.microsoft.com/office/drawing/2014/main" id="{33F63E75-BC3C-40EC-B4AF-3E9E4D47A3EF}"/>
                </a:ext>
              </a:extLst>
            </p:cNvPr>
            <p:cNvSpPr>
              <a:spLocks/>
            </p:cNvSpPr>
            <p:nvPr/>
          </p:nvSpPr>
          <p:spPr bwMode="auto">
            <a:xfrm>
              <a:off x="8016876" y="2817813"/>
              <a:ext cx="42863" cy="149225"/>
            </a:xfrm>
            <a:custGeom>
              <a:avLst/>
              <a:gdLst>
                <a:gd name="T0" fmla="*/ 0 w 52"/>
                <a:gd name="T1" fmla="*/ 182 h 182"/>
                <a:gd name="T2" fmla="*/ 0 w 52"/>
                <a:gd name="T3" fmla="*/ 52 h 182"/>
                <a:gd name="T4" fmla="*/ 52 w 52"/>
                <a:gd name="T5" fmla="*/ 0 h 182"/>
                <a:gd name="T6" fmla="*/ 52 w 52"/>
                <a:gd name="T7" fmla="*/ 130 h 182"/>
                <a:gd name="T8" fmla="*/ 0 w 52"/>
                <a:gd name="T9" fmla="*/ 182 h 182"/>
              </a:gdLst>
              <a:ahLst/>
              <a:cxnLst>
                <a:cxn ang="0">
                  <a:pos x="T0" y="T1"/>
                </a:cxn>
                <a:cxn ang="0">
                  <a:pos x="T2" y="T3"/>
                </a:cxn>
                <a:cxn ang="0">
                  <a:pos x="T4" y="T5"/>
                </a:cxn>
                <a:cxn ang="0">
                  <a:pos x="T6" y="T7"/>
                </a:cxn>
                <a:cxn ang="0">
                  <a:pos x="T8" y="T9"/>
                </a:cxn>
              </a:cxnLst>
              <a:rect l="0" t="0" r="r" b="b"/>
              <a:pathLst>
                <a:path w="52" h="182">
                  <a:moveTo>
                    <a:pt x="0" y="182"/>
                  </a:moveTo>
                  <a:lnTo>
                    <a:pt x="0" y="52"/>
                  </a:lnTo>
                  <a:cubicBezTo>
                    <a:pt x="18" y="34"/>
                    <a:pt x="35" y="17"/>
                    <a:pt x="52" y="0"/>
                  </a:cubicBezTo>
                  <a:lnTo>
                    <a:pt x="52" y="130"/>
                  </a:lnTo>
                  <a:lnTo>
                    <a:pt x="0" y="182"/>
                  </a:lnTo>
                  <a:close/>
                </a:path>
              </a:pathLst>
            </a:custGeom>
            <a:solidFill>
              <a:srgbClr val="82B3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706">
              <a:extLst>
                <a:ext uri="{FF2B5EF4-FFF2-40B4-BE49-F238E27FC236}">
                  <a16:creationId xmlns:a16="http://schemas.microsoft.com/office/drawing/2014/main" id="{AC3F1261-B7A0-428E-BBBE-E0E3A2392255}"/>
                </a:ext>
              </a:extLst>
            </p:cNvPr>
            <p:cNvSpPr>
              <a:spLocks/>
            </p:cNvSpPr>
            <p:nvPr/>
          </p:nvSpPr>
          <p:spPr bwMode="auto">
            <a:xfrm>
              <a:off x="8059738" y="2801938"/>
              <a:ext cx="15875" cy="122238"/>
            </a:xfrm>
            <a:custGeom>
              <a:avLst/>
              <a:gdLst>
                <a:gd name="T0" fmla="*/ 0 w 19"/>
                <a:gd name="T1" fmla="*/ 149 h 149"/>
                <a:gd name="T2" fmla="*/ 0 w 19"/>
                <a:gd name="T3" fmla="*/ 19 h 149"/>
                <a:gd name="T4" fmla="*/ 19 w 19"/>
                <a:gd name="T5" fmla="*/ 0 h 149"/>
                <a:gd name="T6" fmla="*/ 19 w 19"/>
                <a:gd name="T7" fmla="*/ 130 h 149"/>
                <a:gd name="T8" fmla="*/ 0 w 19"/>
                <a:gd name="T9" fmla="*/ 149 h 149"/>
              </a:gdLst>
              <a:ahLst/>
              <a:cxnLst>
                <a:cxn ang="0">
                  <a:pos x="T0" y="T1"/>
                </a:cxn>
                <a:cxn ang="0">
                  <a:pos x="T2" y="T3"/>
                </a:cxn>
                <a:cxn ang="0">
                  <a:pos x="T4" y="T5"/>
                </a:cxn>
                <a:cxn ang="0">
                  <a:pos x="T6" y="T7"/>
                </a:cxn>
                <a:cxn ang="0">
                  <a:pos x="T8" y="T9"/>
                </a:cxn>
              </a:cxnLst>
              <a:rect l="0" t="0" r="r" b="b"/>
              <a:pathLst>
                <a:path w="19" h="149">
                  <a:moveTo>
                    <a:pt x="0" y="149"/>
                  </a:moveTo>
                  <a:lnTo>
                    <a:pt x="0" y="19"/>
                  </a:lnTo>
                  <a:cubicBezTo>
                    <a:pt x="7" y="12"/>
                    <a:pt x="13" y="6"/>
                    <a:pt x="19" y="0"/>
                  </a:cubicBezTo>
                  <a:lnTo>
                    <a:pt x="19" y="130"/>
                  </a:lnTo>
                  <a:lnTo>
                    <a:pt x="0" y="149"/>
                  </a:lnTo>
                  <a:close/>
                </a:path>
              </a:pathLst>
            </a:custGeom>
            <a:solidFill>
              <a:srgbClr val="719B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1707">
              <a:extLst>
                <a:ext uri="{FF2B5EF4-FFF2-40B4-BE49-F238E27FC236}">
                  <a16:creationId xmlns:a16="http://schemas.microsoft.com/office/drawing/2014/main" id="{951C2E28-3A2C-4913-8AD2-2C81F4E693BE}"/>
                </a:ext>
              </a:extLst>
            </p:cNvPr>
            <p:cNvSpPr>
              <a:spLocks/>
            </p:cNvSpPr>
            <p:nvPr/>
          </p:nvSpPr>
          <p:spPr bwMode="auto">
            <a:xfrm>
              <a:off x="7912101" y="2927351"/>
              <a:ext cx="52388" cy="68263"/>
            </a:xfrm>
            <a:custGeom>
              <a:avLst/>
              <a:gdLst>
                <a:gd name="T0" fmla="*/ 61 w 64"/>
                <a:gd name="T1" fmla="*/ 83 h 83"/>
                <a:gd name="T2" fmla="*/ 58 w 64"/>
                <a:gd name="T3" fmla="*/ 82 h 83"/>
                <a:gd name="T4" fmla="*/ 3 w 64"/>
                <a:gd name="T5" fmla="*/ 50 h 83"/>
                <a:gd name="T6" fmla="*/ 0 w 64"/>
                <a:gd name="T7" fmla="*/ 47 h 83"/>
                <a:gd name="T8" fmla="*/ 47 w 64"/>
                <a:gd name="T9" fmla="*/ 0 h 83"/>
                <a:gd name="T10" fmla="*/ 47 w 64"/>
                <a:gd name="T11" fmla="*/ 61 h 83"/>
                <a:gd name="T12" fmla="*/ 41 w 64"/>
                <a:gd name="T13" fmla="*/ 71 h 83"/>
                <a:gd name="T14" fmla="*/ 38 w 64"/>
                <a:gd name="T15" fmla="*/ 70 h 83"/>
                <a:gd name="T16" fmla="*/ 58 w 64"/>
                <a:gd name="T17" fmla="*/ 82 h 83"/>
                <a:gd name="T18" fmla="*/ 62 w 64"/>
                <a:gd name="T19" fmla="*/ 83 h 83"/>
                <a:gd name="T20" fmla="*/ 64 w 64"/>
                <a:gd name="T21" fmla="*/ 82 h 83"/>
                <a:gd name="T22" fmla="*/ 61 w 64"/>
                <a:gd name="T2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83">
                  <a:moveTo>
                    <a:pt x="61" y="83"/>
                  </a:moveTo>
                  <a:cubicBezTo>
                    <a:pt x="60" y="83"/>
                    <a:pt x="59" y="83"/>
                    <a:pt x="58" y="82"/>
                  </a:cubicBezTo>
                  <a:lnTo>
                    <a:pt x="3" y="50"/>
                  </a:lnTo>
                  <a:cubicBezTo>
                    <a:pt x="2" y="49"/>
                    <a:pt x="1" y="49"/>
                    <a:pt x="0" y="47"/>
                  </a:cubicBezTo>
                  <a:cubicBezTo>
                    <a:pt x="16" y="32"/>
                    <a:pt x="31" y="16"/>
                    <a:pt x="47" y="0"/>
                  </a:cubicBezTo>
                  <a:lnTo>
                    <a:pt x="47" y="61"/>
                  </a:lnTo>
                  <a:cubicBezTo>
                    <a:pt x="47" y="67"/>
                    <a:pt x="45" y="71"/>
                    <a:pt x="41" y="71"/>
                  </a:cubicBezTo>
                  <a:cubicBezTo>
                    <a:pt x="40" y="71"/>
                    <a:pt x="39" y="71"/>
                    <a:pt x="38" y="70"/>
                  </a:cubicBezTo>
                  <a:lnTo>
                    <a:pt x="58" y="82"/>
                  </a:lnTo>
                  <a:cubicBezTo>
                    <a:pt x="59" y="83"/>
                    <a:pt x="60" y="83"/>
                    <a:pt x="62" y="83"/>
                  </a:cubicBezTo>
                  <a:cubicBezTo>
                    <a:pt x="62" y="83"/>
                    <a:pt x="63" y="83"/>
                    <a:pt x="64" y="82"/>
                  </a:cubicBezTo>
                  <a:cubicBezTo>
                    <a:pt x="63" y="83"/>
                    <a:pt x="62" y="83"/>
                    <a:pt x="61" y="83"/>
                  </a:cubicBezTo>
                </a:path>
              </a:pathLst>
            </a:custGeom>
            <a:solidFill>
              <a:srgbClr val="FFCE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708">
              <a:extLst>
                <a:ext uri="{FF2B5EF4-FFF2-40B4-BE49-F238E27FC236}">
                  <a16:creationId xmlns:a16="http://schemas.microsoft.com/office/drawing/2014/main" id="{3E4005A8-F9ED-4C83-BB86-5B07E02892E4}"/>
                </a:ext>
              </a:extLst>
            </p:cNvPr>
            <p:cNvSpPr>
              <a:spLocks/>
            </p:cNvSpPr>
            <p:nvPr/>
          </p:nvSpPr>
          <p:spPr bwMode="auto">
            <a:xfrm>
              <a:off x="7964488" y="2911476"/>
              <a:ext cx="1588" cy="82550"/>
            </a:xfrm>
            <a:custGeom>
              <a:avLst/>
              <a:gdLst>
                <a:gd name="T0" fmla="*/ 0 w 2"/>
                <a:gd name="T1" fmla="*/ 101 h 101"/>
                <a:gd name="T2" fmla="*/ 2 w 2"/>
                <a:gd name="T3" fmla="*/ 95 h 101"/>
                <a:gd name="T4" fmla="*/ 2 w 2"/>
                <a:gd name="T5" fmla="*/ 0 h 101"/>
                <a:gd name="T6" fmla="*/ 2 w 2"/>
                <a:gd name="T7" fmla="*/ 0 h 101"/>
                <a:gd name="T8" fmla="*/ 2 w 2"/>
                <a:gd name="T9" fmla="*/ 96 h 101"/>
                <a:gd name="T10" fmla="*/ 0 w 2"/>
                <a:gd name="T11" fmla="*/ 101 h 101"/>
              </a:gdLst>
              <a:ahLst/>
              <a:cxnLst>
                <a:cxn ang="0">
                  <a:pos x="T0" y="T1"/>
                </a:cxn>
                <a:cxn ang="0">
                  <a:pos x="T2" y="T3"/>
                </a:cxn>
                <a:cxn ang="0">
                  <a:pos x="T4" y="T5"/>
                </a:cxn>
                <a:cxn ang="0">
                  <a:pos x="T6" y="T7"/>
                </a:cxn>
                <a:cxn ang="0">
                  <a:pos x="T8" y="T9"/>
                </a:cxn>
                <a:cxn ang="0">
                  <a:pos x="T10" y="T11"/>
                </a:cxn>
              </a:cxnLst>
              <a:rect l="0" t="0" r="r" b="b"/>
              <a:pathLst>
                <a:path w="2" h="101">
                  <a:moveTo>
                    <a:pt x="0" y="101"/>
                  </a:moveTo>
                  <a:cubicBezTo>
                    <a:pt x="1" y="100"/>
                    <a:pt x="2" y="98"/>
                    <a:pt x="2" y="95"/>
                  </a:cubicBezTo>
                  <a:lnTo>
                    <a:pt x="2" y="0"/>
                  </a:lnTo>
                  <a:lnTo>
                    <a:pt x="2" y="0"/>
                  </a:lnTo>
                  <a:lnTo>
                    <a:pt x="2" y="96"/>
                  </a:lnTo>
                  <a:cubicBezTo>
                    <a:pt x="2" y="98"/>
                    <a:pt x="1" y="100"/>
                    <a:pt x="0" y="101"/>
                  </a:cubicBezTo>
                  <a:close/>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709">
              <a:extLst>
                <a:ext uri="{FF2B5EF4-FFF2-40B4-BE49-F238E27FC236}">
                  <a16:creationId xmlns:a16="http://schemas.microsoft.com/office/drawing/2014/main" id="{B508B4C2-D7CC-4069-B5D7-B1BF63E56D3F}"/>
                </a:ext>
              </a:extLst>
            </p:cNvPr>
            <p:cNvSpPr>
              <a:spLocks/>
            </p:cNvSpPr>
            <p:nvPr/>
          </p:nvSpPr>
          <p:spPr bwMode="auto">
            <a:xfrm>
              <a:off x="7943851" y="2911476"/>
              <a:ext cx="22225" cy="84138"/>
            </a:xfrm>
            <a:custGeom>
              <a:avLst/>
              <a:gdLst>
                <a:gd name="T0" fmla="*/ 24 w 28"/>
                <a:gd name="T1" fmla="*/ 102 h 102"/>
                <a:gd name="T2" fmla="*/ 20 w 28"/>
                <a:gd name="T3" fmla="*/ 101 h 102"/>
                <a:gd name="T4" fmla="*/ 0 w 28"/>
                <a:gd name="T5" fmla="*/ 89 h 102"/>
                <a:gd name="T6" fmla="*/ 3 w 28"/>
                <a:gd name="T7" fmla="*/ 90 h 102"/>
                <a:gd name="T8" fmla="*/ 9 w 28"/>
                <a:gd name="T9" fmla="*/ 80 h 102"/>
                <a:gd name="T10" fmla="*/ 9 w 28"/>
                <a:gd name="T11" fmla="*/ 19 h 102"/>
                <a:gd name="T12" fmla="*/ 28 w 28"/>
                <a:gd name="T13" fmla="*/ 0 h 102"/>
                <a:gd name="T14" fmla="*/ 28 w 28"/>
                <a:gd name="T15" fmla="*/ 95 h 102"/>
                <a:gd name="T16" fmla="*/ 26 w 28"/>
                <a:gd name="T17" fmla="*/ 101 h 102"/>
                <a:gd name="T18" fmla="*/ 24 w 28"/>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02">
                  <a:moveTo>
                    <a:pt x="24" y="102"/>
                  </a:moveTo>
                  <a:cubicBezTo>
                    <a:pt x="22" y="102"/>
                    <a:pt x="21" y="102"/>
                    <a:pt x="20" y="101"/>
                  </a:cubicBezTo>
                  <a:lnTo>
                    <a:pt x="0" y="89"/>
                  </a:lnTo>
                  <a:cubicBezTo>
                    <a:pt x="1" y="90"/>
                    <a:pt x="2" y="90"/>
                    <a:pt x="3" y="90"/>
                  </a:cubicBezTo>
                  <a:cubicBezTo>
                    <a:pt x="7" y="90"/>
                    <a:pt x="9" y="86"/>
                    <a:pt x="9" y="80"/>
                  </a:cubicBezTo>
                  <a:lnTo>
                    <a:pt x="9" y="19"/>
                  </a:lnTo>
                  <a:cubicBezTo>
                    <a:pt x="16" y="12"/>
                    <a:pt x="22" y="6"/>
                    <a:pt x="28" y="0"/>
                  </a:cubicBezTo>
                  <a:lnTo>
                    <a:pt x="28" y="95"/>
                  </a:lnTo>
                  <a:cubicBezTo>
                    <a:pt x="28" y="98"/>
                    <a:pt x="27" y="100"/>
                    <a:pt x="26" y="101"/>
                  </a:cubicBezTo>
                  <a:cubicBezTo>
                    <a:pt x="25" y="102"/>
                    <a:pt x="24" y="102"/>
                    <a:pt x="24" y="102"/>
                  </a:cubicBezTo>
                  <a:close/>
                </a:path>
              </a:pathLst>
            </a:custGeom>
            <a:solidFill>
              <a:srgbClr val="DCB3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710">
              <a:extLst>
                <a:ext uri="{FF2B5EF4-FFF2-40B4-BE49-F238E27FC236}">
                  <a16:creationId xmlns:a16="http://schemas.microsoft.com/office/drawing/2014/main" id="{206EE3D4-D317-471D-A04C-7476B2FE561C}"/>
                </a:ext>
              </a:extLst>
            </p:cNvPr>
            <p:cNvSpPr>
              <a:spLocks/>
            </p:cNvSpPr>
            <p:nvPr/>
          </p:nvSpPr>
          <p:spPr bwMode="auto">
            <a:xfrm>
              <a:off x="8126413" y="2708276"/>
              <a:ext cx="42863" cy="150813"/>
            </a:xfrm>
            <a:custGeom>
              <a:avLst/>
              <a:gdLst>
                <a:gd name="T0" fmla="*/ 0 w 52"/>
                <a:gd name="T1" fmla="*/ 182 h 182"/>
                <a:gd name="T2" fmla="*/ 0 w 52"/>
                <a:gd name="T3" fmla="*/ 52 h 182"/>
                <a:gd name="T4" fmla="*/ 52 w 52"/>
                <a:gd name="T5" fmla="*/ 0 h 182"/>
                <a:gd name="T6" fmla="*/ 52 w 52"/>
                <a:gd name="T7" fmla="*/ 130 h 182"/>
                <a:gd name="T8" fmla="*/ 0 w 52"/>
                <a:gd name="T9" fmla="*/ 182 h 182"/>
              </a:gdLst>
              <a:ahLst/>
              <a:cxnLst>
                <a:cxn ang="0">
                  <a:pos x="T0" y="T1"/>
                </a:cxn>
                <a:cxn ang="0">
                  <a:pos x="T2" y="T3"/>
                </a:cxn>
                <a:cxn ang="0">
                  <a:pos x="T4" y="T5"/>
                </a:cxn>
                <a:cxn ang="0">
                  <a:pos x="T6" y="T7"/>
                </a:cxn>
                <a:cxn ang="0">
                  <a:pos x="T8" y="T9"/>
                </a:cxn>
              </a:cxnLst>
              <a:rect l="0" t="0" r="r" b="b"/>
              <a:pathLst>
                <a:path w="52" h="182">
                  <a:moveTo>
                    <a:pt x="0" y="182"/>
                  </a:moveTo>
                  <a:lnTo>
                    <a:pt x="0" y="52"/>
                  </a:lnTo>
                  <a:cubicBezTo>
                    <a:pt x="18" y="34"/>
                    <a:pt x="35" y="17"/>
                    <a:pt x="52" y="0"/>
                  </a:cubicBezTo>
                  <a:lnTo>
                    <a:pt x="52" y="130"/>
                  </a:lnTo>
                  <a:lnTo>
                    <a:pt x="0" y="182"/>
                  </a:lnTo>
                  <a:close/>
                </a:path>
              </a:pathLst>
            </a:custGeom>
            <a:solidFill>
              <a:srgbClr val="D365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Rectangle 1711">
              <a:extLst>
                <a:ext uri="{FF2B5EF4-FFF2-40B4-BE49-F238E27FC236}">
                  <a16:creationId xmlns:a16="http://schemas.microsoft.com/office/drawing/2014/main" id="{7FAD5C9C-94D5-4D7A-82E4-A0FEC5059EAB}"/>
                </a:ext>
              </a:extLst>
            </p:cNvPr>
            <p:cNvSpPr>
              <a:spLocks noChangeArrowheads="1"/>
            </p:cNvSpPr>
            <p:nvPr/>
          </p:nvSpPr>
          <p:spPr bwMode="auto">
            <a:xfrm>
              <a:off x="8183563" y="2693988"/>
              <a:ext cx="1588" cy="106363"/>
            </a:xfrm>
            <a:prstGeom prst="rect">
              <a:avLst/>
            </a:prstGeom>
            <a:solidFill>
              <a:srgbClr val="B09D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712">
              <a:extLst>
                <a:ext uri="{FF2B5EF4-FFF2-40B4-BE49-F238E27FC236}">
                  <a16:creationId xmlns:a16="http://schemas.microsoft.com/office/drawing/2014/main" id="{0FDCCBE4-C76A-495B-A08A-EB70510590C5}"/>
                </a:ext>
              </a:extLst>
            </p:cNvPr>
            <p:cNvSpPr>
              <a:spLocks/>
            </p:cNvSpPr>
            <p:nvPr/>
          </p:nvSpPr>
          <p:spPr bwMode="auto">
            <a:xfrm>
              <a:off x="8169276" y="2693988"/>
              <a:ext cx="14288" cy="122238"/>
            </a:xfrm>
            <a:custGeom>
              <a:avLst/>
              <a:gdLst>
                <a:gd name="T0" fmla="*/ 0 w 9"/>
                <a:gd name="T1" fmla="*/ 77 h 77"/>
                <a:gd name="T2" fmla="*/ 0 w 9"/>
                <a:gd name="T3" fmla="*/ 9 h 77"/>
                <a:gd name="T4" fmla="*/ 9 w 9"/>
                <a:gd name="T5" fmla="*/ 0 h 77"/>
                <a:gd name="T6" fmla="*/ 9 w 9"/>
                <a:gd name="T7" fmla="*/ 67 h 77"/>
                <a:gd name="T8" fmla="*/ 0 w 9"/>
                <a:gd name="T9" fmla="*/ 77 h 77"/>
              </a:gdLst>
              <a:ahLst/>
              <a:cxnLst>
                <a:cxn ang="0">
                  <a:pos x="T0" y="T1"/>
                </a:cxn>
                <a:cxn ang="0">
                  <a:pos x="T2" y="T3"/>
                </a:cxn>
                <a:cxn ang="0">
                  <a:pos x="T4" y="T5"/>
                </a:cxn>
                <a:cxn ang="0">
                  <a:pos x="T6" y="T7"/>
                </a:cxn>
                <a:cxn ang="0">
                  <a:pos x="T8" y="T9"/>
                </a:cxn>
              </a:cxnLst>
              <a:rect l="0" t="0" r="r" b="b"/>
              <a:pathLst>
                <a:path w="9" h="77">
                  <a:moveTo>
                    <a:pt x="0" y="77"/>
                  </a:moveTo>
                  <a:lnTo>
                    <a:pt x="0" y="9"/>
                  </a:lnTo>
                  <a:lnTo>
                    <a:pt x="9" y="0"/>
                  </a:lnTo>
                  <a:lnTo>
                    <a:pt x="9" y="67"/>
                  </a:lnTo>
                  <a:lnTo>
                    <a:pt x="0" y="77"/>
                  </a:lnTo>
                  <a:close/>
                </a:path>
              </a:pathLst>
            </a:custGeom>
            <a:solidFill>
              <a:srgbClr val="B65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1713">
              <a:extLst>
                <a:ext uri="{FF2B5EF4-FFF2-40B4-BE49-F238E27FC236}">
                  <a16:creationId xmlns:a16="http://schemas.microsoft.com/office/drawing/2014/main" id="{B1C0F73E-46D5-428D-9DA4-30B02124EBA8}"/>
                </a:ext>
              </a:extLst>
            </p:cNvPr>
            <p:cNvSpPr>
              <a:spLocks noEditPoints="1"/>
            </p:cNvSpPr>
            <p:nvPr/>
          </p:nvSpPr>
          <p:spPr bwMode="auto">
            <a:xfrm>
              <a:off x="7454901" y="3070226"/>
              <a:ext cx="420688" cy="460375"/>
            </a:xfrm>
            <a:custGeom>
              <a:avLst/>
              <a:gdLst>
                <a:gd name="T0" fmla="*/ 0 w 513"/>
                <a:gd name="T1" fmla="*/ 561 h 561"/>
                <a:gd name="T2" fmla="*/ 0 w 513"/>
                <a:gd name="T3" fmla="*/ 431 h 561"/>
                <a:gd name="T4" fmla="*/ 24 w 513"/>
                <a:gd name="T5" fmla="*/ 407 h 561"/>
                <a:gd name="T6" fmla="*/ 19 w 513"/>
                <a:gd name="T7" fmla="*/ 488 h 561"/>
                <a:gd name="T8" fmla="*/ 19 w 513"/>
                <a:gd name="T9" fmla="*/ 488 h 561"/>
                <a:gd name="T10" fmla="*/ 19 w 513"/>
                <a:gd name="T11" fmla="*/ 488 h 561"/>
                <a:gd name="T12" fmla="*/ 19 w 513"/>
                <a:gd name="T13" fmla="*/ 488 h 561"/>
                <a:gd name="T14" fmla="*/ 19 w 513"/>
                <a:gd name="T15" fmla="*/ 488 h 561"/>
                <a:gd name="T16" fmla="*/ 19 w 513"/>
                <a:gd name="T17" fmla="*/ 489 h 561"/>
                <a:gd name="T18" fmla="*/ 19 w 513"/>
                <a:gd name="T19" fmla="*/ 489 h 561"/>
                <a:gd name="T20" fmla="*/ 19 w 513"/>
                <a:gd name="T21" fmla="*/ 489 h 561"/>
                <a:gd name="T22" fmla="*/ 19 w 513"/>
                <a:gd name="T23" fmla="*/ 490 h 561"/>
                <a:gd name="T24" fmla="*/ 19 w 513"/>
                <a:gd name="T25" fmla="*/ 490 h 561"/>
                <a:gd name="T26" fmla="*/ 21 w 513"/>
                <a:gd name="T27" fmla="*/ 541 h 561"/>
                <a:gd name="T28" fmla="*/ 0 w 513"/>
                <a:gd name="T29" fmla="*/ 561 h 561"/>
                <a:gd name="T30" fmla="*/ 428 w 513"/>
                <a:gd name="T31" fmla="*/ 133 h 561"/>
                <a:gd name="T32" fmla="*/ 317 w 513"/>
                <a:gd name="T33" fmla="*/ 114 h 561"/>
                <a:gd name="T34" fmla="*/ 431 w 513"/>
                <a:gd name="T35" fmla="*/ 0 h 561"/>
                <a:gd name="T36" fmla="*/ 513 w 513"/>
                <a:gd name="T37" fmla="*/ 48 h 561"/>
                <a:gd name="T38" fmla="*/ 428 w 513"/>
                <a:gd name="T39" fmla="*/ 13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561">
                  <a:moveTo>
                    <a:pt x="0" y="561"/>
                  </a:moveTo>
                  <a:lnTo>
                    <a:pt x="0" y="431"/>
                  </a:lnTo>
                  <a:cubicBezTo>
                    <a:pt x="8" y="423"/>
                    <a:pt x="16" y="415"/>
                    <a:pt x="24" y="407"/>
                  </a:cubicBezTo>
                  <a:cubicBezTo>
                    <a:pt x="21" y="432"/>
                    <a:pt x="19" y="459"/>
                    <a:pt x="19" y="488"/>
                  </a:cubicBezTo>
                  <a:lnTo>
                    <a:pt x="19" y="488"/>
                  </a:lnTo>
                  <a:lnTo>
                    <a:pt x="19" y="488"/>
                  </a:lnTo>
                  <a:lnTo>
                    <a:pt x="19" y="488"/>
                  </a:lnTo>
                  <a:lnTo>
                    <a:pt x="19" y="488"/>
                  </a:lnTo>
                  <a:lnTo>
                    <a:pt x="19" y="489"/>
                  </a:lnTo>
                  <a:lnTo>
                    <a:pt x="19" y="489"/>
                  </a:lnTo>
                  <a:lnTo>
                    <a:pt x="19" y="489"/>
                  </a:lnTo>
                  <a:lnTo>
                    <a:pt x="19" y="490"/>
                  </a:lnTo>
                  <a:cubicBezTo>
                    <a:pt x="19" y="490"/>
                    <a:pt x="19" y="490"/>
                    <a:pt x="19" y="490"/>
                  </a:cubicBezTo>
                  <a:cubicBezTo>
                    <a:pt x="19" y="507"/>
                    <a:pt x="20" y="524"/>
                    <a:pt x="21" y="541"/>
                  </a:cubicBezTo>
                  <a:lnTo>
                    <a:pt x="0" y="561"/>
                  </a:lnTo>
                  <a:moveTo>
                    <a:pt x="428" y="133"/>
                  </a:moveTo>
                  <a:cubicBezTo>
                    <a:pt x="390" y="121"/>
                    <a:pt x="352" y="114"/>
                    <a:pt x="317" y="114"/>
                  </a:cubicBezTo>
                  <a:cubicBezTo>
                    <a:pt x="355" y="76"/>
                    <a:pt x="393" y="38"/>
                    <a:pt x="431" y="0"/>
                  </a:cubicBezTo>
                  <a:lnTo>
                    <a:pt x="513" y="48"/>
                  </a:lnTo>
                  <a:lnTo>
                    <a:pt x="428" y="133"/>
                  </a:lnTo>
                  <a:close/>
                </a:path>
              </a:pathLst>
            </a:custGeom>
            <a:solidFill>
              <a:srgbClr val="CBB5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714">
              <a:extLst>
                <a:ext uri="{FF2B5EF4-FFF2-40B4-BE49-F238E27FC236}">
                  <a16:creationId xmlns:a16="http://schemas.microsoft.com/office/drawing/2014/main" id="{940D9D2A-84D8-4C3B-9304-B6EFC1589DFB}"/>
                </a:ext>
              </a:extLst>
            </p:cNvPr>
            <p:cNvSpPr>
              <a:spLocks noEditPoints="1"/>
            </p:cNvSpPr>
            <p:nvPr/>
          </p:nvSpPr>
          <p:spPr bwMode="auto">
            <a:xfrm>
              <a:off x="7470776" y="3190876"/>
              <a:ext cx="269875" cy="301625"/>
            </a:xfrm>
            <a:custGeom>
              <a:avLst/>
              <a:gdLst>
                <a:gd name="T0" fmla="*/ 27 w 329"/>
                <a:gd name="T1" fmla="*/ 368 h 368"/>
                <a:gd name="T2" fmla="*/ 27 w 329"/>
                <a:gd name="T3" fmla="*/ 355 h 368"/>
                <a:gd name="T4" fmla="*/ 42 w 329"/>
                <a:gd name="T5" fmla="*/ 222 h 368"/>
                <a:gd name="T6" fmla="*/ 73 w 329"/>
                <a:gd name="T7" fmla="*/ 191 h 368"/>
                <a:gd name="T8" fmla="*/ 105 w 329"/>
                <a:gd name="T9" fmla="*/ 209 h 368"/>
                <a:gd name="T10" fmla="*/ 114 w 329"/>
                <a:gd name="T11" fmla="*/ 212 h 368"/>
                <a:gd name="T12" fmla="*/ 130 w 329"/>
                <a:gd name="T13" fmla="*/ 188 h 368"/>
                <a:gd name="T14" fmla="*/ 115 w 329"/>
                <a:gd name="T15" fmla="*/ 149 h 368"/>
                <a:gd name="T16" fmla="*/ 261 w 329"/>
                <a:gd name="T17" fmla="*/ 3 h 368"/>
                <a:gd name="T18" fmla="*/ 302 w 329"/>
                <a:gd name="T19" fmla="*/ 0 h 368"/>
                <a:gd name="T20" fmla="*/ 307 w 329"/>
                <a:gd name="T21" fmla="*/ 0 h 368"/>
                <a:gd name="T22" fmla="*/ 329 w 329"/>
                <a:gd name="T23" fmla="*/ 66 h 368"/>
                <a:gd name="T24" fmla="*/ 27 w 329"/>
                <a:gd name="T25" fmla="*/ 368 h 368"/>
                <a:gd name="T26" fmla="*/ 0 w 329"/>
                <a:gd name="T27" fmla="*/ 342 h 368"/>
                <a:gd name="T28" fmla="*/ 0 w 329"/>
                <a:gd name="T29" fmla="*/ 342 h 368"/>
                <a:gd name="T30" fmla="*/ 0 w 329"/>
                <a:gd name="T31" fmla="*/ 342 h 368"/>
                <a:gd name="T32" fmla="*/ 0 w 329"/>
                <a:gd name="T33" fmla="*/ 341 h 368"/>
                <a:gd name="T34" fmla="*/ 0 w 329"/>
                <a:gd name="T35" fmla="*/ 341 h 368"/>
                <a:gd name="T36" fmla="*/ 0 w 329"/>
                <a:gd name="T37" fmla="*/ 341 h 368"/>
                <a:gd name="T38" fmla="*/ 0 w 329"/>
                <a:gd name="T39" fmla="*/ 341 h 368"/>
                <a:gd name="T40" fmla="*/ 0 w 329"/>
                <a:gd name="T41" fmla="*/ 340 h 368"/>
                <a:gd name="T42" fmla="*/ 0 w 329"/>
                <a:gd name="T43" fmla="*/ 34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9" h="368">
                  <a:moveTo>
                    <a:pt x="27" y="368"/>
                  </a:moveTo>
                  <a:cubicBezTo>
                    <a:pt x="27" y="363"/>
                    <a:pt x="27" y="359"/>
                    <a:pt x="27" y="355"/>
                  </a:cubicBezTo>
                  <a:cubicBezTo>
                    <a:pt x="27" y="306"/>
                    <a:pt x="32" y="261"/>
                    <a:pt x="42" y="222"/>
                  </a:cubicBezTo>
                  <a:cubicBezTo>
                    <a:pt x="53" y="211"/>
                    <a:pt x="63" y="201"/>
                    <a:pt x="73" y="191"/>
                  </a:cubicBezTo>
                  <a:lnTo>
                    <a:pt x="105" y="209"/>
                  </a:lnTo>
                  <a:cubicBezTo>
                    <a:pt x="108" y="211"/>
                    <a:pt x="111" y="212"/>
                    <a:pt x="114" y="212"/>
                  </a:cubicBezTo>
                  <a:cubicBezTo>
                    <a:pt x="125" y="212"/>
                    <a:pt x="135" y="200"/>
                    <a:pt x="130" y="188"/>
                  </a:cubicBezTo>
                  <a:lnTo>
                    <a:pt x="115" y="149"/>
                  </a:lnTo>
                  <a:cubicBezTo>
                    <a:pt x="164" y="100"/>
                    <a:pt x="212" y="52"/>
                    <a:pt x="261" y="3"/>
                  </a:cubicBezTo>
                  <a:cubicBezTo>
                    <a:pt x="274" y="1"/>
                    <a:pt x="288" y="0"/>
                    <a:pt x="302" y="0"/>
                  </a:cubicBezTo>
                  <a:cubicBezTo>
                    <a:pt x="304" y="0"/>
                    <a:pt x="305" y="0"/>
                    <a:pt x="307" y="0"/>
                  </a:cubicBezTo>
                  <a:lnTo>
                    <a:pt x="329" y="66"/>
                  </a:lnTo>
                  <a:lnTo>
                    <a:pt x="27" y="368"/>
                  </a:lnTo>
                  <a:close/>
                  <a:moveTo>
                    <a:pt x="0" y="342"/>
                  </a:moveTo>
                  <a:cubicBezTo>
                    <a:pt x="0" y="342"/>
                    <a:pt x="0" y="342"/>
                    <a:pt x="0" y="342"/>
                  </a:cubicBezTo>
                  <a:cubicBezTo>
                    <a:pt x="0" y="342"/>
                    <a:pt x="0" y="342"/>
                    <a:pt x="0" y="342"/>
                  </a:cubicBezTo>
                  <a:close/>
                  <a:moveTo>
                    <a:pt x="0" y="341"/>
                  </a:moveTo>
                  <a:lnTo>
                    <a:pt x="0" y="341"/>
                  </a:lnTo>
                  <a:lnTo>
                    <a:pt x="0" y="341"/>
                  </a:lnTo>
                  <a:close/>
                  <a:moveTo>
                    <a:pt x="0" y="341"/>
                  </a:moveTo>
                  <a:lnTo>
                    <a:pt x="0" y="340"/>
                  </a:lnTo>
                  <a:lnTo>
                    <a:pt x="0" y="341"/>
                  </a:lnTo>
                  <a:close/>
                </a:path>
              </a:pathLst>
            </a:custGeom>
            <a:solidFill>
              <a:srgbClr val="9BC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1715">
              <a:extLst>
                <a:ext uri="{FF2B5EF4-FFF2-40B4-BE49-F238E27FC236}">
                  <a16:creationId xmlns:a16="http://schemas.microsoft.com/office/drawing/2014/main" id="{C7F65523-7AF5-4DCF-A1E7-4C1735F78650}"/>
                </a:ext>
              </a:extLst>
            </p:cNvPr>
            <p:cNvSpPr>
              <a:spLocks/>
            </p:cNvSpPr>
            <p:nvPr/>
          </p:nvSpPr>
          <p:spPr bwMode="auto">
            <a:xfrm>
              <a:off x="7721601" y="3190876"/>
              <a:ext cx="63500" cy="53975"/>
            </a:xfrm>
            <a:custGeom>
              <a:avLst/>
              <a:gdLst>
                <a:gd name="T0" fmla="*/ 22 w 77"/>
                <a:gd name="T1" fmla="*/ 66 h 66"/>
                <a:gd name="T2" fmla="*/ 0 w 77"/>
                <a:gd name="T3" fmla="*/ 0 h 66"/>
                <a:gd name="T4" fmla="*/ 77 w 77"/>
                <a:gd name="T5" fmla="*/ 10 h 66"/>
                <a:gd name="T6" fmla="*/ 22 w 77"/>
                <a:gd name="T7" fmla="*/ 66 h 66"/>
              </a:gdLst>
              <a:ahLst/>
              <a:cxnLst>
                <a:cxn ang="0">
                  <a:pos x="T0" y="T1"/>
                </a:cxn>
                <a:cxn ang="0">
                  <a:pos x="T2" y="T3"/>
                </a:cxn>
                <a:cxn ang="0">
                  <a:pos x="T4" y="T5"/>
                </a:cxn>
                <a:cxn ang="0">
                  <a:pos x="T6" y="T7"/>
                </a:cxn>
              </a:cxnLst>
              <a:rect l="0" t="0" r="r" b="b"/>
              <a:pathLst>
                <a:path w="77" h="66">
                  <a:moveTo>
                    <a:pt x="22" y="66"/>
                  </a:moveTo>
                  <a:lnTo>
                    <a:pt x="0" y="0"/>
                  </a:lnTo>
                  <a:cubicBezTo>
                    <a:pt x="24" y="0"/>
                    <a:pt x="50" y="4"/>
                    <a:pt x="77" y="10"/>
                  </a:cubicBezTo>
                  <a:lnTo>
                    <a:pt x="22" y="66"/>
                  </a:lnTo>
                  <a:close/>
                </a:path>
              </a:pathLst>
            </a:custGeom>
            <a:solidFill>
              <a:srgbClr val="D365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1716">
              <a:extLst>
                <a:ext uri="{FF2B5EF4-FFF2-40B4-BE49-F238E27FC236}">
                  <a16:creationId xmlns:a16="http://schemas.microsoft.com/office/drawing/2014/main" id="{5400112F-DEDC-4F8D-B77A-5EAB392ECEEB}"/>
                </a:ext>
              </a:extLst>
            </p:cNvPr>
            <p:cNvSpPr>
              <a:spLocks noEditPoints="1"/>
            </p:cNvSpPr>
            <p:nvPr/>
          </p:nvSpPr>
          <p:spPr bwMode="auto">
            <a:xfrm>
              <a:off x="7470776" y="3163888"/>
              <a:ext cx="334963" cy="349250"/>
            </a:xfrm>
            <a:custGeom>
              <a:avLst/>
              <a:gdLst>
                <a:gd name="T0" fmla="*/ 2 w 409"/>
                <a:gd name="T1" fmla="*/ 427 h 427"/>
                <a:gd name="T2" fmla="*/ 0 w 409"/>
                <a:gd name="T3" fmla="*/ 376 h 427"/>
                <a:gd name="T4" fmla="*/ 2 w 409"/>
                <a:gd name="T5" fmla="*/ 427 h 427"/>
                <a:gd name="T6" fmla="*/ 2 w 409"/>
                <a:gd name="T7" fmla="*/ 427 h 427"/>
                <a:gd name="T8" fmla="*/ 0 w 409"/>
                <a:gd name="T9" fmla="*/ 376 h 427"/>
                <a:gd name="T10" fmla="*/ 0 w 409"/>
                <a:gd name="T11" fmla="*/ 375 h 427"/>
                <a:gd name="T12" fmla="*/ 0 w 409"/>
                <a:gd name="T13" fmla="*/ 376 h 427"/>
                <a:gd name="T14" fmla="*/ 0 w 409"/>
                <a:gd name="T15" fmla="*/ 375 h 427"/>
                <a:gd name="T16" fmla="*/ 0 w 409"/>
                <a:gd name="T17" fmla="*/ 375 h 427"/>
                <a:gd name="T18" fmla="*/ 0 w 409"/>
                <a:gd name="T19" fmla="*/ 375 h 427"/>
                <a:gd name="T20" fmla="*/ 0 w 409"/>
                <a:gd name="T21" fmla="*/ 374 h 427"/>
                <a:gd name="T22" fmla="*/ 5 w 409"/>
                <a:gd name="T23" fmla="*/ 293 h 427"/>
                <a:gd name="T24" fmla="*/ 5 w 409"/>
                <a:gd name="T25" fmla="*/ 293 h 427"/>
                <a:gd name="T26" fmla="*/ 0 w 409"/>
                <a:gd name="T27" fmla="*/ 374 h 427"/>
                <a:gd name="T28" fmla="*/ 409 w 409"/>
                <a:gd name="T29" fmla="*/ 19 h 427"/>
                <a:gd name="T30" fmla="*/ 298 w 409"/>
                <a:gd name="T31" fmla="*/ 0 h 427"/>
                <a:gd name="T32" fmla="*/ 298 w 409"/>
                <a:gd name="T33" fmla="*/ 0 h 427"/>
                <a:gd name="T34" fmla="*/ 409 w 409"/>
                <a:gd name="T35" fmla="*/ 19 h 427"/>
                <a:gd name="T36" fmla="*/ 409 w 409"/>
                <a:gd name="T37" fmla="*/ 19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9" h="427">
                  <a:moveTo>
                    <a:pt x="2" y="427"/>
                  </a:moveTo>
                  <a:cubicBezTo>
                    <a:pt x="1" y="410"/>
                    <a:pt x="0" y="393"/>
                    <a:pt x="0" y="376"/>
                  </a:cubicBezTo>
                  <a:cubicBezTo>
                    <a:pt x="0" y="393"/>
                    <a:pt x="1" y="410"/>
                    <a:pt x="2" y="427"/>
                  </a:cubicBezTo>
                  <a:lnTo>
                    <a:pt x="2" y="427"/>
                  </a:lnTo>
                  <a:moveTo>
                    <a:pt x="0" y="376"/>
                  </a:moveTo>
                  <a:lnTo>
                    <a:pt x="0" y="375"/>
                  </a:lnTo>
                  <a:lnTo>
                    <a:pt x="0" y="376"/>
                  </a:lnTo>
                  <a:close/>
                  <a:moveTo>
                    <a:pt x="0" y="375"/>
                  </a:moveTo>
                  <a:lnTo>
                    <a:pt x="0" y="375"/>
                  </a:lnTo>
                  <a:lnTo>
                    <a:pt x="0" y="375"/>
                  </a:lnTo>
                  <a:close/>
                  <a:moveTo>
                    <a:pt x="0" y="374"/>
                  </a:moveTo>
                  <a:cubicBezTo>
                    <a:pt x="0" y="345"/>
                    <a:pt x="2" y="318"/>
                    <a:pt x="5" y="293"/>
                  </a:cubicBezTo>
                  <a:lnTo>
                    <a:pt x="5" y="293"/>
                  </a:lnTo>
                  <a:cubicBezTo>
                    <a:pt x="2" y="318"/>
                    <a:pt x="0" y="345"/>
                    <a:pt x="0" y="374"/>
                  </a:cubicBezTo>
                  <a:close/>
                  <a:moveTo>
                    <a:pt x="409" y="19"/>
                  </a:moveTo>
                  <a:cubicBezTo>
                    <a:pt x="371" y="7"/>
                    <a:pt x="333" y="1"/>
                    <a:pt x="298" y="0"/>
                  </a:cubicBezTo>
                  <a:lnTo>
                    <a:pt x="298" y="0"/>
                  </a:lnTo>
                  <a:cubicBezTo>
                    <a:pt x="333" y="0"/>
                    <a:pt x="371" y="7"/>
                    <a:pt x="409" y="19"/>
                  </a:cubicBezTo>
                  <a:lnTo>
                    <a:pt x="409" y="19"/>
                  </a:lnTo>
                </a:path>
              </a:pathLst>
            </a:custGeom>
            <a:solidFill>
              <a:srgbClr val="B09D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1717">
              <a:extLst>
                <a:ext uri="{FF2B5EF4-FFF2-40B4-BE49-F238E27FC236}">
                  <a16:creationId xmlns:a16="http://schemas.microsoft.com/office/drawing/2014/main" id="{96491EFE-58D6-426A-BDA6-662DDA9757E7}"/>
                </a:ext>
              </a:extLst>
            </p:cNvPr>
            <p:cNvSpPr>
              <a:spLocks noEditPoints="1"/>
            </p:cNvSpPr>
            <p:nvPr/>
          </p:nvSpPr>
          <p:spPr bwMode="auto">
            <a:xfrm>
              <a:off x="7470776" y="3165476"/>
              <a:ext cx="250825" cy="347663"/>
            </a:xfrm>
            <a:custGeom>
              <a:avLst/>
              <a:gdLst>
                <a:gd name="T0" fmla="*/ 2 w 307"/>
                <a:gd name="T1" fmla="*/ 425 h 425"/>
                <a:gd name="T2" fmla="*/ 0 w 307"/>
                <a:gd name="T3" fmla="*/ 374 h 425"/>
                <a:gd name="T4" fmla="*/ 0 w 307"/>
                <a:gd name="T5" fmla="*/ 374 h 425"/>
                <a:gd name="T6" fmla="*/ 0 w 307"/>
                <a:gd name="T7" fmla="*/ 373 h 425"/>
                <a:gd name="T8" fmla="*/ 0 w 307"/>
                <a:gd name="T9" fmla="*/ 373 h 425"/>
                <a:gd name="T10" fmla="*/ 0 w 307"/>
                <a:gd name="T11" fmla="*/ 373 h 425"/>
                <a:gd name="T12" fmla="*/ 0 w 307"/>
                <a:gd name="T13" fmla="*/ 372 h 425"/>
                <a:gd name="T14" fmla="*/ 0 w 307"/>
                <a:gd name="T15" fmla="*/ 372 h 425"/>
                <a:gd name="T16" fmla="*/ 0 w 307"/>
                <a:gd name="T17" fmla="*/ 372 h 425"/>
                <a:gd name="T18" fmla="*/ 5 w 307"/>
                <a:gd name="T19" fmla="*/ 291 h 425"/>
                <a:gd name="T20" fmla="*/ 42 w 307"/>
                <a:gd name="T21" fmla="*/ 254 h 425"/>
                <a:gd name="T22" fmla="*/ 27 w 307"/>
                <a:gd name="T23" fmla="*/ 387 h 425"/>
                <a:gd name="T24" fmla="*/ 27 w 307"/>
                <a:gd name="T25" fmla="*/ 400 h 425"/>
                <a:gd name="T26" fmla="*/ 2 w 307"/>
                <a:gd name="T27" fmla="*/ 425 h 425"/>
                <a:gd name="T28" fmla="*/ 261 w 307"/>
                <a:gd name="T29" fmla="*/ 35 h 425"/>
                <a:gd name="T30" fmla="*/ 296 w 307"/>
                <a:gd name="T31" fmla="*/ 0 h 425"/>
                <a:gd name="T32" fmla="*/ 307 w 307"/>
                <a:gd name="T33" fmla="*/ 32 h 425"/>
                <a:gd name="T34" fmla="*/ 302 w 307"/>
                <a:gd name="T35" fmla="*/ 32 h 425"/>
                <a:gd name="T36" fmla="*/ 261 w 307"/>
                <a:gd name="T37" fmla="*/ 3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425">
                  <a:moveTo>
                    <a:pt x="2" y="425"/>
                  </a:moveTo>
                  <a:cubicBezTo>
                    <a:pt x="1" y="408"/>
                    <a:pt x="0" y="391"/>
                    <a:pt x="0" y="374"/>
                  </a:cubicBezTo>
                  <a:cubicBezTo>
                    <a:pt x="0" y="374"/>
                    <a:pt x="0" y="374"/>
                    <a:pt x="0" y="374"/>
                  </a:cubicBezTo>
                  <a:lnTo>
                    <a:pt x="0" y="373"/>
                  </a:lnTo>
                  <a:lnTo>
                    <a:pt x="0" y="373"/>
                  </a:lnTo>
                  <a:lnTo>
                    <a:pt x="0" y="373"/>
                  </a:lnTo>
                  <a:lnTo>
                    <a:pt x="0" y="372"/>
                  </a:lnTo>
                  <a:lnTo>
                    <a:pt x="0" y="372"/>
                  </a:lnTo>
                  <a:lnTo>
                    <a:pt x="0" y="372"/>
                  </a:lnTo>
                  <a:cubicBezTo>
                    <a:pt x="0" y="343"/>
                    <a:pt x="2" y="316"/>
                    <a:pt x="5" y="291"/>
                  </a:cubicBezTo>
                  <a:cubicBezTo>
                    <a:pt x="17" y="279"/>
                    <a:pt x="30" y="266"/>
                    <a:pt x="42" y="254"/>
                  </a:cubicBezTo>
                  <a:cubicBezTo>
                    <a:pt x="32" y="293"/>
                    <a:pt x="27" y="338"/>
                    <a:pt x="27" y="387"/>
                  </a:cubicBezTo>
                  <a:cubicBezTo>
                    <a:pt x="27" y="391"/>
                    <a:pt x="27" y="395"/>
                    <a:pt x="27" y="400"/>
                  </a:cubicBezTo>
                  <a:lnTo>
                    <a:pt x="2" y="425"/>
                  </a:lnTo>
                  <a:moveTo>
                    <a:pt x="261" y="35"/>
                  </a:moveTo>
                  <a:cubicBezTo>
                    <a:pt x="273" y="23"/>
                    <a:pt x="284" y="12"/>
                    <a:pt x="296" y="0"/>
                  </a:cubicBezTo>
                  <a:lnTo>
                    <a:pt x="307" y="32"/>
                  </a:lnTo>
                  <a:cubicBezTo>
                    <a:pt x="305" y="32"/>
                    <a:pt x="304" y="32"/>
                    <a:pt x="302" y="32"/>
                  </a:cubicBezTo>
                  <a:cubicBezTo>
                    <a:pt x="288" y="32"/>
                    <a:pt x="274" y="33"/>
                    <a:pt x="261" y="35"/>
                  </a:cubicBezTo>
                  <a:close/>
                </a:path>
              </a:pathLst>
            </a:custGeom>
            <a:solidFill>
              <a:srgbClr val="86AA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1718">
              <a:extLst>
                <a:ext uri="{FF2B5EF4-FFF2-40B4-BE49-F238E27FC236}">
                  <a16:creationId xmlns:a16="http://schemas.microsoft.com/office/drawing/2014/main" id="{400E1B14-5F6A-474C-93E0-A14AE758F47C}"/>
                </a:ext>
              </a:extLst>
            </p:cNvPr>
            <p:cNvSpPr>
              <a:spLocks/>
            </p:cNvSpPr>
            <p:nvPr/>
          </p:nvSpPr>
          <p:spPr bwMode="auto">
            <a:xfrm>
              <a:off x="7713663" y="3163888"/>
              <a:ext cx="92075" cy="34925"/>
            </a:xfrm>
            <a:custGeom>
              <a:avLst/>
              <a:gdLst>
                <a:gd name="T0" fmla="*/ 88 w 113"/>
                <a:gd name="T1" fmla="*/ 44 h 44"/>
                <a:gd name="T2" fmla="*/ 11 w 113"/>
                <a:gd name="T3" fmla="*/ 34 h 44"/>
                <a:gd name="T4" fmla="*/ 0 w 113"/>
                <a:gd name="T5" fmla="*/ 2 h 44"/>
                <a:gd name="T6" fmla="*/ 2 w 113"/>
                <a:gd name="T7" fmla="*/ 0 h 44"/>
                <a:gd name="T8" fmla="*/ 113 w 113"/>
                <a:gd name="T9" fmla="*/ 19 h 44"/>
                <a:gd name="T10" fmla="*/ 88 w 113"/>
                <a:gd name="T11" fmla="*/ 44 h 44"/>
              </a:gdLst>
              <a:ahLst/>
              <a:cxnLst>
                <a:cxn ang="0">
                  <a:pos x="T0" y="T1"/>
                </a:cxn>
                <a:cxn ang="0">
                  <a:pos x="T2" y="T3"/>
                </a:cxn>
                <a:cxn ang="0">
                  <a:pos x="T4" y="T5"/>
                </a:cxn>
                <a:cxn ang="0">
                  <a:pos x="T6" y="T7"/>
                </a:cxn>
                <a:cxn ang="0">
                  <a:pos x="T8" y="T9"/>
                </a:cxn>
                <a:cxn ang="0">
                  <a:pos x="T10" y="T11"/>
                </a:cxn>
              </a:cxnLst>
              <a:rect l="0" t="0" r="r" b="b"/>
              <a:pathLst>
                <a:path w="113" h="44">
                  <a:moveTo>
                    <a:pt x="88" y="44"/>
                  </a:moveTo>
                  <a:cubicBezTo>
                    <a:pt x="61" y="38"/>
                    <a:pt x="35" y="34"/>
                    <a:pt x="11" y="34"/>
                  </a:cubicBezTo>
                  <a:lnTo>
                    <a:pt x="0" y="2"/>
                  </a:lnTo>
                  <a:lnTo>
                    <a:pt x="2" y="0"/>
                  </a:lnTo>
                  <a:cubicBezTo>
                    <a:pt x="37" y="1"/>
                    <a:pt x="75" y="7"/>
                    <a:pt x="113" y="19"/>
                  </a:cubicBezTo>
                  <a:lnTo>
                    <a:pt x="88" y="44"/>
                  </a:lnTo>
                  <a:close/>
                </a:path>
              </a:pathLst>
            </a:custGeom>
            <a:solidFill>
              <a:srgbClr val="B65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1719">
              <a:extLst>
                <a:ext uri="{FF2B5EF4-FFF2-40B4-BE49-F238E27FC236}">
                  <a16:creationId xmlns:a16="http://schemas.microsoft.com/office/drawing/2014/main" id="{06B748D9-7112-4DD3-9C0F-FDB146F26E40}"/>
                </a:ext>
              </a:extLst>
            </p:cNvPr>
            <p:cNvSpPr>
              <a:spLocks/>
            </p:cNvSpPr>
            <p:nvPr/>
          </p:nvSpPr>
          <p:spPr bwMode="auto">
            <a:xfrm>
              <a:off x="7848601" y="4797426"/>
              <a:ext cx="395288" cy="503238"/>
            </a:xfrm>
            <a:custGeom>
              <a:avLst/>
              <a:gdLst>
                <a:gd name="T0" fmla="*/ 441 w 483"/>
                <a:gd name="T1" fmla="*/ 243 h 614"/>
                <a:gd name="T2" fmla="*/ 42 w 483"/>
                <a:gd name="T3" fmla="*/ 13 h 614"/>
                <a:gd name="T4" fmla="*/ 0 w 483"/>
                <a:gd name="T5" fmla="*/ 52 h 614"/>
                <a:gd name="T6" fmla="*/ 0 w 483"/>
                <a:gd name="T7" fmla="*/ 336 h 614"/>
                <a:gd name="T8" fmla="*/ 483 w 483"/>
                <a:gd name="T9" fmla="*/ 614 h 614"/>
                <a:gd name="T10" fmla="*/ 483 w 483"/>
                <a:gd name="T11" fmla="*/ 330 h 614"/>
                <a:gd name="T12" fmla="*/ 441 w 483"/>
                <a:gd name="T13" fmla="*/ 243 h 614"/>
              </a:gdLst>
              <a:ahLst/>
              <a:cxnLst>
                <a:cxn ang="0">
                  <a:pos x="T0" y="T1"/>
                </a:cxn>
                <a:cxn ang="0">
                  <a:pos x="T2" y="T3"/>
                </a:cxn>
                <a:cxn ang="0">
                  <a:pos x="T4" y="T5"/>
                </a:cxn>
                <a:cxn ang="0">
                  <a:pos x="T6" y="T7"/>
                </a:cxn>
                <a:cxn ang="0">
                  <a:pos x="T8" y="T9"/>
                </a:cxn>
                <a:cxn ang="0">
                  <a:pos x="T10" y="T11"/>
                </a:cxn>
                <a:cxn ang="0">
                  <a:pos x="T12" y="T13"/>
                </a:cxn>
              </a:cxnLst>
              <a:rect l="0" t="0" r="r" b="b"/>
              <a:pathLst>
                <a:path w="483" h="614">
                  <a:moveTo>
                    <a:pt x="441" y="243"/>
                  </a:moveTo>
                  <a:lnTo>
                    <a:pt x="42" y="13"/>
                  </a:lnTo>
                  <a:cubicBezTo>
                    <a:pt x="19" y="0"/>
                    <a:pt x="0" y="17"/>
                    <a:pt x="0" y="52"/>
                  </a:cubicBezTo>
                  <a:lnTo>
                    <a:pt x="0" y="336"/>
                  </a:lnTo>
                  <a:lnTo>
                    <a:pt x="483" y="614"/>
                  </a:lnTo>
                  <a:lnTo>
                    <a:pt x="483" y="330"/>
                  </a:lnTo>
                  <a:cubicBezTo>
                    <a:pt x="483" y="296"/>
                    <a:pt x="464" y="257"/>
                    <a:pt x="441" y="243"/>
                  </a:cubicBezTo>
                  <a:close/>
                </a:path>
              </a:pathLst>
            </a:custGeom>
            <a:solidFill>
              <a:srgbClr val="533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1720">
              <a:extLst>
                <a:ext uri="{FF2B5EF4-FFF2-40B4-BE49-F238E27FC236}">
                  <a16:creationId xmlns:a16="http://schemas.microsoft.com/office/drawing/2014/main" id="{D41014C0-1B51-4EBB-8C1F-56377D0CB574}"/>
                </a:ext>
              </a:extLst>
            </p:cNvPr>
            <p:cNvSpPr>
              <a:spLocks/>
            </p:cNvSpPr>
            <p:nvPr/>
          </p:nvSpPr>
          <p:spPr bwMode="auto">
            <a:xfrm>
              <a:off x="7940676" y="4973638"/>
              <a:ext cx="211138" cy="141288"/>
            </a:xfrm>
            <a:custGeom>
              <a:avLst/>
              <a:gdLst>
                <a:gd name="T0" fmla="*/ 249 w 259"/>
                <a:gd name="T1" fmla="*/ 168 h 171"/>
                <a:gd name="T2" fmla="*/ 10 w 259"/>
                <a:gd name="T3" fmla="*/ 30 h 171"/>
                <a:gd name="T4" fmla="*/ 0 w 259"/>
                <a:gd name="T5" fmla="*/ 11 h 171"/>
                <a:gd name="T6" fmla="*/ 10 w 259"/>
                <a:gd name="T7" fmla="*/ 3 h 171"/>
                <a:gd name="T8" fmla="*/ 249 w 259"/>
                <a:gd name="T9" fmla="*/ 141 h 171"/>
                <a:gd name="T10" fmla="*/ 259 w 259"/>
                <a:gd name="T11" fmla="*/ 160 h 171"/>
                <a:gd name="T12" fmla="*/ 249 w 25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259" h="171">
                  <a:moveTo>
                    <a:pt x="249" y="168"/>
                  </a:moveTo>
                  <a:lnTo>
                    <a:pt x="10" y="30"/>
                  </a:lnTo>
                  <a:cubicBezTo>
                    <a:pt x="5" y="27"/>
                    <a:pt x="0" y="18"/>
                    <a:pt x="0" y="11"/>
                  </a:cubicBezTo>
                  <a:cubicBezTo>
                    <a:pt x="0" y="3"/>
                    <a:pt x="5" y="0"/>
                    <a:pt x="10" y="3"/>
                  </a:cubicBezTo>
                  <a:lnTo>
                    <a:pt x="249" y="141"/>
                  </a:lnTo>
                  <a:cubicBezTo>
                    <a:pt x="255" y="144"/>
                    <a:pt x="259" y="153"/>
                    <a:pt x="259" y="160"/>
                  </a:cubicBezTo>
                  <a:cubicBezTo>
                    <a:pt x="259" y="168"/>
                    <a:pt x="255" y="171"/>
                    <a:pt x="249" y="168"/>
                  </a:cubicBezTo>
                  <a:close/>
                </a:path>
              </a:pathLst>
            </a:custGeom>
            <a:solidFill>
              <a:srgbClr val="A18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721">
              <a:extLst>
                <a:ext uri="{FF2B5EF4-FFF2-40B4-BE49-F238E27FC236}">
                  <a16:creationId xmlns:a16="http://schemas.microsoft.com/office/drawing/2014/main" id="{B08A08CE-EBBB-428D-8B36-F0489DEAD767}"/>
                </a:ext>
              </a:extLst>
            </p:cNvPr>
            <p:cNvSpPr>
              <a:spLocks/>
            </p:cNvSpPr>
            <p:nvPr/>
          </p:nvSpPr>
          <p:spPr bwMode="auto">
            <a:xfrm>
              <a:off x="7940676" y="4914901"/>
              <a:ext cx="211138" cy="141288"/>
            </a:xfrm>
            <a:custGeom>
              <a:avLst/>
              <a:gdLst>
                <a:gd name="T0" fmla="*/ 249 w 259"/>
                <a:gd name="T1" fmla="*/ 169 h 172"/>
                <a:gd name="T2" fmla="*/ 10 w 259"/>
                <a:gd name="T3" fmla="*/ 31 h 172"/>
                <a:gd name="T4" fmla="*/ 0 w 259"/>
                <a:gd name="T5" fmla="*/ 11 h 172"/>
                <a:gd name="T6" fmla="*/ 10 w 259"/>
                <a:gd name="T7" fmla="*/ 3 h 172"/>
                <a:gd name="T8" fmla="*/ 249 w 259"/>
                <a:gd name="T9" fmla="*/ 141 h 172"/>
                <a:gd name="T10" fmla="*/ 259 w 259"/>
                <a:gd name="T11" fmla="*/ 161 h 172"/>
                <a:gd name="T12" fmla="*/ 249 w 25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259" h="172">
                  <a:moveTo>
                    <a:pt x="249" y="169"/>
                  </a:moveTo>
                  <a:lnTo>
                    <a:pt x="10" y="31"/>
                  </a:lnTo>
                  <a:cubicBezTo>
                    <a:pt x="5" y="28"/>
                    <a:pt x="0" y="19"/>
                    <a:pt x="0" y="11"/>
                  </a:cubicBezTo>
                  <a:cubicBezTo>
                    <a:pt x="0" y="4"/>
                    <a:pt x="5" y="0"/>
                    <a:pt x="10" y="3"/>
                  </a:cubicBezTo>
                  <a:lnTo>
                    <a:pt x="249" y="141"/>
                  </a:lnTo>
                  <a:cubicBezTo>
                    <a:pt x="255" y="145"/>
                    <a:pt x="259" y="153"/>
                    <a:pt x="259" y="161"/>
                  </a:cubicBezTo>
                  <a:cubicBezTo>
                    <a:pt x="259" y="168"/>
                    <a:pt x="255" y="172"/>
                    <a:pt x="249" y="169"/>
                  </a:cubicBezTo>
                  <a:close/>
                </a:path>
              </a:pathLst>
            </a:custGeom>
            <a:solidFill>
              <a:srgbClr val="A18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1722">
              <a:extLst>
                <a:ext uri="{FF2B5EF4-FFF2-40B4-BE49-F238E27FC236}">
                  <a16:creationId xmlns:a16="http://schemas.microsoft.com/office/drawing/2014/main" id="{74DE2926-92FA-46FB-BCCC-8ABA3250E62B}"/>
                </a:ext>
              </a:extLst>
            </p:cNvPr>
            <p:cNvSpPr>
              <a:spLocks/>
            </p:cNvSpPr>
            <p:nvPr/>
          </p:nvSpPr>
          <p:spPr bwMode="auto">
            <a:xfrm>
              <a:off x="7940676" y="5032376"/>
              <a:ext cx="211138" cy="141288"/>
            </a:xfrm>
            <a:custGeom>
              <a:avLst/>
              <a:gdLst>
                <a:gd name="T0" fmla="*/ 249 w 259"/>
                <a:gd name="T1" fmla="*/ 169 h 172"/>
                <a:gd name="T2" fmla="*/ 10 w 259"/>
                <a:gd name="T3" fmla="*/ 31 h 172"/>
                <a:gd name="T4" fmla="*/ 0 w 259"/>
                <a:gd name="T5" fmla="*/ 11 h 172"/>
                <a:gd name="T6" fmla="*/ 10 w 259"/>
                <a:gd name="T7" fmla="*/ 4 h 172"/>
                <a:gd name="T8" fmla="*/ 249 w 259"/>
                <a:gd name="T9" fmla="*/ 141 h 172"/>
                <a:gd name="T10" fmla="*/ 259 w 259"/>
                <a:gd name="T11" fmla="*/ 161 h 172"/>
                <a:gd name="T12" fmla="*/ 249 w 25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259" h="172">
                  <a:moveTo>
                    <a:pt x="249" y="169"/>
                  </a:moveTo>
                  <a:lnTo>
                    <a:pt x="10" y="31"/>
                  </a:lnTo>
                  <a:cubicBezTo>
                    <a:pt x="5" y="28"/>
                    <a:pt x="0" y="19"/>
                    <a:pt x="0" y="11"/>
                  </a:cubicBezTo>
                  <a:cubicBezTo>
                    <a:pt x="0" y="4"/>
                    <a:pt x="5" y="0"/>
                    <a:pt x="10" y="4"/>
                  </a:cubicBezTo>
                  <a:lnTo>
                    <a:pt x="249" y="141"/>
                  </a:lnTo>
                  <a:cubicBezTo>
                    <a:pt x="255" y="145"/>
                    <a:pt x="259" y="153"/>
                    <a:pt x="259" y="161"/>
                  </a:cubicBezTo>
                  <a:cubicBezTo>
                    <a:pt x="259" y="168"/>
                    <a:pt x="255" y="172"/>
                    <a:pt x="249" y="169"/>
                  </a:cubicBezTo>
                  <a:close/>
                </a:path>
              </a:pathLst>
            </a:custGeom>
            <a:solidFill>
              <a:srgbClr val="A18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1723">
              <a:extLst>
                <a:ext uri="{FF2B5EF4-FFF2-40B4-BE49-F238E27FC236}">
                  <a16:creationId xmlns:a16="http://schemas.microsoft.com/office/drawing/2014/main" id="{B4945B2A-7E63-4938-A997-86724FFA0227}"/>
                </a:ext>
              </a:extLst>
            </p:cNvPr>
            <p:cNvSpPr>
              <a:spLocks/>
            </p:cNvSpPr>
            <p:nvPr/>
          </p:nvSpPr>
          <p:spPr bwMode="auto">
            <a:xfrm>
              <a:off x="7694613" y="1576388"/>
              <a:ext cx="703263" cy="606425"/>
            </a:xfrm>
            <a:custGeom>
              <a:avLst/>
              <a:gdLst>
                <a:gd name="T0" fmla="*/ 0 w 859"/>
                <a:gd name="T1" fmla="*/ 0 h 739"/>
                <a:gd name="T2" fmla="*/ 0 w 859"/>
                <a:gd name="T3" fmla="*/ 124 h 739"/>
                <a:gd name="T4" fmla="*/ 134 w 859"/>
                <a:gd name="T5" fmla="*/ 355 h 739"/>
                <a:gd name="T6" fmla="*/ 725 w 859"/>
                <a:gd name="T7" fmla="*/ 697 h 739"/>
                <a:gd name="T8" fmla="*/ 859 w 859"/>
                <a:gd name="T9" fmla="*/ 620 h 739"/>
                <a:gd name="T10" fmla="*/ 859 w 859"/>
                <a:gd name="T11" fmla="*/ 496 h 739"/>
                <a:gd name="T12" fmla="*/ 0 w 859"/>
                <a:gd name="T13" fmla="*/ 0 h 739"/>
              </a:gdLst>
              <a:ahLst/>
              <a:cxnLst>
                <a:cxn ang="0">
                  <a:pos x="T0" y="T1"/>
                </a:cxn>
                <a:cxn ang="0">
                  <a:pos x="T2" y="T3"/>
                </a:cxn>
                <a:cxn ang="0">
                  <a:pos x="T4" y="T5"/>
                </a:cxn>
                <a:cxn ang="0">
                  <a:pos x="T6" y="T7"/>
                </a:cxn>
                <a:cxn ang="0">
                  <a:pos x="T8" y="T9"/>
                </a:cxn>
                <a:cxn ang="0">
                  <a:pos x="T10" y="T11"/>
                </a:cxn>
                <a:cxn ang="0">
                  <a:pos x="T12" y="T13"/>
                </a:cxn>
              </a:cxnLst>
              <a:rect l="0" t="0" r="r" b="b"/>
              <a:pathLst>
                <a:path w="859" h="739">
                  <a:moveTo>
                    <a:pt x="0" y="0"/>
                  </a:moveTo>
                  <a:lnTo>
                    <a:pt x="0" y="124"/>
                  </a:lnTo>
                  <a:cubicBezTo>
                    <a:pt x="0" y="209"/>
                    <a:pt x="61" y="313"/>
                    <a:pt x="134" y="355"/>
                  </a:cubicBezTo>
                  <a:lnTo>
                    <a:pt x="725" y="697"/>
                  </a:lnTo>
                  <a:cubicBezTo>
                    <a:pt x="799" y="739"/>
                    <a:pt x="859" y="705"/>
                    <a:pt x="859" y="620"/>
                  </a:cubicBezTo>
                  <a:lnTo>
                    <a:pt x="859" y="496"/>
                  </a:lnTo>
                  <a:lnTo>
                    <a:pt x="0" y="0"/>
                  </a:lnTo>
                </a:path>
              </a:pathLst>
            </a:custGeom>
            <a:solidFill>
              <a:srgbClr val="A18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1724">
              <a:extLst>
                <a:ext uri="{FF2B5EF4-FFF2-40B4-BE49-F238E27FC236}">
                  <a16:creationId xmlns:a16="http://schemas.microsoft.com/office/drawing/2014/main" id="{7CD92D08-B376-4D2F-B474-B8CE56098695}"/>
                </a:ext>
              </a:extLst>
            </p:cNvPr>
            <p:cNvSpPr>
              <a:spLocks/>
            </p:cNvSpPr>
            <p:nvPr/>
          </p:nvSpPr>
          <p:spPr bwMode="auto">
            <a:xfrm>
              <a:off x="7988301" y="1808163"/>
              <a:ext cx="115888" cy="171450"/>
            </a:xfrm>
            <a:custGeom>
              <a:avLst/>
              <a:gdLst>
                <a:gd name="T0" fmla="*/ 143 w 143"/>
                <a:gd name="T1" fmla="*/ 146 h 210"/>
                <a:gd name="T2" fmla="*/ 72 w 143"/>
                <a:gd name="T3" fmla="*/ 188 h 210"/>
                <a:gd name="T4" fmla="*/ 0 w 143"/>
                <a:gd name="T5" fmla="*/ 64 h 210"/>
                <a:gd name="T6" fmla="*/ 72 w 143"/>
                <a:gd name="T7" fmla="*/ 22 h 210"/>
                <a:gd name="T8" fmla="*/ 143 w 143"/>
                <a:gd name="T9" fmla="*/ 146 h 210"/>
              </a:gdLst>
              <a:ahLst/>
              <a:cxnLst>
                <a:cxn ang="0">
                  <a:pos x="T0" y="T1"/>
                </a:cxn>
                <a:cxn ang="0">
                  <a:pos x="T2" y="T3"/>
                </a:cxn>
                <a:cxn ang="0">
                  <a:pos x="T4" y="T5"/>
                </a:cxn>
                <a:cxn ang="0">
                  <a:pos x="T6" y="T7"/>
                </a:cxn>
                <a:cxn ang="0">
                  <a:pos x="T8" y="T9"/>
                </a:cxn>
              </a:cxnLst>
              <a:rect l="0" t="0" r="r" b="b"/>
              <a:pathLst>
                <a:path w="143" h="210">
                  <a:moveTo>
                    <a:pt x="143" y="146"/>
                  </a:moveTo>
                  <a:cubicBezTo>
                    <a:pt x="143" y="192"/>
                    <a:pt x="111" y="210"/>
                    <a:pt x="72" y="188"/>
                  </a:cubicBezTo>
                  <a:cubicBezTo>
                    <a:pt x="32" y="165"/>
                    <a:pt x="0" y="109"/>
                    <a:pt x="0" y="64"/>
                  </a:cubicBezTo>
                  <a:cubicBezTo>
                    <a:pt x="0" y="18"/>
                    <a:pt x="32" y="0"/>
                    <a:pt x="72" y="22"/>
                  </a:cubicBezTo>
                  <a:cubicBezTo>
                    <a:pt x="111" y="45"/>
                    <a:pt x="143" y="101"/>
                    <a:pt x="143"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1725">
              <a:extLst>
                <a:ext uri="{FF2B5EF4-FFF2-40B4-BE49-F238E27FC236}">
                  <a16:creationId xmlns:a16="http://schemas.microsoft.com/office/drawing/2014/main" id="{8D9AD19D-86D4-458F-824E-3DD68E12C087}"/>
                </a:ext>
              </a:extLst>
            </p:cNvPr>
            <p:cNvSpPr>
              <a:spLocks/>
            </p:cNvSpPr>
            <p:nvPr/>
          </p:nvSpPr>
          <p:spPr bwMode="auto">
            <a:xfrm>
              <a:off x="8013701" y="1844676"/>
              <a:ext cx="66675" cy="98425"/>
            </a:xfrm>
            <a:custGeom>
              <a:avLst/>
              <a:gdLst>
                <a:gd name="T0" fmla="*/ 82 w 82"/>
                <a:gd name="T1" fmla="*/ 84 h 120"/>
                <a:gd name="T2" fmla="*/ 41 w 82"/>
                <a:gd name="T3" fmla="*/ 107 h 120"/>
                <a:gd name="T4" fmla="*/ 0 w 82"/>
                <a:gd name="T5" fmla="*/ 36 h 120"/>
                <a:gd name="T6" fmla="*/ 41 w 82"/>
                <a:gd name="T7" fmla="*/ 13 h 120"/>
                <a:gd name="T8" fmla="*/ 82 w 82"/>
                <a:gd name="T9" fmla="*/ 84 h 120"/>
              </a:gdLst>
              <a:ahLst/>
              <a:cxnLst>
                <a:cxn ang="0">
                  <a:pos x="T0" y="T1"/>
                </a:cxn>
                <a:cxn ang="0">
                  <a:pos x="T2" y="T3"/>
                </a:cxn>
                <a:cxn ang="0">
                  <a:pos x="T4" y="T5"/>
                </a:cxn>
                <a:cxn ang="0">
                  <a:pos x="T6" y="T7"/>
                </a:cxn>
                <a:cxn ang="0">
                  <a:pos x="T8" y="T9"/>
                </a:cxn>
              </a:cxnLst>
              <a:rect l="0" t="0" r="r" b="b"/>
              <a:pathLst>
                <a:path w="82" h="120">
                  <a:moveTo>
                    <a:pt x="82" y="84"/>
                  </a:moveTo>
                  <a:cubicBezTo>
                    <a:pt x="82" y="110"/>
                    <a:pt x="63" y="120"/>
                    <a:pt x="41" y="107"/>
                  </a:cubicBezTo>
                  <a:cubicBezTo>
                    <a:pt x="18" y="94"/>
                    <a:pt x="0" y="62"/>
                    <a:pt x="0" y="36"/>
                  </a:cubicBezTo>
                  <a:cubicBezTo>
                    <a:pt x="0" y="10"/>
                    <a:pt x="18" y="0"/>
                    <a:pt x="41" y="13"/>
                  </a:cubicBezTo>
                  <a:cubicBezTo>
                    <a:pt x="63" y="26"/>
                    <a:pt x="82" y="58"/>
                    <a:pt x="82" y="84"/>
                  </a:cubicBezTo>
                </a:path>
              </a:pathLst>
            </a:custGeom>
            <a:solidFill>
              <a:srgbClr val="A18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1726">
              <a:extLst>
                <a:ext uri="{FF2B5EF4-FFF2-40B4-BE49-F238E27FC236}">
                  <a16:creationId xmlns:a16="http://schemas.microsoft.com/office/drawing/2014/main" id="{6F8E9B5F-EFFA-4774-9B5F-8E6E73067F56}"/>
                </a:ext>
              </a:extLst>
            </p:cNvPr>
            <p:cNvSpPr>
              <a:spLocks/>
            </p:cNvSpPr>
            <p:nvPr/>
          </p:nvSpPr>
          <p:spPr bwMode="auto">
            <a:xfrm>
              <a:off x="8204201" y="1955801"/>
              <a:ext cx="68263" cy="98425"/>
            </a:xfrm>
            <a:custGeom>
              <a:avLst/>
              <a:gdLst>
                <a:gd name="T0" fmla="*/ 82 w 82"/>
                <a:gd name="T1" fmla="*/ 84 h 121"/>
                <a:gd name="T2" fmla="*/ 41 w 82"/>
                <a:gd name="T3" fmla="*/ 108 h 121"/>
                <a:gd name="T4" fmla="*/ 0 w 82"/>
                <a:gd name="T5" fmla="*/ 37 h 121"/>
                <a:gd name="T6" fmla="*/ 41 w 82"/>
                <a:gd name="T7" fmla="*/ 13 h 121"/>
                <a:gd name="T8" fmla="*/ 82 w 82"/>
                <a:gd name="T9" fmla="*/ 84 h 121"/>
              </a:gdLst>
              <a:ahLst/>
              <a:cxnLst>
                <a:cxn ang="0">
                  <a:pos x="T0" y="T1"/>
                </a:cxn>
                <a:cxn ang="0">
                  <a:pos x="T2" y="T3"/>
                </a:cxn>
                <a:cxn ang="0">
                  <a:pos x="T4" y="T5"/>
                </a:cxn>
                <a:cxn ang="0">
                  <a:pos x="T6" y="T7"/>
                </a:cxn>
                <a:cxn ang="0">
                  <a:pos x="T8" y="T9"/>
                </a:cxn>
              </a:cxnLst>
              <a:rect l="0" t="0" r="r" b="b"/>
              <a:pathLst>
                <a:path w="82" h="121">
                  <a:moveTo>
                    <a:pt x="82" y="84"/>
                  </a:moveTo>
                  <a:cubicBezTo>
                    <a:pt x="82" y="110"/>
                    <a:pt x="64" y="121"/>
                    <a:pt x="41" y="108"/>
                  </a:cubicBezTo>
                  <a:cubicBezTo>
                    <a:pt x="18" y="95"/>
                    <a:pt x="0" y="63"/>
                    <a:pt x="0" y="37"/>
                  </a:cubicBezTo>
                  <a:cubicBezTo>
                    <a:pt x="0" y="11"/>
                    <a:pt x="18" y="0"/>
                    <a:pt x="41" y="13"/>
                  </a:cubicBezTo>
                  <a:cubicBezTo>
                    <a:pt x="64" y="26"/>
                    <a:pt x="82" y="58"/>
                    <a:pt x="82"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727">
              <a:extLst>
                <a:ext uri="{FF2B5EF4-FFF2-40B4-BE49-F238E27FC236}">
                  <a16:creationId xmlns:a16="http://schemas.microsoft.com/office/drawing/2014/main" id="{09B88B47-E61A-4915-9D29-4CEFF66036FD}"/>
                </a:ext>
              </a:extLst>
            </p:cNvPr>
            <p:cNvSpPr>
              <a:spLocks/>
            </p:cNvSpPr>
            <p:nvPr/>
          </p:nvSpPr>
          <p:spPr bwMode="auto">
            <a:xfrm>
              <a:off x="7799388" y="1709738"/>
              <a:ext cx="93663" cy="138113"/>
            </a:xfrm>
            <a:custGeom>
              <a:avLst/>
              <a:gdLst>
                <a:gd name="T0" fmla="*/ 114 w 114"/>
                <a:gd name="T1" fmla="*/ 116 h 168"/>
                <a:gd name="T2" fmla="*/ 57 w 114"/>
                <a:gd name="T3" fmla="*/ 149 h 168"/>
                <a:gd name="T4" fmla="*/ 0 w 114"/>
                <a:gd name="T5" fmla="*/ 51 h 168"/>
                <a:gd name="T6" fmla="*/ 57 w 114"/>
                <a:gd name="T7" fmla="*/ 18 h 168"/>
                <a:gd name="T8" fmla="*/ 114 w 114"/>
                <a:gd name="T9" fmla="*/ 116 h 168"/>
              </a:gdLst>
              <a:ahLst/>
              <a:cxnLst>
                <a:cxn ang="0">
                  <a:pos x="T0" y="T1"/>
                </a:cxn>
                <a:cxn ang="0">
                  <a:pos x="T2" y="T3"/>
                </a:cxn>
                <a:cxn ang="0">
                  <a:pos x="T4" y="T5"/>
                </a:cxn>
                <a:cxn ang="0">
                  <a:pos x="T6" y="T7"/>
                </a:cxn>
                <a:cxn ang="0">
                  <a:pos x="T8" y="T9"/>
                </a:cxn>
              </a:cxnLst>
              <a:rect l="0" t="0" r="r" b="b"/>
              <a:pathLst>
                <a:path w="114" h="168">
                  <a:moveTo>
                    <a:pt x="114" y="116"/>
                  </a:moveTo>
                  <a:cubicBezTo>
                    <a:pt x="114" y="153"/>
                    <a:pt x="89" y="168"/>
                    <a:pt x="57" y="149"/>
                  </a:cubicBezTo>
                  <a:cubicBezTo>
                    <a:pt x="26" y="131"/>
                    <a:pt x="0" y="87"/>
                    <a:pt x="0" y="51"/>
                  </a:cubicBezTo>
                  <a:cubicBezTo>
                    <a:pt x="0" y="14"/>
                    <a:pt x="26" y="0"/>
                    <a:pt x="57" y="18"/>
                  </a:cubicBezTo>
                  <a:cubicBezTo>
                    <a:pt x="89" y="36"/>
                    <a:pt x="114" y="80"/>
                    <a:pt x="114" y="1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1728">
              <a:extLst>
                <a:ext uri="{FF2B5EF4-FFF2-40B4-BE49-F238E27FC236}">
                  <a16:creationId xmlns:a16="http://schemas.microsoft.com/office/drawing/2014/main" id="{813A2C2D-D6E7-4525-B3D3-38C828A0E454}"/>
                </a:ext>
              </a:extLst>
            </p:cNvPr>
            <p:cNvSpPr>
              <a:spLocks/>
            </p:cNvSpPr>
            <p:nvPr/>
          </p:nvSpPr>
          <p:spPr bwMode="auto">
            <a:xfrm>
              <a:off x="7829551" y="1754188"/>
              <a:ext cx="34925" cy="49213"/>
            </a:xfrm>
            <a:custGeom>
              <a:avLst/>
              <a:gdLst>
                <a:gd name="T0" fmla="*/ 42 w 42"/>
                <a:gd name="T1" fmla="*/ 43 h 61"/>
                <a:gd name="T2" fmla="*/ 21 w 42"/>
                <a:gd name="T3" fmla="*/ 55 h 61"/>
                <a:gd name="T4" fmla="*/ 0 w 42"/>
                <a:gd name="T5" fmla="*/ 18 h 61"/>
                <a:gd name="T6" fmla="*/ 21 w 42"/>
                <a:gd name="T7" fmla="*/ 6 h 61"/>
                <a:gd name="T8" fmla="*/ 42 w 42"/>
                <a:gd name="T9" fmla="*/ 43 h 61"/>
              </a:gdLst>
              <a:ahLst/>
              <a:cxnLst>
                <a:cxn ang="0">
                  <a:pos x="T0" y="T1"/>
                </a:cxn>
                <a:cxn ang="0">
                  <a:pos x="T2" y="T3"/>
                </a:cxn>
                <a:cxn ang="0">
                  <a:pos x="T4" y="T5"/>
                </a:cxn>
                <a:cxn ang="0">
                  <a:pos x="T6" y="T7"/>
                </a:cxn>
                <a:cxn ang="0">
                  <a:pos x="T8" y="T9"/>
                </a:cxn>
              </a:cxnLst>
              <a:rect l="0" t="0" r="r" b="b"/>
              <a:pathLst>
                <a:path w="42" h="61">
                  <a:moveTo>
                    <a:pt x="42" y="43"/>
                  </a:moveTo>
                  <a:cubicBezTo>
                    <a:pt x="42" y="56"/>
                    <a:pt x="33" y="61"/>
                    <a:pt x="21" y="55"/>
                  </a:cubicBezTo>
                  <a:cubicBezTo>
                    <a:pt x="10" y="48"/>
                    <a:pt x="0" y="32"/>
                    <a:pt x="0" y="18"/>
                  </a:cubicBezTo>
                  <a:cubicBezTo>
                    <a:pt x="0" y="5"/>
                    <a:pt x="10" y="0"/>
                    <a:pt x="21" y="6"/>
                  </a:cubicBezTo>
                  <a:cubicBezTo>
                    <a:pt x="33" y="13"/>
                    <a:pt x="42" y="29"/>
                    <a:pt x="42" y="43"/>
                  </a:cubicBezTo>
                  <a:close/>
                </a:path>
              </a:pathLst>
            </a:custGeom>
            <a:solidFill>
              <a:srgbClr val="533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729">
              <a:extLst>
                <a:ext uri="{FF2B5EF4-FFF2-40B4-BE49-F238E27FC236}">
                  <a16:creationId xmlns:a16="http://schemas.microsoft.com/office/drawing/2014/main" id="{855E12FB-77DE-45FD-BF49-A827254A5C0A}"/>
                </a:ext>
              </a:extLst>
            </p:cNvPr>
            <p:cNvSpPr>
              <a:spLocks/>
            </p:cNvSpPr>
            <p:nvPr/>
          </p:nvSpPr>
          <p:spPr bwMode="auto">
            <a:xfrm>
              <a:off x="8226426" y="1985963"/>
              <a:ext cx="23813" cy="36513"/>
            </a:xfrm>
            <a:custGeom>
              <a:avLst/>
              <a:gdLst>
                <a:gd name="T0" fmla="*/ 30 w 30"/>
                <a:gd name="T1" fmla="*/ 31 h 44"/>
                <a:gd name="T2" fmla="*/ 15 w 30"/>
                <a:gd name="T3" fmla="*/ 39 h 44"/>
                <a:gd name="T4" fmla="*/ 0 w 30"/>
                <a:gd name="T5" fmla="*/ 14 h 44"/>
                <a:gd name="T6" fmla="*/ 15 w 30"/>
                <a:gd name="T7" fmla="*/ 5 h 44"/>
                <a:gd name="T8" fmla="*/ 30 w 30"/>
                <a:gd name="T9" fmla="*/ 31 h 44"/>
              </a:gdLst>
              <a:ahLst/>
              <a:cxnLst>
                <a:cxn ang="0">
                  <a:pos x="T0" y="T1"/>
                </a:cxn>
                <a:cxn ang="0">
                  <a:pos x="T2" y="T3"/>
                </a:cxn>
                <a:cxn ang="0">
                  <a:pos x="T4" y="T5"/>
                </a:cxn>
                <a:cxn ang="0">
                  <a:pos x="T6" y="T7"/>
                </a:cxn>
                <a:cxn ang="0">
                  <a:pos x="T8" y="T9"/>
                </a:cxn>
              </a:cxnLst>
              <a:rect l="0" t="0" r="r" b="b"/>
              <a:pathLst>
                <a:path w="30" h="44">
                  <a:moveTo>
                    <a:pt x="30" y="31"/>
                  </a:moveTo>
                  <a:cubicBezTo>
                    <a:pt x="30" y="40"/>
                    <a:pt x="23" y="44"/>
                    <a:pt x="15" y="39"/>
                  </a:cubicBezTo>
                  <a:cubicBezTo>
                    <a:pt x="7" y="35"/>
                    <a:pt x="0" y="23"/>
                    <a:pt x="0" y="14"/>
                  </a:cubicBezTo>
                  <a:cubicBezTo>
                    <a:pt x="0" y="4"/>
                    <a:pt x="7" y="0"/>
                    <a:pt x="15" y="5"/>
                  </a:cubicBezTo>
                  <a:cubicBezTo>
                    <a:pt x="23" y="10"/>
                    <a:pt x="30" y="21"/>
                    <a:pt x="30" y="31"/>
                  </a:cubicBezTo>
                  <a:close/>
                </a:path>
              </a:pathLst>
            </a:custGeom>
            <a:solidFill>
              <a:srgbClr val="A18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730">
              <a:extLst>
                <a:ext uri="{FF2B5EF4-FFF2-40B4-BE49-F238E27FC236}">
                  <a16:creationId xmlns:a16="http://schemas.microsoft.com/office/drawing/2014/main" id="{46385805-F00F-4762-A2FC-EB977CBF66D2}"/>
                </a:ext>
              </a:extLst>
            </p:cNvPr>
            <p:cNvSpPr>
              <a:spLocks noEditPoints="1"/>
            </p:cNvSpPr>
            <p:nvPr/>
          </p:nvSpPr>
          <p:spPr bwMode="auto">
            <a:xfrm>
              <a:off x="8462963" y="2976563"/>
              <a:ext cx="363538" cy="904875"/>
            </a:xfrm>
            <a:custGeom>
              <a:avLst/>
              <a:gdLst>
                <a:gd name="T0" fmla="*/ 394 w 443"/>
                <a:gd name="T1" fmla="*/ 1103 h 1103"/>
                <a:gd name="T2" fmla="*/ 295 w 443"/>
                <a:gd name="T3" fmla="*/ 1004 h 1103"/>
                <a:gd name="T4" fmla="*/ 295 w 443"/>
                <a:gd name="T5" fmla="*/ 811 h 1103"/>
                <a:gd name="T6" fmla="*/ 277 w 443"/>
                <a:gd name="T7" fmla="*/ 750 h 1103"/>
                <a:gd name="T8" fmla="*/ 443 w 443"/>
                <a:gd name="T9" fmla="*/ 584 h 1103"/>
                <a:gd name="T10" fmla="*/ 443 w 443"/>
                <a:gd name="T11" fmla="*/ 1053 h 1103"/>
                <a:gd name="T12" fmla="*/ 394 w 443"/>
                <a:gd name="T13" fmla="*/ 1103 h 1103"/>
                <a:gd name="T14" fmla="*/ 214 w 443"/>
                <a:gd name="T15" fmla="*/ 699 h 1103"/>
                <a:gd name="T16" fmla="*/ 50 w 443"/>
                <a:gd name="T17" fmla="*/ 604 h 1103"/>
                <a:gd name="T18" fmla="*/ 0 w 443"/>
                <a:gd name="T19" fmla="*/ 451 h 1103"/>
                <a:gd name="T20" fmla="*/ 250 w 443"/>
                <a:gd name="T21" fmla="*/ 596 h 1103"/>
                <a:gd name="T22" fmla="*/ 268 w 443"/>
                <a:gd name="T23" fmla="*/ 601 h 1103"/>
                <a:gd name="T24" fmla="*/ 295 w 443"/>
                <a:gd name="T25" fmla="*/ 561 h 1103"/>
                <a:gd name="T26" fmla="*/ 295 w 443"/>
                <a:gd name="T27" fmla="*/ 148 h 1103"/>
                <a:gd name="T28" fmla="*/ 443 w 443"/>
                <a:gd name="T29" fmla="*/ 0 h 1103"/>
                <a:gd name="T30" fmla="*/ 443 w 443"/>
                <a:gd name="T31" fmla="*/ 470 h 1103"/>
                <a:gd name="T32" fmla="*/ 214 w 443"/>
                <a:gd name="T33" fmla="*/ 699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3" h="1103">
                  <a:moveTo>
                    <a:pt x="394" y="1103"/>
                  </a:moveTo>
                  <a:cubicBezTo>
                    <a:pt x="360" y="1072"/>
                    <a:pt x="327" y="1039"/>
                    <a:pt x="295" y="1004"/>
                  </a:cubicBezTo>
                  <a:lnTo>
                    <a:pt x="295" y="811"/>
                  </a:lnTo>
                  <a:cubicBezTo>
                    <a:pt x="295" y="791"/>
                    <a:pt x="288" y="768"/>
                    <a:pt x="277" y="750"/>
                  </a:cubicBezTo>
                  <a:lnTo>
                    <a:pt x="443" y="584"/>
                  </a:lnTo>
                  <a:lnTo>
                    <a:pt x="443" y="1053"/>
                  </a:lnTo>
                  <a:lnTo>
                    <a:pt x="394" y="1103"/>
                  </a:lnTo>
                  <a:moveTo>
                    <a:pt x="214" y="699"/>
                  </a:moveTo>
                  <a:lnTo>
                    <a:pt x="50" y="604"/>
                  </a:lnTo>
                  <a:cubicBezTo>
                    <a:pt x="30" y="554"/>
                    <a:pt x="13" y="502"/>
                    <a:pt x="0" y="451"/>
                  </a:cubicBezTo>
                  <a:lnTo>
                    <a:pt x="250" y="596"/>
                  </a:lnTo>
                  <a:cubicBezTo>
                    <a:pt x="256" y="599"/>
                    <a:pt x="262" y="601"/>
                    <a:pt x="268" y="601"/>
                  </a:cubicBezTo>
                  <a:cubicBezTo>
                    <a:pt x="284" y="601"/>
                    <a:pt x="295" y="586"/>
                    <a:pt x="295" y="561"/>
                  </a:cubicBezTo>
                  <a:lnTo>
                    <a:pt x="295" y="148"/>
                  </a:lnTo>
                  <a:lnTo>
                    <a:pt x="443" y="0"/>
                  </a:lnTo>
                  <a:lnTo>
                    <a:pt x="443" y="470"/>
                  </a:lnTo>
                  <a:lnTo>
                    <a:pt x="214" y="699"/>
                  </a:lnTo>
                </a:path>
              </a:pathLst>
            </a:custGeom>
            <a:solidFill>
              <a:srgbClr val="6F55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731">
              <a:extLst>
                <a:ext uri="{FF2B5EF4-FFF2-40B4-BE49-F238E27FC236}">
                  <a16:creationId xmlns:a16="http://schemas.microsoft.com/office/drawing/2014/main" id="{4E780B02-4A5D-4F55-B425-25CC951B6F5B}"/>
                </a:ext>
              </a:extLst>
            </p:cNvPr>
            <p:cNvSpPr>
              <a:spLocks/>
            </p:cNvSpPr>
            <p:nvPr/>
          </p:nvSpPr>
          <p:spPr bwMode="auto">
            <a:xfrm>
              <a:off x="8461376" y="3098801"/>
              <a:ext cx="244475" cy="371475"/>
            </a:xfrm>
            <a:custGeom>
              <a:avLst/>
              <a:gdLst>
                <a:gd name="T0" fmla="*/ 270 w 297"/>
                <a:gd name="T1" fmla="*/ 453 h 453"/>
                <a:gd name="T2" fmla="*/ 252 w 297"/>
                <a:gd name="T3" fmla="*/ 448 h 453"/>
                <a:gd name="T4" fmla="*/ 2 w 297"/>
                <a:gd name="T5" fmla="*/ 303 h 453"/>
                <a:gd name="T6" fmla="*/ 0 w 297"/>
                <a:gd name="T7" fmla="*/ 297 h 453"/>
                <a:gd name="T8" fmla="*/ 45 w 297"/>
                <a:gd name="T9" fmla="*/ 253 h 453"/>
                <a:gd name="T10" fmla="*/ 53 w 297"/>
                <a:gd name="T11" fmla="*/ 257 h 453"/>
                <a:gd name="T12" fmla="*/ 56 w 297"/>
                <a:gd name="T13" fmla="*/ 258 h 453"/>
                <a:gd name="T14" fmla="*/ 58 w 297"/>
                <a:gd name="T15" fmla="*/ 257 h 453"/>
                <a:gd name="T16" fmla="*/ 60 w 297"/>
                <a:gd name="T17" fmla="*/ 252 h 453"/>
                <a:gd name="T18" fmla="*/ 60 w 297"/>
                <a:gd name="T19" fmla="*/ 237 h 453"/>
                <a:gd name="T20" fmla="*/ 123 w 297"/>
                <a:gd name="T21" fmla="*/ 175 h 453"/>
                <a:gd name="T22" fmla="*/ 123 w 297"/>
                <a:gd name="T23" fmla="*/ 287 h 453"/>
                <a:gd name="T24" fmla="*/ 130 w 297"/>
                <a:gd name="T25" fmla="*/ 302 h 453"/>
                <a:gd name="T26" fmla="*/ 186 w 297"/>
                <a:gd name="T27" fmla="*/ 334 h 453"/>
                <a:gd name="T28" fmla="*/ 189 w 297"/>
                <a:gd name="T29" fmla="*/ 335 h 453"/>
                <a:gd name="T30" fmla="*/ 191 w 297"/>
                <a:gd name="T31" fmla="*/ 334 h 453"/>
                <a:gd name="T32" fmla="*/ 193 w 297"/>
                <a:gd name="T33" fmla="*/ 329 h 453"/>
                <a:gd name="T34" fmla="*/ 193 w 297"/>
                <a:gd name="T35" fmla="*/ 104 h 453"/>
                <a:gd name="T36" fmla="*/ 297 w 297"/>
                <a:gd name="T37" fmla="*/ 0 h 453"/>
                <a:gd name="T38" fmla="*/ 297 w 297"/>
                <a:gd name="T39" fmla="*/ 413 h 453"/>
                <a:gd name="T40" fmla="*/ 270 w 297"/>
                <a:gd name="T41"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7" h="453">
                  <a:moveTo>
                    <a:pt x="270" y="453"/>
                  </a:moveTo>
                  <a:cubicBezTo>
                    <a:pt x="264" y="453"/>
                    <a:pt x="258" y="451"/>
                    <a:pt x="252" y="448"/>
                  </a:cubicBezTo>
                  <a:lnTo>
                    <a:pt x="2" y="303"/>
                  </a:lnTo>
                  <a:cubicBezTo>
                    <a:pt x="1" y="301"/>
                    <a:pt x="1" y="299"/>
                    <a:pt x="0" y="297"/>
                  </a:cubicBezTo>
                  <a:lnTo>
                    <a:pt x="45" y="253"/>
                  </a:lnTo>
                  <a:lnTo>
                    <a:pt x="53" y="257"/>
                  </a:lnTo>
                  <a:cubicBezTo>
                    <a:pt x="54" y="258"/>
                    <a:pt x="55" y="258"/>
                    <a:pt x="56" y="258"/>
                  </a:cubicBezTo>
                  <a:cubicBezTo>
                    <a:pt x="57" y="258"/>
                    <a:pt x="58" y="258"/>
                    <a:pt x="58" y="257"/>
                  </a:cubicBezTo>
                  <a:cubicBezTo>
                    <a:pt x="60" y="256"/>
                    <a:pt x="60" y="255"/>
                    <a:pt x="60" y="252"/>
                  </a:cubicBezTo>
                  <a:lnTo>
                    <a:pt x="60" y="237"/>
                  </a:lnTo>
                  <a:lnTo>
                    <a:pt x="123" y="175"/>
                  </a:lnTo>
                  <a:lnTo>
                    <a:pt x="123" y="287"/>
                  </a:lnTo>
                  <a:cubicBezTo>
                    <a:pt x="123" y="293"/>
                    <a:pt x="126" y="300"/>
                    <a:pt x="130" y="302"/>
                  </a:cubicBezTo>
                  <a:lnTo>
                    <a:pt x="186" y="334"/>
                  </a:lnTo>
                  <a:cubicBezTo>
                    <a:pt x="187" y="335"/>
                    <a:pt x="188" y="335"/>
                    <a:pt x="189" y="335"/>
                  </a:cubicBezTo>
                  <a:cubicBezTo>
                    <a:pt x="190" y="335"/>
                    <a:pt x="191" y="335"/>
                    <a:pt x="191" y="334"/>
                  </a:cubicBezTo>
                  <a:cubicBezTo>
                    <a:pt x="193" y="333"/>
                    <a:pt x="193" y="331"/>
                    <a:pt x="193" y="329"/>
                  </a:cubicBezTo>
                  <a:lnTo>
                    <a:pt x="193" y="104"/>
                  </a:lnTo>
                  <a:lnTo>
                    <a:pt x="297" y="0"/>
                  </a:lnTo>
                  <a:lnTo>
                    <a:pt x="297" y="413"/>
                  </a:lnTo>
                  <a:cubicBezTo>
                    <a:pt x="297" y="438"/>
                    <a:pt x="286" y="453"/>
                    <a:pt x="270" y="453"/>
                  </a:cubicBezTo>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732">
              <a:extLst>
                <a:ext uri="{FF2B5EF4-FFF2-40B4-BE49-F238E27FC236}">
                  <a16:creationId xmlns:a16="http://schemas.microsoft.com/office/drawing/2014/main" id="{01FE953E-0EFB-4F38-B9A9-30E351E7E910}"/>
                </a:ext>
              </a:extLst>
            </p:cNvPr>
            <p:cNvSpPr>
              <a:spLocks/>
            </p:cNvSpPr>
            <p:nvPr/>
          </p:nvSpPr>
          <p:spPr bwMode="auto">
            <a:xfrm>
              <a:off x="8499476" y="3306763"/>
              <a:ext cx="9525" cy="3175"/>
            </a:xfrm>
            <a:custGeom>
              <a:avLst/>
              <a:gdLst>
                <a:gd name="T0" fmla="*/ 11 w 13"/>
                <a:gd name="T1" fmla="*/ 5 h 5"/>
                <a:gd name="T2" fmla="*/ 8 w 13"/>
                <a:gd name="T3" fmla="*/ 4 h 5"/>
                <a:gd name="T4" fmla="*/ 0 w 13"/>
                <a:gd name="T5" fmla="*/ 0 h 5"/>
                <a:gd name="T6" fmla="*/ 0 w 13"/>
                <a:gd name="T7" fmla="*/ 0 h 5"/>
                <a:gd name="T8" fmla="*/ 7 w 13"/>
                <a:gd name="T9" fmla="*/ 4 h 5"/>
                <a:gd name="T10" fmla="*/ 11 w 13"/>
                <a:gd name="T11" fmla="*/ 5 h 5"/>
                <a:gd name="T12" fmla="*/ 13 w 13"/>
                <a:gd name="T13" fmla="*/ 4 h 5"/>
                <a:gd name="T14" fmla="*/ 11 w 13"/>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
                  <a:moveTo>
                    <a:pt x="11" y="5"/>
                  </a:moveTo>
                  <a:cubicBezTo>
                    <a:pt x="10" y="5"/>
                    <a:pt x="9" y="5"/>
                    <a:pt x="8" y="4"/>
                  </a:cubicBezTo>
                  <a:lnTo>
                    <a:pt x="0" y="0"/>
                  </a:lnTo>
                  <a:lnTo>
                    <a:pt x="0" y="0"/>
                  </a:lnTo>
                  <a:lnTo>
                    <a:pt x="7" y="4"/>
                  </a:lnTo>
                  <a:cubicBezTo>
                    <a:pt x="9" y="5"/>
                    <a:pt x="10" y="5"/>
                    <a:pt x="11" y="5"/>
                  </a:cubicBezTo>
                  <a:cubicBezTo>
                    <a:pt x="12" y="5"/>
                    <a:pt x="13" y="5"/>
                    <a:pt x="13" y="4"/>
                  </a:cubicBezTo>
                  <a:cubicBezTo>
                    <a:pt x="13" y="5"/>
                    <a:pt x="12" y="5"/>
                    <a:pt x="11" y="5"/>
                  </a:cubicBezTo>
                  <a:close/>
                </a:path>
              </a:pathLst>
            </a:custGeom>
            <a:solidFill>
              <a:srgbClr val="B04B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1733">
              <a:extLst>
                <a:ext uri="{FF2B5EF4-FFF2-40B4-BE49-F238E27FC236}">
                  <a16:creationId xmlns:a16="http://schemas.microsoft.com/office/drawing/2014/main" id="{913D56AE-DB5E-4213-8F82-850F5DECDA1E}"/>
                </a:ext>
              </a:extLst>
            </p:cNvPr>
            <p:cNvSpPr>
              <a:spLocks/>
            </p:cNvSpPr>
            <p:nvPr/>
          </p:nvSpPr>
          <p:spPr bwMode="auto">
            <a:xfrm>
              <a:off x="8509001" y="3292476"/>
              <a:ext cx="1588" cy="17463"/>
            </a:xfrm>
            <a:custGeom>
              <a:avLst/>
              <a:gdLst>
                <a:gd name="T0" fmla="*/ 0 w 2"/>
                <a:gd name="T1" fmla="*/ 20 h 20"/>
                <a:gd name="T2" fmla="*/ 2 w 2"/>
                <a:gd name="T3" fmla="*/ 14 h 20"/>
                <a:gd name="T4" fmla="*/ 2 w 2"/>
                <a:gd name="T5" fmla="*/ 0 h 20"/>
                <a:gd name="T6" fmla="*/ 2 w 2"/>
                <a:gd name="T7" fmla="*/ 15 h 20"/>
                <a:gd name="T8" fmla="*/ 0 w 2"/>
                <a:gd name="T9" fmla="*/ 20 h 20"/>
              </a:gdLst>
              <a:ahLst/>
              <a:cxnLst>
                <a:cxn ang="0">
                  <a:pos x="T0" y="T1"/>
                </a:cxn>
                <a:cxn ang="0">
                  <a:pos x="T2" y="T3"/>
                </a:cxn>
                <a:cxn ang="0">
                  <a:pos x="T4" y="T5"/>
                </a:cxn>
                <a:cxn ang="0">
                  <a:pos x="T6" y="T7"/>
                </a:cxn>
                <a:cxn ang="0">
                  <a:pos x="T8" y="T9"/>
                </a:cxn>
              </a:cxnLst>
              <a:rect l="0" t="0" r="r" b="b"/>
              <a:pathLst>
                <a:path w="2" h="20">
                  <a:moveTo>
                    <a:pt x="0" y="20"/>
                  </a:moveTo>
                  <a:cubicBezTo>
                    <a:pt x="2" y="19"/>
                    <a:pt x="2" y="17"/>
                    <a:pt x="2" y="14"/>
                  </a:cubicBezTo>
                  <a:lnTo>
                    <a:pt x="2" y="0"/>
                  </a:lnTo>
                  <a:lnTo>
                    <a:pt x="2" y="15"/>
                  </a:lnTo>
                  <a:cubicBezTo>
                    <a:pt x="2" y="18"/>
                    <a:pt x="2" y="19"/>
                    <a:pt x="0" y="20"/>
                  </a:cubicBezTo>
                </a:path>
              </a:pathLst>
            </a:custGeom>
            <a:solidFill>
              <a:srgbClr val="907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1734">
              <a:extLst>
                <a:ext uri="{FF2B5EF4-FFF2-40B4-BE49-F238E27FC236}">
                  <a16:creationId xmlns:a16="http://schemas.microsoft.com/office/drawing/2014/main" id="{B6008D70-7033-4FBD-B901-CB4B4F03E8ED}"/>
                </a:ext>
              </a:extLst>
            </p:cNvPr>
            <p:cNvSpPr>
              <a:spLocks/>
            </p:cNvSpPr>
            <p:nvPr/>
          </p:nvSpPr>
          <p:spPr bwMode="auto">
            <a:xfrm>
              <a:off x="8499476" y="3292476"/>
              <a:ext cx="11113" cy="17463"/>
            </a:xfrm>
            <a:custGeom>
              <a:avLst/>
              <a:gdLst>
                <a:gd name="T0" fmla="*/ 11 w 15"/>
                <a:gd name="T1" fmla="*/ 21 h 21"/>
                <a:gd name="T2" fmla="*/ 7 w 15"/>
                <a:gd name="T3" fmla="*/ 20 h 21"/>
                <a:gd name="T4" fmla="*/ 0 w 15"/>
                <a:gd name="T5" fmla="*/ 16 h 21"/>
                <a:gd name="T6" fmla="*/ 15 w 15"/>
                <a:gd name="T7" fmla="*/ 0 h 21"/>
                <a:gd name="T8" fmla="*/ 15 w 15"/>
                <a:gd name="T9" fmla="*/ 14 h 21"/>
                <a:gd name="T10" fmla="*/ 13 w 15"/>
                <a:gd name="T11" fmla="*/ 20 h 21"/>
                <a:gd name="T12" fmla="*/ 11 w 1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5" h="21">
                  <a:moveTo>
                    <a:pt x="11" y="21"/>
                  </a:moveTo>
                  <a:cubicBezTo>
                    <a:pt x="10" y="21"/>
                    <a:pt x="9" y="21"/>
                    <a:pt x="7" y="20"/>
                  </a:cubicBezTo>
                  <a:lnTo>
                    <a:pt x="0" y="16"/>
                  </a:lnTo>
                  <a:lnTo>
                    <a:pt x="15" y="0"/>
                  </a:lnTo>
                  <a:lnTo>
                    <a:pt x="15" y="14"/>
                  </a:lnTo>
                  <a:cubicBezTo>
                    <a:pt x="15" y="17"/>
                    <a:pt x="15" y="19"/>
                    <a:pt x="13" y="20"/>
                  </a:cubicBezTo>
                  <a:cubicBezTo>
                    <a:pt x="13" y="21"/>
                    <a:pt x="12" y="21"/>
                    <a:pt x="11" y="21"/>
                  </a:cubicBezTo>
                </a:path>
              </a:pathLst>
            </a:custGeom>
            <a:solidFill>
              <a:srgbClr val="964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1735">
              <a:extLst>
                <a:ext uri="{FF2B5EF4-FFF2-40B4-BE49-F238E27FC236}">
                  <a16:creationId xmlns:a16="http://schemas.microsoft.com/office/drawing/2014/main" id="{AEA9620D-26F3-4682-B323-723B7128EB88}"/>
                </a:ext>
              </a:extLst>
            </p:cNvPr>
            <p:cNvSpPr>
              <a:spLocks/>
            </p:cNvSpPr>
            <p:nvPr/>
          </p:nvSpPr>
          <p:spPr bwMode="auto">
            <a:xfrm>
              <a:off x="8562976" y="3198813"/>
              <a:ext cx="55563" cy="174625"/>
            </a:xfrm>
            <a:custGeom>
              <a:avLst/>
              <a:gdLst>
                <a:gd name="T0" fmla="*/ 66 w 68"/>
                <a:gd name="T1" fmla="*/ 212 h 212"/>
                <a:gd name="T2" fmla="*/ 63 w 68"/>
                <a:gd name="T3" fmla="*/ 211 h 212"/>
                <a:gd name="T4" fmla="*/ 7 w 68"/>
                <a:gd name="T5" fmla="*/ 179 h 212"/>
                <a:gd name="T6" fmla="*/ 0 w 68"/>
                <a:gd name="T7" fmla="*/ 164 h 212"/>
                <a:gd name="T8" fmla="*/ 0 w 68"/>
                <a:gd name="T9" fmla="*/ 52 h 212"/>
                <a:gd name="T10" fmla="*/ 52 w 68"/>
                <a:gd name="T11" fmla="*/ 0 h 212"/>
                <a:gd name="T12" fmla="*/ 52 w 68"/>
                <a:gd name="T13" fmla="*/ 190 h 212"/>
                <a:gd name="T14" fmla="*/ 46 w 68"/>
                <a:gd name="T15" fmla="*/ 200 h 212"/>
                <a:gd name="T16" fmla="*/ 42 w 68"/>
                <a:gd name="T17" fmla="*/ 199 h 212"/>
                <a:gd name="T18" fmla="*/ 62 w 68"/>
                <a:gd name="T19" fmla="*/ 211 h 212"/>
                <a:gd name="T20" fmla="*/ 66 w 68"/>
                <a:gd name="T21" fmla="*/ 212 h 212"/>
                <a:gd name="T22" fmla="*/ 68 w 68"/>
                <a:gd name="T23" fmla="*/ 211 h 212"/>
                <a:gd name="T24" fmla="*/ 66 w 68"/>
                <a:gd name="T25"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212">
                  <a:moveTo>
                    <a:pt x="66" y="212"/>
                  </a:moveTo>
                  <a:cubicBezTo>
                    <a:pt x="65" y="212"/>
                    <a:pt x="64" y="212"/>
                    <a:pt x="63" y="211"/>
                  </a:cubicBezTo>
                  <a:lnTo>
                    <a:pt x="7" y="179"/>
                  </a:lnTo>
                  <a:cubicBezTo>
                    <a:pt x="3" y="177"/>
                    <a:pt x="0" y="170"/>
                    <a:pt x="0" y="164"/>
                  </a:cubicBezTo>
                  <a:lnTo>
                    <a:pt x="0" y="52"/>
                  </a:lnTo>
                  <a:lnTo>
                    <a:pt x="52" y="0"/>
                  </a:lnTo>
                  <a:lnTo>
                    <a:pt x="52" y="190"/>
                  </a:lnTo>
                  <a:cubicBezTo>
                    <a:pt x="52" y="196"/>
                    <a:pt x="49" y="200"/>
                    <a:pt x="46" y="200"/>
                  </a:cubicBezTo>
                  <a:cubicBezTo>
                    <a:pt x="45" y="200"/>
                    <a:pt x="43" y="200"/>
                    <a:pt x="42" y="199"/>
                  </a:cubicBezTo>
                  <a:lnTo>
                    <a:pt x="62" y="211"/>
                  </a:lnTo>
                  <a:cubicBezTo>
                    <a:pt x="64" y="212"/>
                    <a:pt x="65" y="212"/>
                    <a:pt x="66" y="212"/>
                  </a:cubicBezTo>
                  <a:cubicBezTo>
                    <a:pt x="67" y="212"/>
                    <a:pt x="68" y="212"/>
                    <a:pt x="68" y="211"/>
                  </a:cubicBezTo>
                  <a:cubicBezTo>
                    <a:pt x="68" y="212"/>
                    <a:pt x="67" y="212"/>
                    <a:pt x="66" y="212"/>
                  </a:cubicBezTo>
                </a:path>
              </a:pathLst>
            </a:custGeom>
            <a:solidFill>
              <a:srgbClr val="D9AC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1736">
              <a:extLst>
                <a:ext uri="{FF2B5EF4-FFF2-40B4-BE49-F238E27FC236}">
                  <a16:creationId xmlns:a16="http://schemas.microsoft.com/office/drawing/2014/main" id="{E43796A0-872E-427E-8915-D2F4DF56BDE4}"/>
                </a:ext>
              </a:extLst>
            </p:cNvPr>
            <p:cNvSpPr>
              <a:spLocks/>
            </p:cNvSpPr>
            <p:nvPr/>
          </p:nvSpPr>
          <p:spPr bwMode="auto">
            <a:xfrm>
              <a:off x="8618538" y="3184526"/>
              <a:ext cx="1588" cy="187325"/>
            </a:xfrm>
            <a:custGeom>
              <a:avLst/>
              <a:gdLst>
                <a:gd name="T0" fmla="*/ 0 w 2"/>
                <a:gd name="T1" fmla="*/ 230 h 230"/>
                <a:gd name="T2" fmla="*/ 2 w 2"/>
                <a:gd name="T3" fmla="*/ 224 h 230"/>
                <a:gd name="T4" fmla="*/ 2 w 2"/>
                <a:gd name="T5" fmla="*/ 0 h 230"/>
                <a:gd name="T6" fmla="*/ 2 w 2"/>
                <a:gd name="T7" fmla="*/ 225 h 230"/>
                <a:gd name="T8" fmla="*/ 0 w 2"/>
                <a:gd name="T9" fmla="*/ 230 h 230"/>
              </a:gdLst>
              <a:ahLst/>
              <a:cxnLst>
                <a:cxn ang="0">
                  <a:pos x="T0" y="T1"/>
                </a:cxn>
                <a:cxn ang="0">
                  <a:pos x="T2" y="T3"/>
                </a:cxn>
                <a:cxn ang="0">
                  <a:pos x="T4" y="T5"/>
                </a:cxn>
                <a:cxn ang="0">
                  <a:pos x="T6" y="T7"/>
                </a:cxn>
                <a:cxn ang="0">
                  <a:pos x="T8" y="T9"/>
                </a:cxn>
              </a:cxnLst>
              <a:rect l="0" t="0" r="r" b="b"/>
              <a:pathLst>
                <a:path w="2" h="230">
                  <a:moveTo>
                    <a:pt x="0" y="230"/>
                  </a:moveTo>
                  <a:cubicBezTo>
                    <a:pt x="2" y="229"/>
                    <a:pt x="2" y="227"/>
                    <a:pt x="2" y="224"/>
                  </a:cubicBezTo>
                  <a:lnTo>
                    <a:pt x="2" y="0"/>
                  </a:lnTo>
                  <a:lnTo>
                    <a:pt x="2" y="225"/>
                  </a:lnTo>
                  <a:cubicBezTo>
                    <a:pt x="2" y="227"/>
                    <a:pt x="2" y="229"/>
                    <a:pt x="0" y="230"/>
                  </a:cubicBezTo>
                </a:path>
              </a:pathLst>
            </a:custGeom>
            <a:solidFill>
              <a:srgbClr val="907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1737">
              <a:extLst>
                <a:ext uri="{FF2B5EF4-FFF2-40B4-BE49-F238E27FC236}">
                  <a16:creationId xmlns:a16="http://schemas.microsoft.com/office/drawing/2014/main" id="{D8104E99-52DC-4C1F-9166-81D8D85EC4F7}"/>
                </a:ext>
              </a:extLst>
            </p:cNvPr>
            <p:cNvSpPr>
              <a:spLocks/>
            </p:cNvSpPr>
            <p:nvPr/>
          </p:nvSpPr>
          <p:spPr bwMode="auto">
            <a:xfrm>
              <a:off x="8596313" y="3184526"/>
              <a:ext cx="23813" cy="188913"/>
            </a:xfrm>
            <a:custGeom>
              <a:avLst/>
              <a:gdLst>
                <a:gd name="T0" fmla="*/ 24 w 28"/>
                <a:gd name="T1" fmla="*/ 231 h 231"/>
                <a:gd name="T2" fmla="*/ 20 w 28"/>
                <a:gd name="T3" fmla="*/ 230 h 231"/>
                <a:gd name="T4" fmla="*/ 0 w 28"/>
                <a:gd name="T5" fmla="*/ 218 h 231"/>
                <a:gd name="T6" fmla="*/ 4 w 28"/>
                <a:gd name="T7" fmla="*/ 219 h 231"/>
                <a:gd name="T8" fmla="*/ 10 w 28"/>
                <a:gd name="T9" fmla="*/ 209 h 231"/>
                <a:gd name="T10" fmla="*/ 10 w 28"/>
                <a:gd name="T11" fmla="*/ 19 h 231"/>
                <a:gd name="T12" fmla="*/ 28 w 28"/>
                <a:gd name="T13" fmla="*/ 0 h 231"/>
                <a:gd name="T14" fmla="*/ 28 w 28"/>
                <a:gd name="T15" fmla="*/ 224 h 231"/>
                <a:gd name="T16" fmla="*/ 26 w 28"/>
                <a:gd name="T17" fmla="*/ 230 h 231"/>
                <a:gd name="T18" fmla="*/ 24 w 28"/>
                <a:gd name="T19"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31">
                  <a:moveTo>
                    <a:pt x="24" y="231"/>
                  </a:moveTo>
                  <a:cubicBezTo>
                    <a:pt x="23" y="231"/>
                    <a:pt x="22" y="231"/>
                    <a:pt x="20" y="230"/>
                  </a:cubicBezTo>
                  <a:lnTo>
                    <a:pt x="0" y="218"/>
                  </a:lnTo>
                  <a:cubicBezTo>
                    <a:pt x="1" y="219"/>
                    <a:pt x="3" y="219"/>
                    <a:pt x="4" y="219"/>
                  </a:cubicBezTo>
                  <a:cubicBezTo>
                    <a:pt x="7" y="219"/>
                    <a:pt x="10" y="215"/>
                    <a:pt x="10" y="209"/>
                  </a:cubicBezTo>
                  <a:lnTo>
                    <a:pt x="10" y="19"/>
                  </a:lnTo>
                  <a:lnTo>
                    <a:pt x="28" y="0"/>
                  </a:lnTo>
                  <a:lnTo>
                    <a:pt x="28" y="224"/>
                  </a:lnTo>
                  <a:cubicBezTo>
                    <a:pt x="28" y="227"/>
                    <a:pt x="28" y="229"/>
                    <a:pt x="26" y="230"/>
                  </a:cubicBezTo>
                  <a:cubicBezTo>
                    <a:pt x="26" y="231"/>
                    <a:pt x="25" y="231"/>
                    <a:pt x="24" y="231"/>
                  </a:cubicBezTo>
                  <a:close/>
                </a:path>
              </a:pathLst>
            </a:custGeom>
            <a:solidFill>
              <a:srgbClr val="B99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1738">
              <a:extLst>
                <a:ext uri="{FF2B5EF4-FFF2-40B4-BE49-F238E27FC236}">
                  <a16:creationId xmlns:a16="http://schemas.microsoft.com/office/drawing/2014/main" id="{ADD04F86-17CE-4275-ADFF-B6487E460F95}"/>
                </a:ext>
              </a:extLst>
            </p:cNvPr>
            <p:cNvSpPr>
              <a:spLocks noEditPoints="1"/>
            </p:cNvSpPr>
            <p:nvPr/>
          </p:nvSpPr>
          <p:spPr bwMode="auto">
            <a:xfrm>
              <a:off x="8504238" y="3471863"/>
              <a:ext cx="201613" cy="328613"/>
            </a:xfrm>
            <a:custGeom>
              <a:avLst/>
              <a:gdLst>
                <a:gd name="T0" fmla="*/ 245 w 245"/>
                <a:gd name="T1" fmla="*/ 400 h 400"/>
                <a:gd name="T2" fmla="*/ 138 w 245"/>
                <a:gd name="T3" fmla="*/ 260 h 400"/>
                <a:gd name="T4" fmla="*/ 146 w 245"/>
                <a:gd name="T5" fmla="*/ 263 h 400"/>
                <a:gd name="T6" fmla="*/ 160 w 245"/>
                <a:gd name="T7" fmla="*/ 243 h 400"/>
                <a:gd name="T8" fmla="*/ 154 w 245"/>
                <a:gd name="T9" fmla="*/ 219 h 400"/>
                <a:gd name="T10" fmla="*/ 227 w 245"/>
                <a:gd name="T11" fmla="*/ 146 h 400"/>
                <a:gd name="T12" fmla="*/ 245 w 245"/>
                <a:gd name="T13" fmla="*/ 207 h 400"/>
                <a:gd name="T14" fmla="*/ 245 w 245"/>
                <a:gd name="T15" fmla="*/ 400 h 400"/>
                <a:gd name="T16" fmla="*/ 88 w 245"/>
                <a:gd name="T17" fmla="*/ 171 h 400"/>
                <a:gd name="T18" fmla="*/ 79 w 245"/>
                <a:gd name="T19" fmla="*/ 166 h 400"/>
                <a:gd name="T20" fmla="*/ 0 w 245"/>
                <a:gd name="T21" fmla="*/ 0 h 400"/>
                <a:gd name="T22" fmla="*/ 164 w 245"/>
                <a:gd name="T23" fmla="*/ 95 h 400"/>
                <a:gd name="T24" fmla="*/ 88 w 245"/>
                <a:gd name="T25" fmla="*/ 171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400">
                  <a:moveTo>
                    <a:pt x="245" y="400"/>
                  </a:moveTo>
                  <a:cubicBezTo>
                    <a:pt x="207" y="356"/>
                    <a:pt x="171" y="310"/>
                    <a:pt x="138" y="260"/>
                  </a:cubicBezTo>
                  <a:cubicBezTo>
                    <a:pt x="141" y="262"/>
                    <a:pt x="143" y="263"/>
                    <a:pt x="146" y="263"/>
                  </a:cubicBezTo>
                  <a:cubicBezTo>
                    <a:pt x="154" y="263"/>
                    <a:pt x="160" y="255"/>
                    <a:pt x="160" y="243"/>
                  </a:cubicBezTo>
                  <a:cubicBezTo>
                    <a:pt x="160" y="235"/>
                    <a:pt x="157" y="227"/>
                    <a:pt x="154" y="219"/>
                  </a:cubicBezTo>
                  <a:lnTo>
                    <a:pt x="227" y="146"/>
                  </a:lnTo>
                  <a:cubicBezTo>
                    <a:pt x="238" y="164"/>
                    <a:pt x="245" y="187"/>
                    <a:pt x="245" y="207"/>
                  </a:cubicBezTo>
                  <a:lnTo>
                    <a:pt x="245" y="400"/>
                  </a:lnTo>
                  <a:moveTo>
                    <a:pt x="88" y="171"/>
                  </a:moveTo>
                  <a:lnTo>
                    <a:pt x="79" y="166"/>
                  </a:lnTo>
                  <a:cubicBezTo>
                    <a:pt x="49" y="112"/>
                    <a:pt x="22" y="57"/>
                    <a:pt x="0" y="0"/>
                  </a:cubicBezTo>
                  <a:lnTo>
                    <a:pt x="164" y="95"/>
                  </a:lnTo>
                  <a:lnTo>
                    <a:pt x="88" y="171"/>
                  </a:lnTo>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1739">
              <a:extLst>
                <a:ext uri="{FF2B5EF4-FFF2-40B4-BE49-F238E27FC236}">
                  <a16:creationId xmlns:a16="http://schemas.microsoft.com/office/drawing/2014/main" id="{2C8E5965-0536-4842-8FEF-534555F2C456}"/>
                </a:ext>
              </a:extLst>
            </p:cNvPr>
            <p:cNvSpPr>
              <a:spLocks noEditPoints="1"/>
            </p:cNvSpPr>
            <p:nvPr/>
          </p:nvSpPr>
          <p:spPr bwMode="auto">
            <a:xfrm>
              <a:off x="8569326" y="3608388"/>
              <a:ext cx="66675" cy="79375"/>
            </a:xfrm>
            <a:custGeom>
              <a:avLst/>
              <a:gdLst>
                <a:gd name="T0" fmla="*/ 67 w 81"/>
                <a:gd name="T1" fmla="*/ 97 h 97"/>
                <a:gd name="T2" fmla="*/ 59 w 81"/>
                <a:gd name="T3" fmla="*/ 94 h 97"/>
                <a:gd name="T4" fmla="*/ 49 w 81"/>
                <a:gd name="T5" fmla="*/ 79 h 97"/>
                <a:gd name="T6" fmla="*/ 75 w 81"/>
                <a:gd name="T7" fmla="*/ 53 h 97"/>
                <a:gd name="T8" fmla="*/ 81 w 81"/>
                <a:gd name="T9" fmla="*/ 77 h 97"/>
                <a:gd name="T10" fmla="*/ 67 w 81"/>
                <a:gd name="T11" fmla="*/ 97 h 97"/>
                <a:gd name="T12" fmla="*/ 5 w 81"/>
                <a:gd name="T13" fmla="*/ 9 h 97"/>
                <a:gd name="T14" fmla="*/ 0 w 81"/>
                <a:gd name="T15" fmla="*/ 0 h 97"/>
                <a:gd name="T16" fmla="*/ 9 w 81"/>
                <a:gd name="T17" fmla="*/ 5 h 97"/>
                <a:gd name="T18" fmla="*/ 5 w 81"/>
                <a:gd name="T19" fmla="*/ 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97">
                  <a:moveTo>
                    <a:pt x="67" y="97"/>
                  </a:moveTo>
                  <a:cubicBezTo>
                    <a:pt x="64" y="97"/>
                    <a:pt x="62" y="96"/>
                    <a:pt x="59" y="94"/>
                  </a:cubicBezTo>
                  <a:cubicBezTo>
                    <a:pt x="55" y="89"/>
                    <a:pt x="52" y="84"/>
                    <a:pt x="49" y="79"/>
                  </a:cubicBezTo>
                  <a:lnTo>
                    <a:pt x="75" y="53"/>
                  </a:lnTo>
                  <a:cubicBezTo>
                    <a:pt x="78" y="61"/>
                    <a:pt x="81" y="69"/>
                    <a:pt x="81" y="77"/>
                  </a:cubicBezTo>
                  <a:cubicBezTo>
                    <a:pt x="81" y="89"/>
                    <a:pt x="75" y="97"/>
                    <a:pt x="67" y="97"/>
                  </a:cubicBezTo>
                  <a:close/>
                  <a:moveTo>
                    <a:pt x="5" y="9"/>
                  </a:moveTo>
                  <a:cubicBezTo>
                    <a:pt x="4" y="6"/>
                    <a:pt x="2" y="3"/>
                    <a:pt x="0" y="0"/>
                  </a:cubicBezTo>
                  <a:lnTo>
                    <a:pt x="9" y="5"/>
                  </a:lnTo>
                  <a:lnTo>
                    <a:pt x="5" y="9"/>
                  </a:lnTo>
                  <a:close/>
                </a:path>
              </a:pathLst>
            </a:custGeom>
            <a:solidFill>
              <a:srgbClr val="C0B4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1740">
              <a:extLst>
                <a:ext uri="{FF2B5EF4-FFF2-40B4-BE49-F238E27FC236}">
                  <a16:creationId xmlns:a16="http://schemas.microsoft.com/office/drawing/2014/main" id="{4AAA290A-9C99-45A4-BBE8-B8D2F320B6EE}"/>
                </a:ext>
              </a:extLst>
            </p:cNvPr>
            <p:cNvSpPr>
              <a:spLocks/>
            </p:cNvSpPr>
            <p:nvPr/>
          </p:nvSpPr>
          <p:spPr bwMode="auto">
            <a:xfrm>
              <a:off x="8705851" y="2822576"/>
              <a:ext cx="120650" cy="276225"/>
            </a:xfrm>
            <a:custGeom>
              <a:avLst/>
              <a:gdLst>
                <a:gd name="T0" fmla="*/ 0 w 148"/>
                <a:gd name="T1" fmla="*/ 337 h 337"/>
                <a:gd name="T2" fmla="*/ 0 w 148"/>
                <a:gd name="T3" fmla="*/ 0 h 337"/>
                <a:gd name="T4" fmla="*/ 148 w 148"/>
                <a:gd name="T5" fmla="*/ 31 h 337"/>
                <a:gd name="T6" fmla="*/ 148 w 148"/>
                <a:gd name="T7" fmla="*/ 189 h 337"/>
                <a:gd name="T8" fmla="*/ 0 w 148"/>
                <a:gd name="T9" fmla="*/ 337 h 337"/>
              </a:gdLst>
              <a:ahLst/>
              <a:cxnLst>
                <a:cxn ang="0">
                  <a:pos x="T0" y="T1"/>
                </a:cxn>
                <a:cxn ang="0">
                  <a:pos x="T2" y="T3"/>
                </a:cxn>
                <a:cxn ang="0">
                  <a:pos x="T4" y="T5"/>
                </a:cxn>
                <a:cxn ang="0">
                  <a:pos x="T6" y="T7"/>
                </a:cxn>
                <a:cxn ang="0">
                  <a:pos x="T8" y="T9"/>
                </a:cxn>
              </a:cxnLst>
              <a:rect l="0" t="0" r="r" b="b"/>
              <a:pathLst>
                <a:path w="148" h="337">
                  <a:moveTo>
                    <a:pt x="0" y="337"/>
                  </a:moveTo>
                  <a:lnTo>
                    <a:pt x="0" y="0"/>
                  </a:lnTo>
                  <a:cubicBezTo>
                    <a:pt x="47" y="1"/>
                    <a:pt x="96" y="11"/>
                    <a:pt x="148" y="31"/>
                  </a:cubicBezTo>
                  <a:lnTo>
                    <a:pt x="148" y="189"/>
                  </a:lnTo>
                  <a:lnTo>
                    <a:pt x="0" y="337"/>
                  </a:lnTo>
                </a:path>
              </a:pathLst>
            </a:custGeom>
            <a:solidFill>
              <a:srgbClr val="775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741">
              <a:extLst>
                <a:ext uri="{FF2B5EF4-FFF2-40B4-BE49-F238E27FC236}">
                  <a16:creationId xmlns:a16="http://schemas.microsoft.com/office/drawing/2014/main" id="{545B1B13-3AD0-4B22-87E7-6D616E621158}"/>
                </a:ext>
              </a:extLst>
            </p:cNvPr>
            <p:cNvSpPr>
              <a:spLocks noEditPoints="1"/>
            </p:cNvSpPr>
            <p:nvPr/>
          </p:nvSpPr>
          <p:spPr bwMode="auto">
            <a:xfrm>
              <a:off x="8437563" y="2822576"/>
              <a:ext cx="268288" cy="519113"/>
            </a:xfrm>
            <a:custGeom>
              <a:avLst/>
              <a:gdLst>
                <a:gd name="T0" fmla="*/ 29 w 326"/>
                <a:gd name="T1" fmla="*/ 634 h 634"/>
                <a:gd name="T2" fmla="*/ 0 w 326"/>
                <a:gd name="T3" fmla="*/ 408 h 634"/>
                <a:gd name="T4" fmla="*/ 18 w 326"/>
                <a:gd name="T5" fmla="*/ 252 h 634"/>
                <a:gd name="T6" fmla="*/ 18 w 326"/>
                <a:gd name="T7" fmla="*/ 547 h 634"/>
                <a:gd name="T8" fmla="*/ 26 w 326"/>
                <a:gd name="T9" fmla="*/ 562 h 634"/>
                <a:gd name="T10" fmla="*/ 74 w 326"/>
                <a:gd name="T11" fmla="*/ 590 h 634"/>
                <a:gd name="T12" fmla="*/ 29 w 326"/>
                <a:gd name="T13" fmla="*/ 634 h 634"/>
                <a:gd name="T14" fmla="*/ 89 w 326"/>
                <a:gd name="T15" fmla="*/ 574 h 634"/>
                <a:gd name="T16" fmla="*/ 89 w 326"/>
                <a:gd name="T17" fmla="*/ 288 h 634"/>
                <a:gd name="T18" fmla="*/ 80 w 326"/>
                <a:gd name="T19" fmla="*/ 255 h 634"/>
                <a:gd name="T20" fmla="*/ 56 w 326"/>
                <a:gd name="T21" fmla="*/ 228 h 634"/>
                <a:gd name="T22" fmla="*/ 51 w 326"/>
                <a:gd name="T23" fmla="*/ 225 h 634"/>
                <a:gd name="T24" fmla="*/ 38 w 326"/>
                <a:gd name="T25" fmla="*/ 221 h 634"/>
                <a:gd name="T26" fmla="*/ 26 w 326"/>
                <a:gd name="T27" fmla="*/ 227 h 634"/>
                <a:gd name="T28" fmla="*/ 317 w 326"/>
                <a:gd name="T29" fmla="*/ 0 h 634"/>
                <a:gd name="T30" fmla="*/ 326 w 326"/>
                <a:gd name="T31" fmla="*/ 0 h 634"/>
                <a:gd name="T32" fmla="*/ 326 w 326"/>
                <a:gd name="T33" fmla="*/ 337 h 634"/>
                <a:gd name="T34" fmla="*/ 222 w 326"/>
                <a:gd name="T35" fmla="*/ 441 h 634"/>
                <a:gd name="T36" fmla="*/ 222 w 326"/>
                <a:gd name="T37" fmla="*/ 229 h 634"/>
                <a:gd name="T38" fmla="*/ 213 w 326"/>
                <a:gd name="T39" fmla="*/ 195 h 634"/>
                <a:gd name="T40" fmla="*/ 189 w 326"/>
                <a:gd name="T41" fmla="*/ 168 h 634"/>
                <a:gd name="T42" fmla="*/ 185 w 326"/>
                <a:gd name="T43" fmla="*/ 166 h 634"/>
                <a:gd name="T44" fmla="*/ 171 w 326"/>
                <a:gd name="T45" fmla="*/ 162 h 634"/>
                <a:gd name="T46" fmla="*/ 152 w 326"/>
                <a:gd name="T47" fmla="*/ 191 h 634"/>
                <a:gd name="T48" fmla="*/ 152 w 326"/>
                <a:gd name="T49" fmla="*/ 512 h 634"/>
                <a:gd name="T50" fmla="*/ 89 w 326"/>
                <a:gd name="T51" fmla="*/ 574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634">
                  <a:moveTo>
                    <a:pt x="29" y="634"/>
                  </a:moveTo>
                  <a:cubicBezTo>
                    <a:pt x="10" y="558"/>
                    <a:pt x="0" y="481"/>
                    <a:pt x="0" y="408"/>
                  </a:cubicBezTo>
                  <a:cubicBezTo>
                    <a:pt x="0" y="350"/>
                    <a:pt x="6" y="298"/>
                    <a:pt x="18" y="252"/>
                  </a:cubicBezTo>
                  <a:lnTo>
                    <a:pt x="18" y="547"/>
                  </a:lnTo>
                  <a:cubicBezTo>
                    <a:pt x="18" y="553"/>
                    <a:pt x="22" y="560"/>
                    <a:pt x="26" y="562"/>
                  </a:cubicBezTo>
                  <a:lnTo>
                    <a:pt x="74" y="590"/>
                  </a:lnTo>
                  <a:lnTo>
                    <a:pt x="29" y="634"/>
                  </a:lnTo>
                  <a:close/>
                  <a:moveTo>
                    <a:pt x="89" y="574"/>
                  </a:moveTo>
                  <a:lnTo>
                    <a:pt x="89" y="288"/>
                  </a:lnTo>
                  <a:cubicBezTo>
                    <a:pt x="89" y="277"/>
                    <a:pt x="86" y="265"/>
                    <a:pt x="80" y="255"/>
                  </a:cubicBezTo>
                  <a:cubicBezTo>
                    <a:pt x="74" y="243"/>
                    <a:pt x="66" y="233"/>
                    <a:pt x="56" y="228"/>
                  </a:cubicBezTo>
                  <a:lnTo>
                    <a:pt x="51" y="225"/>
                  </a:lnTo>
                  <a:cubicBezTo>
                    <a:pt x="47" y="222"/>
                    <a:pt x="42" y="221"/>
                    <a:pt x="38" y="221"/>
                  </a:cubicBezTo>
                  <a:cubicBezTo>
                    <a:pt x="33" y="221"/>
                    <a:pt x="29" y="223"/>
                    <a:pt x="26" y="227"/>
                  </a:cubicBezTo>
                  <a:cubicBezTo>
                    <a:pt x="72" y="81"/>
                    <a:pt x="178" y="0"/>
                    <a:pt x="317" y="0"/>
                  </a:cubicBezTo>
                  <a:cubicBezTo>
                    <a:pt x="320" y="0"/>
                    <a:pt x="323" y="0"/>
                    <a:pt x="326" y="0"/>
                  </a:cubicBezTo>
                  <a:lnTo>
                    <a:pt x="326" y="337"/>
                  </a:lnTo>
                  <a:lnTo>
                    <a:pt x="222" y="441"/>
                  </a:lnTo>
                  <a:lnTo>
                    <a:pt x="222" y="229"/>
                  </a:lnTo>
                  <a:cubicBezTo>
                    <a:pt x="222" y="218"/>
                    <a:pt x="219" y="206"/>
                    <a:pt x="213" y="195"/>
                  </a:cubicBezTo>
                  <a:cubicBezTo>
                    <a:pt x="207" y="184"/>
                    <a:pt x="199" y="174"/>
                    <a:pt x="189" y="168"/>
                  </a:cubicBezTo>
                  <a:lnTo>
                    <a:pt x="185" y="166"/>
                  </a:lnTo>
                  <a:cubicBezTo>
                    <a:pt x="180" y="163"/>
                    <a:pt x="175" y="162"/>
                    <a:pt x="171" y="162"/>
                  </a:cubicBezTo>
                  <a:cubicBezTo>
                    <a:pt x="160" y="162"/>
                    <a:pt x="152" y="172"/>
                    <a:pt x="152" y="191"/>
                  </a:cubicBezTo>
                  <a:lnTo>
                    <a:pt x="152" y="512"/>
                  </a:lnTo>
                  <a:lnTo>
                    <a:pt x="89" y="574"/>
                  </a:lnTo>
                </a:path>
              </a:pathLst>
            </a:custGeom>
            <a:solidFill>
              <a:srgbClr val="AD9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1742">
              <a:extLst>
                <a:ext uri="{FF2B5EF4-FFF2-40B4-BE49-F238E27FC236}">
                  <a16:creationId xmlns:a16="http://schemas.microsoft.com/office/drawing/2014/main" id="{E74A1413-60C2-46EF-8A99-166989CC1E01}"/>
                </a:ext>
              </a:extLst>
            </p:cNvPr>
            <p:cNvSpPr>
              <a:spLocks/>
            </p:cNvSpPr>
            <p:nvPr/>
          </p:nvSpPr>
          <p:spPr bwMode="auto">
            <a:xfrm>
              <a:off x="8453438" y="3003551"/>
              <a:ext cx="50800" cy="303213"/>
            </a:xfrm>
            <a:custGeom>
              <a:avLst/>
              <a:gdLst>
                <a:gd name="T0" fmla="*/ 56 w 62"/>
                <a:gd name="T1" fmla="*/ 369 h 369"/>
                <a:gd name="T2" fmla="*/ 8 w 62"/>
                <a:gd name="T3" fmla="*/ 341 h 369"/>
                <a:gd name="T4" fmla="*/ 0 w 62"/>
                <a:gd name="T5" fmla="*/ 326 h 369"/>
                <a:gd name="T6" fmla="*/ 0 w 62"/>
                <a:gd name="T7" fmla="*/ 31 h 369"/>
                <a:gd name="T8" fmla="*/ 8 w 62"/>
                <a:gd name="T9" fmla="*/ 6 h 369"/>
                <a:gd name="T10" fmla="*/ 20 w 62"/>
                <a:gd name="T11" fmla="*/ 0 h 369"/>
                <a:gd name="T12" fmla="*/ 33 w 62"/>
                <a:gd name="T13" fmla="*/ 4 h 369"/>
                <a:gd name="T14" fmla="*/ 38 w 62"/>
                <a:gd name="T15" fmla="*/ 7 h 369"/>
                <a:gd name="T16" fmla="*/ 62 w 62"/>
                <a:gd name="T17" fmla="*/ 34 h 369"/>
                <a:gd name="T18" fmla="*/ 44 w 62"/>
                <a:gd name="T19" fmla="*/ 11 h 369"/>
                <a:gd name="T20" fmla="*/ 53 w 62"/>
                <a:gd name="T21" fmla="*/ 55 h 369"/>
                <a:gd name="T22" fmla="*/ 53 w 62"/>
                <a:gd name="T23" fmla="*/ 352 h 369"/>
                <a:gd name="T24" fmla="*/ 47 w 62"/>
                <a:gd name="T25" fmla="*/ 362 h 369"/>
                <a:gd name="T26" fmla="*/ 43 w 62"/>
                <a:gd name="T27" fmla="*/ 361 h 369"/>
                <a:gd name="T28" fmla="*/ 56 w 62"/>
                <a:gd name="T29" fmla="*/ 369 h 369"/>
                <a:gd name="T30" fmla="*/ 56 w 62"/>
                <a:gd name="T31"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369">
                  <a:moveTo>
                    <a:pt x="56" y="369"/>
                  </a:moveTo>
                  <a:lnTo>
                    <a:pt x="8" y="341"/>
                  </a:lnTo>
                  <a:cubicBezTo>
                    <a:pt x="4" y="339"/>
                    <a:pt x="0" y="332"/>
                    <a:pt x="0" y="326"/>
                  </a:cubicBezTo>
                  <a:lnTo>
                    <a:pt x="0" y="31"/>
                  </a:lnTo>
                  <a:cubicBezTo>
                    <a:pt x="3" y="22"/>
                    <a:pt x="5" y="14"/>
                    <a:pt x="8" y="6"/>
                  </a:cubicBezTo>
                  <a:cubicBezTo>
                    <a:pt x="11" y="2"/>
                    <a:pt x="15" y="0"/>
                    <a:pt x="20" y="0"/>
                  </a:cubicBezTo>
                  <a:cubicBezTo>
                    <a:pt x="24" y="0"/>
                    <a:pt x="29" y="1"/>
                    <a:pt x="33" y="4"/>
                  </a:cubicBezTo>
                  <a:lnTo>
                    <a:pt x="38" y="7"/>
                  </a:lnTo>
                  <a:cubicBezTo>
                    <a:pt x="48" y="12"/>
                    <a:pt x="56" y="22"/>
                    <a:pt x="62" y="34"/>
                  </a:cubicBezTo>
                  <a:cubicBezTo>
                    <a:pt x="57" y="25"/>
                    <a:pt x="51" y="17"/>
                    <a:pt x="44" y="11"/>
                  </a:cubicBezTo>
                  <a:cubicBezTo>
                    <a:pt x="49" y="25"/>
                    <a:pt x="53" y="40"/>
                    <a:pt x="53" y="55"/>
                  </a:cubicBezTo>
                  <a:lnTo>
                    <a:pt x="53" y="352"/>
                  </a:lnTo>
                  <a:cubicBezTo>
                    <a:pt x="53" y="359"/>
                    <a:pt x="50" y="362"/>
                    <a:pt x="47" y="362"/>
                  </a:cubicBezTo>
                  <a:cubicBezTo>
                    <a:pt x="45" y="362"/>
                    <a:pt x="44" y="362"/>
                    <a:pt x="43" y="361"/>
                  </a:cubicBezTo>
                  <a:lnTo>
                    <a:pt x="56" y="369"/>
                  </a:lnTo>
                  <a:lnTo>
                    <a:pt x="56" y="369"/>
                  </a:lnTo>
                </a:path>
              </a:pathLst>
            </a:custGeom>
            <a:solidFill>
              <a:srgbClr val="B456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1743">
              <a:extLst>
                <a:ext uri="{FF2B5EF4-FFF2-40B4-BE49-F238E27FC236}">
                  <a16:creationId xmlns:a16="http://schemas.microsoft.com/office/drawing/2014/main" id="{DFA1A823-9CF9-4C72-80BA-C00E2D0B2FC5}"/>
                </a:ext>
              </a:extLst>
            </p:cNvPr>
            <p:cNvSpPr>
              <a:spLocks/>
            </p:cNvSpPr>
            <p:nvPr/>
          </p:nvSpPr>
          <p:spPr bwMode="auto">
            <a:xfrm>
              <a:off x="8504238" y="3032126"/>
              <a:ext cx="6350" cy="260350"/>
            </a:xfrm>
            <a:custGeom>
              <a:avLst/>
              <a:gdLst>
                <a:gd name="T0" fmla="*/ 9 w 9"/>
                <a:gd name="T1" fmla="*/ 319 h 319"/>
                <a:gd name="T2" fmla="*/ 9 w 9"/>
                <a:gd name="T3" fmla="*/ 36 h 319"/>
                <a:gd name="T4" fmla="*/ 0 w 9"/>
                <a:gd name="T5" fmla="*/ 0 h 319"/>
                <a:gd name="T6" fmla="*/ 9 w 9"/>
                <a:gd name="T7" fmla="*/ 33 h 319"/>
                <a:gd name="T8" fmla="*/ 9 w 9"/>
                <a:gd name="T9" fmla="*/ 319 h 319"/>
              </a:gdLst>
              <a:ahLst/>
              <a:cxnLst>
                <a:cxn ang="0">
                  <a:pos x="T0" y="T1"/>
                </a:cxn>
                <a:cxn ang="0">
                  <a:pos x="T2" y="T3"/>
                </a:cxn>
                <a:cxn ang="0">
                  <a:pos x="T4" y="T5"/>
                </a:cxn>
                <a:cxn ang="0">
                  <a:pos x="T6" y="T7"/>
                </a:cxn>
                <a:cxn ang="0">
                  <a:pos x="T8" y="T9"/>
                </a:cxn>
              </a:cxnLst>
              <a:rect l="0" t="0" r="r" b="b"/>
              <a:pathLst>
                <a:path w="9" h="319">
                  <a:moveTo>
                    <a:pt x="9" y="319"/>
                  </a:moveTo>
                  <a:lnTo>
                    <a:pt x="9" y="36"/>
                  </a:lnTo>
                  <a:cubicBezTo>
                    <a:pt x="9" y="24"/>
                    <a:pt x="6" y="11"/>
                    <a:pt x="0" y="0"/>
                  </a:cubicBezTo>
                  <a:cubicBezTo>
                    <a:pt x="6" y="10"/>
                    <a:pt x="9" y="22"/>
                    <a:pt x="9" y="33"/>
                  </a:cubicBezTo>
                  <a:lnTo>
                    <a:pt x="9" y="319"/>
                  </a:lnTo>
                </a:path>
              </a:pathLst>
            </a:custGeom>
            <a:solidFill>
              <a:srgbClr val="9686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1744">
              <a:extLst>
                <a:ext uri="{FF2B5EF4-FFF2-40B4-BE49-F238E27FC236}">
                  <a16:creationId xmlns:a16="http://schemas.microsoft.com/office/drawing/2014/main" id="{E280467C-D078-4F0F-9382-C81E5B6A7382}"/>
                </a:ext>
              </a:extLst>
            </p:cNvPr>
            <p:cNvSpPr>
              <a:spLocks/>
            </p:cNvSpPr>
            <p:nvPr/>
          </p:nvSpPr>
          <p:spPr bwMode="auto">
            <a:xfrm>
              <a:off x="8488363" y="3013076"/>
              <a:ext cx="22225" cy="293688"/>
            </a:xfrm>
            <a:custGeom>
              <a:avLst/>
              <a:gdLst>
                <a:gd name="T0" fmla="*/ 13 w 28"/>
                <a:gd name="T1" fmla="*/ 358 h 358"/>
                <a:gd name="T2" fmla="*/ 0 w 28"/>
                <a:gd name="T3" fmla="*/ 350 h 358"/>
                <a:gd name="T4" fmla="*/ 4 w 28"/>
                <a:gd name="T5" fmla="*/ 351 h 358"/>
                <a:gd name="T6" fmla="*/ 10 w 28"/>
                <a:gd name="T7" fmla="*/ 341 h 358"/>
                <a:gd name="T8" fmla="*/ 10 w 28"/>
                <a:gd name="T9" fmla="*/ 44 h 358"/>
                <a:gd name="T10" fmla="*/ 1 w 28"/>
                <a:gd name="T11" fmla="*/ 0 h 358"/>
                <a:gd name="T12" fmla="*/ 19 w 28"/>
                <a:gd name="T13" fmla="*/ 23 h 358"/>
                <a:gd name="T14" fmla="*/ 28 w 28"/>
                <a:gd name="T15" fmla="*/ 59 h 358"/>
                <a:gd name="T16" fmla="*/ 28 w 28"/>
                <a:gd name="T17" fmla="*/ 342 h 358"/>
                <a:gd name="T18" fmla="*/ 13 w 28"/>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58">
                  <a:moveTo>
                    <a:pt x="13" y="358"/>
                  </a:moveTo>
                  <a:lnTo>
                    <a:pt x="0" y="350"/>
                  </a:lnTo>
                  <a:cubicBezTo>
                    <a:pt x="1" y="351"/>
                    <a:pt x="2" y="351"/>
                    <a:pt x="4" y="351"/>
                  </a:cubicBezTo>
                  <a:cubicBezTo>
                    <a:pt x="7" y="351"/>
                    <a:pt x="10" y="348"/>
                    <a:pt x="10" y="341"/>
                  </a:cubicBezTo>
                  <a:lnTo>
                    <a:pt x="10" y="44"/>
                  </a:lnTo>
                  <a:cubicBezTo>
                    <a:pt x="10" y="29"/>
                    <a:pt x="6" y="14"/>
                    <a:pt x="1" y="0"/>
                  </a:cubicBezTo>
                  <a:cubicBezTo>
                    <a:pt x="8" y="6"/>
                    <a:pt x="14" y="14"/>
                    <a:pt x="19" y="23"/>
                  </a:cubicBezTo>
                  <a:cubicBezTo>
                    <a:pt x="25" y="34"/>
                    <a:pt x="28" y="47"/>
                    <a:pt x="28" y="59"/>
                  </a:cubicBezTo>
                  <a:lnTo>
                    <a:pt x="28" y="342"/>
                  </a:lnTo>
                  <a:lnTo>
                    <a:pt x="13" y="358"/>
                  </a:lnTo>
                </a:path>
              </a:pathLst>
            </a:custGeom>
            <a:solidFill>
              <a:srgbClr val="9B4C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745">
              <a:extLst>
                <a:ext uri="{FF2B5EF4-FFF2-40B4-BE49-F238E27FC236}">
                  <a16:creationId xmlns:a16="http://schemas.microsoft.com/office/drawing/2014/main" id="{FBE52ECE-EDBB-46A6-B37A-2227B52BCA50}"/>
                </a:ext>
              </a:extLst>
            </p:cNvPr>
            <p:cNvSpPr>
              <a:spLocks/>
            </p:cNvSpPr>
            <p:nvPr/>
          </p:nvSpPr>
          <p:spPr bwMode="auto">
            <a:xfrm>
              <a:off x="8562976" y="2954338"/>
              <a:ext cx="49213" cy="287338"/>
            </a:xfrm>
            <a:custGeom>
              <a:avLst/>
              <a:gdLst>
                <a:gd name="T0" fmla="*/ 0 w 61"/>
                <a:gd name="T1" fmla="*/ 350 h 350"/>
                <a:gd name="T2" fmla="*/ 0 w 61"/>
                <a:gd name="T3" fmla="*/ 29 h 350"/>
                <a:gd name="T4" fmla="*/ 19 w 61"/>
                <a:gd name="T5" fmla="*/ 0 h 350"/>
                <a:gd name="T6" fmla="*/ 33 w 61"/>
                <a:gd name="T7" fmla="*/ 4 h 350"/>
                <a:gd name="T8" fmla="*/ 37 w 61"/>
                <a:gd name="T9" fmla="*/ 6 h 350"/>
                <a:gd name="T10" fmla="*/ 61 w 61"/>
                <a:gd name="T11" fmla="*/ 33 h 350"/>
                <a:gd name="T12" fmla="*/ 43 w 61"/>
                <a:gd name="T13" fmla="*/ 11 h 350"/>
                <a:gd name="T14" fmla="*/ 52 w 61"/>
                <a:gd name="T15" fmla="*/ 54 h 350"/>
                <a:gd name="T16" fmla="*/ 52 w 61"/>
                <a:gd name="T17" fmla="*/ 298 h 350"/>
                <a:gd name="T18" fmla="*/ 0 w 61"/>
                <a:gd name="T19"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350">
                  <a:moveTo>
                    <a:pt x="0" y="350"/>
                  </a:moveTo>
                  <a:lnTo>
                    <a:pt x="0" y="29"/>
                  </a:lnTo>
                  <a:cubicBezTo>
                    <a:pt x="0" y="10"/>
                    <a:pt x="8" y="0"/>
                    <a:pt x="19" y="0"/>
                  </a:cubicBezTo>
                  <a:cubicBezTo>
                    <a:pt x="23" y="0"/>
                    <a:pt x="28" y="1"/>
                    <a:pt x="33" y="4"/>
                  </a:cubicBezTo>
                  <a:lnTo>
                    <a:pt x="37" y="6"/>
                  </a:lnTo>
                  <a:cubicBezTo>
                    <a:pt x="47" y="12"/>
                    <a:pt x="55" y="22"/>
                    <a:pt x="61" y="33"/>
                  </a:cubicBezTo>
                  <a:cubicBezTo>
                    <a:pt x="56" y="25"/>
                    <a:pt x="50" y="17"/>
                    <a:pt x="43" y="11"/>
                  </a:cubicBezTo>
                  <a:cubicBezTo>
                    <a:pt x="48" y="24"/>
                    <a:pt x="52" y="40"/>
                    <a:pt x="52" y="54"/>
                  </a:cubicBezTo>
                  <a:lnTo>
                    <a:pt x="52" y="298"/>
                  </a:lnTo>
                  <a:lnTo>
                    <a:pt x="0" y="350"/>
                  </a:lnTo>
                  <a:close/>
                </a:path>
              </a:pathLst>
            </a:custGeom>
            <a:solidFill>
              <a:srgbClr val="D9AF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746">
              <a:extLst>
                <a:ext uri="{FF2B5EF4-FFF2-40B4-BE49-F238E27FC236}">
                  <a16:creationId xmlns:a16="http://schemas.microsoft.com/office/drawing/2014/main" id="{64B7E78E-9912-4324-97C1-51D16397528C}"/>
                </a:ext>
              </a:extLst>
            </p:cNvPr>
            <p:cNvSpPr>
              <a:spLocks/>
            </p:cNvSpPr>
            <p:nvPr/>
          </p:nvSpPr>
          <p:spPr bwMode="auto">
            <a:xfrm>
              <a:off x="8612188" y="2982913"/>
              <a:ext cx="7938" cy="201613"/>
            </a:xfrm>
            <a:custGeom>
              <a:avLst/>
              <a:gdLst>
                <a:gd name="T0" fmla="*/ 9 w 9"/>
                <a:gd name="T1" fmla="*/ 246 h 246"/>
                <a:gd name="T2" fmla="*/ 9 w 9"/>
                <a:gd name="T3" fmla="*/ 37 h 246"/>
                <a:gd name="T4" fmla="*/ 0 w 9"/>
                <a:gd name="T5" fmla="*/ 0 h 246"/>
                <a:gd name="T6" fmla="*/ 9 w 9"/>
                <a:gd name="T7" fmla="*/ 34 h 246"/>
                <a:gd name="T8" fmla="*/ 9 w 9"/>
                <a:gd name="T9" fmla="*/ 246 h 246"/>
              </a:gdLst>
              <a:ahLst/>
              <a:cxnLst>
                <a:cxn ang="0">
                  <a:pos x="T0" y="T1"/>
                </a:cxn>
                <a:cxn ang="0">
                  <a:pos x="T2" y="T3"/>
                </a:cxn>
                <a:cxn ang="0">
                  <a:pos x="T4" y="T5"/>
                </a:cxn>
                <a:cxn ang="0">
                  <a:pos x="T6" y="T7"/>
                </a:cxn>
                <a:cxn ang="0">
                  <a:pos x="T8" y="T9"/>
                </a:cxn>
              </a:cxnLst>
              <a:rect l="0" t="0" r="r" b="b"/>
              <a:pathLst>
                <a:path w="9" h="246">
                  <a:moveTo>
                    <a:pt x="9" y="246"/>
                  </a:moveTo>
                  <a:lnTo>
                    <a:pt x="9" y="37"/>
                  </a:lnTo>
                  <a:cubicBezTo>
                    <a:pt x="9" y="25"/>
                    <a:pt x="6" y="12"/>
                    <a:pt x="0" y="0"/>
                  </a:cubicBezTo>
                  <a:cubicBezTo>
                    <a:pt x="6" y="11"/>
                    <a:pt x="9" y="23"/>
                    <a:pt x="9" y="34"/>
                  </a:cubicBezTo>
                  <a:lnTo>
                    <a:pt x="9" y="246"/>
                  </a:lnTo>
                  <a:close/>
                </a:path>
              </a:pathLst>
            </a:custGeom>
            <a:solidFill>
              <a:srgbClr val="9686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747">
              <a:extLst>
                <a:ext uri="{FF2B5EF4-FFF2-40B4-BE49-F238E27FC236}">
                  <a16:creationId xmlns:a16="http://schemas.microsoft.com/office/drawing/2014/main" id="{B2ECCF7E-4F5F-4A85-9C4F-16EA3C76A02F}"/>
                </a:ext>
              </a:extLst>
            </p:cNvPr>
            <p:cNvSpPr>
              <a:spLocks/>
            </p:cNvSpPr>
            <p:nvPr/>
          </p:nvSpPr>
          <p:spPr bwMode="auto">
            <a:xfrm>
              <a:off x="8597901" y="2963863"/>
              <a:ext cx="22225" cy="234950"/>
            </a:xfrm>
            <a:custGeom>
              <a:avLst/>
              <a:gdLst>
                <a:gd name="T0" fmla="*/ 9 w 27"/>
                <a:gd name="T1" fmla="*/ 287 h 287"/>
                <a:gd name="T2" fmla="*/ 9 w 27"/>
                <a:gd name="T3" fmla="*/ 43 h 287"/>
                <a:gd name="T4" fmla="*/ 0 w 27"/>
                <a:gd name="T5" fmla="*/ 0 h 287"/>
                <a:gd name="T6" fmla="*/ 18 w 27"/>
                <a:gd name="T7" fmla="*/ 22 h 287"/>
                <a:gd name="T8" fmla="*/ 27 w 27"/>
                <a:gd name="T9" fmla="*/ 59 h 287"/>
                <a:gd name="T10" fmla="*/ 27 w 27"/>
                <a:gd name="T11" fmla="*/ 268 h 287"/>
                <a:gd name="T12" fmla="*/ 9 w 27"/>
                <a:gd name="T13" fmla="*/ 287 h 287"/>
              </a:gdLst>
              <a:ahLst/>
              <a:cxnLst>
                <a:cxn ang="0">
                  <a:pos x="T0" y="T1"/>
                </a:cxn>
                <a:cxn ang="0">
                  <a:pos x="T2" y="T3"/>
                </a:cxn>
                <a:cxn ang="0">
                  <a:pos x="T4" y="T5"/>
                </a:cxn>
                <a:cxn ang="0">
                  <a:pos x="T6" y="T7"/>
                </a:cxn>
                <a:cxn ang="0">
                  <a:pos x="T8" y="T9"/>
                </a:cxn>
                <a:cxn ang="0">
                  <a:pos x="T10" y="T11"/>
                </a:cxn>
                <a:cxn ang="0">
                  <a:pos x="T12" y="T13"/>
                </a:cxn>
              </a:cxnLst>
              <a:rect l="0" t="0" r="r" b="b"/>
              <a:pathLst>
                <a:path w="27" h="287">
                  <a:moveTo>
                    <a:pt x="9" y="287"/>
                  </a:moveTo>
                  <a:lnTo>
                    <a:pt x="9" y="43"/>
                  </a:lnTo>
                  <a:cubicBezTo>
                    <a:pt x="9" y="29"/>
                    <a:pt x="5" y="13"/>
                    <a:pt x="0" y="0"/>
                  </a:cubicBezTo>
                  <a:cubicBezTo>
                    <a:pt x="7" y="6"/>
                    <a:pt x="13" y="14"/>
                    <a:pt x="18" y="22"/>
                  </a:cubicBezTo>
                  <a:cubicBezTo>
                    <a:pt x="24" y="34"/>
                    <a:pt x="27" y="47"/>
                    <a:pt x="27" y="59"/>
                  </a:cubicBezTo>
                  <a:lnTo>
                    <a:pt x="27" y="268"/>
                  </a:lnTo>
                  <a:lnTo>
                    <a:pt x="9" y="287"/>
                  </a:lnTo>
                  <a:close/>
                </a:path>
              </a:pathLst>
            </a:custGeom>
            <a:solidFill>
              <a:srgbClr val="BB9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748">
              <a:extLst>
                <a:ext uri="{FF2B5EF4-FFF2-40B4-BE49-F238E27FC236}">
                  <a16:creationId xmlns:a16="http://schemas.microsoft.com/office/drawing/2014/main" id="{C2EE984F-F71A-4808-8F8B-6922BEE8C1B9}"/>
                </a:ext>
              </a:extLst>
            </p:cNvPr>
            <p:cNvSpPr>
              <a:spLocks/>
            </p:cNvSpPr>
            <p:nvPr/>
          </p:nvSpPr>
          <p:spPr bwMode="auto">
            <a:xfrm>
              <a:off x="8639176" y="3362326"/>
              <a:ext cx="187325" cy="230188"/>
            </a:xfrm>
            <a:custGeom>
              <a:avLst/>
              <a:gdLst>
                <a:gd name="T0" fmla="*/ 63 w 229"/>
                <a:gd name="T1" fmla="*/ 280 h 280"/>
                <a:gd name="T2" fmla="*/ 33 w 229"/>
                <a:gd name="T3" fmla="*/ 248 h 280"/>
                <a:gd name="T4" fmla="*/ 0 w 229"/>
                <a:gd name="T5" fmla="*/ 229 h 280"/>
                <a:gd name="T6" fmla="*/ 229 w 229"/>
                <a:gd name="T7" fmla="*/ 0 h 280"/>
                <a:gd name="T8" fmla="*/ 229 w 229"/>
                <a:gd name="T9" fmla="*/ 114 h 280"/>
                <a:gd name="T10" fmla="*/ 63 w 229"/>
                <a:gd name="T11" fmla="*/ 280 h 280"/>
              </a:gdLst>
              <a:ahLst/>
              <a:cxnLst>
                <a:cxn ang="0">
                  <a:pos x="T0" y="T1"/>
                </a:cxn>
                <a:cxn ang="0">
                  <a:pos x="T2" y="T3"/>
                </a:cxn>
                <a:cxn ang="0">
                  <a:pos x="T4" y="T5"/>
                </a:cxn>
                <a:cxn ang="0">
                  <a:pos x="T6" y="T7"/>
                </a:cxn>
                <a:cxn ang="0">
                  <a:pos x="T8" y="T9"/>
                </a:cxn>
                <a:cxn ang="0">
                  <a:pos x="T10" y="T11"/>
                </a:cxn>
              </a:cxnLst>
              <a:rect l="0" t="0" r="r" b="b"/>
              <a:pathLst>
                <a:path w="229" h="280">
                  <a:moveTo>
                    <a:pt x="63" y="280"/>
                  </a:moveTo>
                  <a:cubicBezTo>
                    <a:pt x="55" y="266"/>
                    <a:pt x="44" y="255"/>
                    <a:pt x="33" y="248"/>
                  </a:cubicBezTo>
                  <a:lnTo>
                    <a:pt x="0" y="229"/>
                  </a:lnTo>
                  <a:lnTo>
                    <a:pt x="229" y="0"/>
                  </a:lnTo>
                  <a:lnTo>
                    <a:pt x="229" y="114"/>
                  </a:lnTo>
                  <a:lnTo>
                    <a:pt x="63" y="280"/>
                  </a:lnTo>
                </a:path>
              </a:pathLst>
            </a:custGeom>
            <a:solidFill>
              <a:srgbClr val="775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749">
              <a:extLst>
                <a:ext uri="{FF2B5EF4-FFF2-40B4-BE49-F238E27FC236}">
                  <a16:creationId xmlns:a16="http://schemas.microsoft.com/office/drawing/2014/main" id="{F99A52D5-C8F2-4E12-93A7-5C5908F47101}"/>
                </a:ext>
              </a:extLst>
            </p:cNvPr>
            <p:cNvSpPr>
              <a:spLocks/>
            </p:cNvSpPr>
            <p:nvPr/>
          </p:nvSpPr>
          <p:spPr bwMode="auto">
            <a:xfrm>
              <a:off x="8577263" y="3551238"/>
              <a:ext cx="112713" cy="101600"/>
            </a:xfrm>
            <a:custGeom>
              <a:avLst/>
              <a:gdLst>
                <a:gd name="T0" fmla="*/ 66 w 139"/>
                <a:gd name="T1" fmla="*/ 124 h 124"/>
                <a:gd name="T2" fmla="*/ 49 w 139"/>
                <a:gd name="T3" fmla="*/ 104 h 124"/>
                <a:gd name="T4" fmla="*/ 0 w 139"/>
                <a:gd name="T5" fmla="*/ 76 h 124"/>
                <a:gd name="T6" fmla="*/ 76 w 139"/>
                <a:gd name="T7" fmla="*/ 0 h 124"/>
                <a:gd name="T8" fmla="*/ 109 w 139"/>
                <a:gd name="T9" fmla="*/ 19 h 124"/>
                <a:gd name="T10" fmla="*/ 139 w 139"/>
                <a:gd name="T11" fmla="*/ 51 h 124"/>
                <a:gd name="T12" fmla="*/ 66 w 139"/>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139" h="124">
                  <a:moveTo>
                    <a:pt x="66" y="124"/>
                  </a:moveTo>
                  <a:cubicBezTo>
                    <a:pt x="62" y="115"/>
                    <a:pt x="56" y="108"/>
                    <a:pt x="49" y="104"/>
                  </a:cubicBezTo>
                  <a:lnTo>
                    <a:pt x="0" y="76"/>
                  </a:lnTo>
                  <a:lnTo>
                    <a:pt x="76" y="0"/>
                  </a:lnTo>
                  <a:lnTo>
                    <a:pt x="109" y="19"/>
                  </a:lnTo>
                  <a:cubicBezTo>
                    <a:pt x="120" y="26"/>
                    <a:pt x="131" y="37"/>
                    <a:pt x="139" y="51"/>
                  </a:cubicBezTo>
                  <a:lnTo>
                    <a:pt x="66" y="124"/>
                  </a:lnTo>
                </a:path>
              </a:pathLst>
            </a:custGeom>
            <a:solidFill>
              <a:srgbClr val="AD9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750">
              <a:extLst>
                <a:ext uri="{FF2B5EF4-FFF2-40B4-BE49-F238E27FC236}">
                  <a16:creationId xmlns:a16="http://schemas.microsoft.com/office/drawing/2014/main" id="{D43027D9-4B24-4365-B0C2-982B95686E60}"/>
                </a:ext>
              </a:extLst>
            </p:cNvPr>
            <p:cNvSpPr>
              <a:spLocks/>
            </p:cNvSpPr>
            <p:nvPr/>
          </p:nvSpPr>
          <p:spPr bwMode="auto">
            <a:xfrm>
              <a:off x="8572501" y="3613151"/>
              <a:ext cx="58738" cy="60325"/>
            </a:xfrm>
            <a:custGeom>
              <a:avLst/>
              <a:gdLst>
                <a:gd name="T0" fmla="*/ 44 w 70"/>
                <a:gd name="T1" fmla="*/ 74 h 74"/>
                <a:gd name="T2" fmla="*/ 0 w 70"/>
                <a:gd name="T3" fmla="*/ 4 h 74"/>
                <a:gd name="T4" fmla="*/ 4 w 70"/>
                <a:gd name="T5" fmla="*/ 0 h 74"/>
                <a:gd name="T6" fmla="*/ 53 w 70"/>
                <a:gd name="T7" fmla="*/ 28 h 74"/>
                <a:gd name="T8" fmla="*/ 70 w 70"/>
                <a:gd name="T9" fmla="*/ 48 h 74"/>
                <a:gd name="T10" fmla="*/ 44 w 70"/>
                <a:gd name="T11" fmla="*/ 74 h 74"/>
              </a:gdLst>
              <a:ahLst/>
              <a:cxnLst>
                <a:cxn ang="0">
                  <a:pos x="T0" y="T1"/>
                </a:cxn>
                <a:cxn ang="0">
                  <a:pos x="T2" y="T3"/>
                </a:cxn>
                <a:cxn ang="0">
                  <a:pos x="T4" y="T5"/>
                </a:cxn>
                <a:cxn ang="0">
                  <a:pos x="T6" y="T7"/>
                </a:cxn>
                <a:cxn ang="0">
                  <a:pos x="T8" y="T9"/>
                </a:cxn>
                <a:cxn ang="0">
                  <a:pos x="T10" y="T11"/>
                </a:cxn>
              </a:cxnLst>
              <a:rect l="0" t="0" r="r" b="b"/>
              <a:pathLst>
                <a:path w="70" h="74">
                  <a:moveTo>
                    <a:pt x="44" y="74"/>
                  </a:moveTo>
                  <a:cubicBezTo>
                    <a:pt x="29" y="51"/>
                    <a:pt x="14" y="28"/>
                    <a:pt x="0" y="4"/>
                  </a:cubicBezTo>
                  <a:lnTo>
                    <a:pt x="4" y="0"/>
                  </a:lnTo>
                  <a:lnTo>
                    <a:pt x="53" y="28"/>
                  </a:lnTo>
                  <a:cubicBezTo>
                    <a:pt x="60" y="32"/>
                    <a:pt x="66" y="39"/>
                    <a:pt x="70" y="48"/>
                  </a:cubicBezTo>
                  <a:lnTo>
                    <a:pt x="44" y="74"/>
                  </a:lnTo>
                  <a:close/>
                </a:path>
              </a:pathLst>
            </a:custGeom>
            <a:solidFill>
              <a:srgbClr val="C2B6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751">
              <a:extLst>
                <a:ext uri="{FF2B5EF4-FFF2-40B4-BE49-F238E27FC236}">
                  <a16:creationId xmlns:a16="http://schemas.microsoft.com/office/drawing/2014/main" id="{F8357721-D017-4435-B637-3D56B99F1963}"/>
                </a:ext>
              </a:extLst>
            </p:cNvPr>
            <p:cNvSpPr>
              <a:spLocks/>
            </p:cNvSpPr>
            <p:nvPr/>
          </p:nvSpPr>
          <p:spPr bwMode="auto">
            <a:xfrm>
              <a:off x="8786813" y="3840163"/>
              <a:ext cx="39688" cy="74613"/>
            </a:xfrm>
            <a:custGeom>
              <a:avLst/>
              <a:gdLst>
                <a:gd name="T0" fmla="*/ 49 w 49"/>
                <a:gd name="T1" fmla="*/ 91 h 91"/>
                <a:gd name="T2" fmla="*/ 0 w 49"/>
                <a:gd name="T3" fmla="*/ 50 h 91"/>
                <a:gd name="T4" fmla="*/ 49 w 49"/>
                <a:gd name="T5" fmla="*/ 0 h 91"/>
                <a:gd name="T6" fmla="*/ 49 w 49"/>
                <a:gd name="T7" fmla="*/ 91 h 91"/>
              </a:gdLst>
              <a:ahLst/>
              <a:cxnLst>
                <a:cxn ang="0">
                  <a:pos x="T0" y="T1"/>
                </a:cxn>
                <a:cxn ang="0">
                  <a:pos x="T2" y="T3"/>
                </a:cxn>
                <a:cxn ang="0">
                  <a:pos x="T4" y="T5"/>
                </a:cxn>
                <a:cxn ang="0">
                  <a:pos x="T6" y="T7"/>
                </a:cxn>
              </a:cxnLst>
              <a:rect l="0" t="0" r="r" b="b"/>
              <a:pathLst>
                <a:path w="49" h="91">
                  <a:moveTo>
                    <a:pt x="49" y="91"/>
                  </a:moveTo>
                  <a:cubicBezTo>
                    <a:pt x="33" y="78"/>
                    <a:pt x="16" y="64"/>
                    <a:pt x="0" y="50"/>
                  </a:cubicBezTo>
                  <a:lnTo>
                    <a:pt x="49" y="0"/>
                  </a:lnTo>
                  <a:lnTo>
                    <a:pt x="49" y="91"/>
                  </a:lnTo>
                  <a:close/>
                </a:path>
              </a:pathLst>
            </a:custGeom>
            <a:solidFill>
              <a:srgbClr val="775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752">
              <a:extLst>
                <a:ext uri="{FF2B5EF4-FFF2-40B4-BE49-F238E27FC236}">
                  <a16:creationId xmlns:a16="http://schemas.microsoft.com/office/drawing/2014/main" id="{024E4B60-7634-4DD0-BE82-C566E0F70CFC}"/>
                </a:ext>
              </a:extLst>
            </p:cNvPr>
            <p:cNvSpPr>
              <a:spLocks/>
            </p:cNvSpPr>
            <p:nvPr/>
          </p:nvSpPr>
          <p:spPr bwMode="auto">
            <a:xfrm>
              <a:off x="8510588" y="5062538"/>
              <a:ext cx="295275" cy="142875"/>
            </a:xfrm>
            <a:custGeom>
              <a:avLst/>
              <a:gdLst>
                <a:gd name="T0" fmla="*/ 298 w 360"/>
                <a:gd name="T1" fmla="*/ 174 h 174"/>
                <a:gd name="T2" fmla="*/ 0 w 360"/>
                <a:gd name="T3" fmla="*/ 2 h 174"/>
                <a:gd name="T4" fmla="*/ 2 w 360"/>
                <a:gd name="T5" fmla="*/ 0 h 174"/>
                <a:gd name="T6" fmla="*/ 190 w 360"/>
                <a:gd name="T7" fmla="*/ 109 h 174"/>
                <a:gd name="T8" fmla="*/ 209 w 360"/>
                <a:gd name="T9" fmla="*/ 114 h 174"/>
                <a:gd name="T10" fmla="*/ 238 w 360"/>
                <a:gd name="T11" fmla="*/ 72 h 174"/>
                <a:gd name="T12" fmla="*/ 238 w 360"/>
                <a:gd name="T13" fmla="*/ 41 h 174"/>
                <a:gd name="T14" fmla="*/ 360 w 360"/>
                <a:gd name="T15" fmla="*/ 111 h 174"/>
                <a:gd name="T16" fmla="*/ 298 w 360"/>
                <a:gd name="T17"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0" h="174">
                  <a:moveTo>
                    <a:pt x="298" y="174"/>
                  </a:moveTo>
                  <a:lnTo>
                    <a:pt x="0" y="2"/>
                  </a:lnTo>
                  <a:lnTo>
                    <a:pt x="2" y="0"/>
                  </a:lnTo>
                  <a:lnTo>
                    <a:pt x="190" y="109"/>
                  </a:lnTo>
                  <a:cubicBezTo>
                    <a:pt x="196" y="112"/>
                    <a:pt x="203" y="114"/>
                    <a:pt x="209" y="114"/>
                  </a:cubicBezTo>
                  <a:cubicBezTo>
                    <a:pt x="226" y="114"/>
                    <a:pt x="238" y="98"/>
                    <a:pt x="238" y="72"/>
                  </a:cubicBezTo>
                  <a:lnTo>
                    <a:pt x="238" y="41"/>
                  </a:lnTo>
                  <a:lnTo>
                    <a:pt x="360" y="111"/>
                  </a:lnTo>
                  <a:lnTo>
                    <a:pt x="298" y="174"/>
                  </a:lnTo>
                </a:path>
              </a:pathLst>
            </a:custGeom>
            <a:solidFill>
              <a:srgbClr val="6F55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753">
              <a:extLst>
                <a:ext uri="{FF2B5EF4-FFF2-40B4-BE49-F238E27FC236}">
                  <a16:creationId xmlns:a16="http://schemas.microsoft.com/office/drawing/2014/main" id="{FEA9FECC-BCC6-4DD1-84CC-469A55B8DE9D}"/>
                </a:ext>
              </a:extLst>
            </p:cNvPr>
            <p:cNvSpPr>
              <a:spLocks/>
            </p:cNvSpPr>
            <p:nvPr/>
          </p:nvSpPr>
          <p:spPr bwMode="auto">
            <a:xfrm>
              <a:off x="8512176" y="5013326"/>
              <a:ext cx="193675" cy="142875"/>
            </a:xfrm>
            <a:custGeom>
              <a:avLst/>
              <a:gdLst>
                <a:gd name="T0" fmla="*/ 207 w 236"/>
                <a:gd name="T1" fmla="*/ 174 h 174"/>
                <a:gd name="T2" fmla="*/ 188 w 236"/>
                <a:gd name="T3" fmla="*/ 169 h 174"/>
                <a:gd name="T4" fmla="*/ 0 w 236"/>
                <a:gd name="T5" fmla="*/ 60 h 174"/>
                <a:gd name="T6" fmla="*/ 60 w 236"/>
                <a:gd name="T7" fmla="*/ 0 h 174"/>
                <a:gd name="T8" fmla="*/ 236 w 236"/>
                <a:gd name="T9" fmla="*/ 101 h 174"/>
                <a:gd name="T10" fmla="*/ 236 w 236"/>
                <a:gd name="T11" fmla="*/ 132 h 174"/>
                <a:gd name="T12" fmla="*/ 207 w 236"/>
                <a:gd name="T13" fmla="*/ 174 h 174"/>
              </a:gdLst>
              <a:ahLst/>
              <a:cxnLst>
                <a:cxn ang="0">
                  <a:pos x="T0" y="T1"/>
                </a:cxn>
                <a:cxn ang="0">
                  <a:pos x="T2" y="T3"/>
                </a:cxn>
                <a:cxn ang="0">
                  <a:pos x="T4" y="T5"/>
                </a:cxn>
                <a:cxn ang="0">
                  <a:pos x="T6" y="T7"/>
                </a:cxn>
                <a:cxn ang="0">
                  <a:pos x="T8" y="T9"/>
                </a:cxn>
                <a:cxn ang="0">
                  <a:pos x="T10" y="T11"/>
                </a:cxn>
                <a:cxn ang="0">
                  <a:pos x="T12" y="T13"/>
                </a:cxn>
              </a:cxnLst>
              <a:rect l="0" t="0" r="r" b="b"/>
              <a:pathLst>
                <a:path w="236" h="174">
                  <a:moveTo>
                    <a:pt x="207" y="174"/>
                  </a:moveTo>
                  <a:cubicBezTo>
                    <a:pt x="201" y="174"/>
                    <a:pt x="194" y="172"/>
                    <a:pt x="188" y="169"/>
                  </a:cubicBezTo>
                  <a:lnTo>
                    <a:pt x="0" y="60"/>
                  </a:lnTo>
                  <a:lnTo>
                    <a:pt x="60" y="0"/>
                  </a:lnTo>
                  <a:lnTo>
                    <a:pt x="236" y="101"/>
                  </a:lnTo>
                  <a:lnTo>
                    <a:pt x="236" y="132"/>
                  </a:lnTo>
                  <a:cubicBezTo>
                    <a:pt x="236" y="158"/>
                    <a:pt x="224" y="174"/>
                    <a:pt x="207" y="174"/>
                  </a:cubicBez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754">
              <a:extLst>
                <a:ext uri="{FF2B5EF4-FFF2-40B4-BE49-F238E27FC236}">
                  <a16:creationId xmlns:a16="http://schemas.microsoft.com/office/drawing/2014/main" id="{E216C5A7-480E-49FB-8DA8-1AAA2F6103D1}"/>
                </a:ext>
              </a:extLst>
            </p:cNvPr>
            <p:cNvSpPr>
              <a:spLocks/>
            </p:cNvSpPr>
            <p:nvPr/>
          </p:nvSpPr>
          <p:spPr bwMode="auto">
            <a:xfrm>
              <a:off x="8229601" y="4900613"/>
              <a:ext cx="244475" cy="142875"/>
            </a:xfrm>
            <a:custGeom>
              <a:avLst/>
              <a:gdLst>
                <a:gd name="T0" fmla="*/ 153 w 154"/>
                <a:gd name="T1" fmla="*/ 90 h 90"/>
                <a:gd name="T2" fmla="*/ 0 w 154"/>
                <a:gd name="T3" fmla="*/ 1 h 90"/>
                <a:gd name="T4" fmla="*/ 0 w 154"/>
                <a:gd name="T5" fmla="*/ 0 h 90"/>
                <a:gd name="T6" fmla="*/ 154 w 154"/>
                <a:gd name="T7" fmla="*/ 89 h 90"/>
                <a:gd name="T8" fmla="*/ 153 w 154"/>
                <a:gd name="T9" fmla="*/ 90 h 90"/>
              </a:gdLst>
              <a:ahLst/>
              <a:cxnLst>
                <a:cxn ang="0">
                  <a:pos x="T0" y="T1"/>
                </a:cxn>
                <a:cxn ang="0">
                  <a:pos x="T2" y="T3"/>
                </a:cxn>
                <a:cxn ang="0">
                  <a:pos x="T4" y="T5"/>
                </a:cxn>
                <a:cxn ang="0">
                  <a:pos x="T6" y="T7"/>
                </a:cxn>
                <a:cxn ang="0">
                  <a:pos x="T8" y="T9"/>
                </a:cxn>
              </a:cxnLst>
              <a:rect l="0" t="0" r="r" b="b"/>
              <a:pathLst>
                <a:path w="154" h="90">
                  <a:moveTo>
                    <a:pt x="153" y="90"/>
                  </a:moveTo>
                  <a:lnTo>
                    <a:pt x="0" y="1"/>
                  </a:lnTo>
                  <a:lnTo>
                    <a:pt x="0" y="0"/>
                  </a:lnTo>
                  <a:lnTo>
                    <a:pt x="154" y="89"/>
                  </a:lnTo>
                  <a:lnTo>
                    <a:pt x="153" y="90"/>
                  </a:lnTo>
                  <a:close/>
                </a:path>
              </a:pathLst>
            </a:custGeom>
            <a:solidFill>
              <a:srgbClr val="6F55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755">
              <a:extLst>
                <a:ext uri="{FF2B5EF4-FFF2-40B4-BE49-F238E27FC236}">
                  <a16:creationId xmlns:a16="http://schemas.microsoft.com/office/drawing/2014/main" id="{AE69EC18-B834-4342-B9A4-FF6FE5546989}"/>
                </a:ext>
              </a:extLst>
            </p:cNvPr>
            <p:cNvSpPr>
              <a:spLocks/>
            </p:cNvSpPr>
            <p:nvPr/>
          </p:nvSpPr>
          <p:spPr bwMode="auto">
            <a:xfrm>
              <a:off x="8229601" y="4849813"/>
              <a:ext cx="295275" cy="192088"/>
            </a:xfrm>
            <a:custGeom>
              <a:avLst/>
              <a:gdLst>
                <a:gd name="T0" fmla="*/ 154 w 186"/>
                <a:gd name="T1" fmla="*/ 121 h 121"/>
                <a:gd name="T2" fmla="*/ 0 w 186"/>
                <a:gd name="T3" fmla="*/ 32 h 121"/>
                <a:gd name="T4" fmla="*/ 32 w 186"/>
                <a:gd name="T5" fmla="*/ 0 h 121"/>
                <a:gd name="T6" fmla="*/ 186 w 186"/>
                <a:gd name="T7" fmla="*/ 89 h 121"/>
                <a:gd name="T8" fmla="*/ 154 w 186"/>
                <a:gd name="T9" fmla="*/ 121 h 121"/>
              </a:gdLst>
              <a:ahLst/>
              <a:cxnLst>
                <a:cxn ang="0">
                  <a:pos x="T0" y="T1"/>
                </a:cxn>
                <a:cxn ang="0">
                  <a:pos x="T2" y="T3"/>
                </a:cxn>
                <a:cxn ang="0">
                  <a:pos x="T4" y="T5"/>
                </a:cxn>
                <a:cxn ang="0">
                  <a:pos x="T6" y="T7"/>
                </a:cxn>
                <a:cxn ang="0">
                  <a:pos x="T8" y="T9"/>
                </a:cxn>
              </a:cxnLst>
              <a:rect l="0" t="0" r="r" b="b"/>
              <a:pathLst>
                <a:path w="186" h="121">
                  <a:moveTo>
                    <a:pt x="154" y="121"/>
                  </a:moveTo>
                  <a:lnTo>
                    <a:pt x="0" y="32"/>
                  </a:lnTo>
                  <a:lnTo>
                    <a:pt x="32" y="0"/>
                  </a:lnTo>
                  <a:lnTo>
                    <a:pt x="186" y="89"/>
                  </a:lnTo>
                  <a:lnTo>
                    <a:pt x="154" y="121"/>
                  </a:ln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756">
              <a:extLst>
                <a:ext uri="{FF2B5EF4-FFF2-40B4-BE49-F238E27FC236}">
                  <a16:creationId xmlns:a16="http://schemas.microsoft.com/office/drawing/2014/main" id="{BA6544EB-C523-4B4D-8ED8-7880DF58D96E}"/>
                </a:ext>
              </a:extLst>
            </p:cNvPr>
            <p:cNvSpPr>
              <a:spLocks/>
            </p:cNvSpPr>
            <p:nvPr/>
          </p:nvSpPr>
          <p:spPr bwMode="auto">
            <a:xfrm>
              <a:off x="8755063" y="5154613"/>
              <a:ext cx="71438" cy="92075"/>
            </a:xfrm>
            <a:custGeom>
              <a:avLst/>
              <a:gdLst>
                <a:gd name="T0" fmla="*/ 45 w 45"/>
                <a:gd name="T1" fmla="*/ 58 h 58"/>
                <a:gd name="T2" fmla="*/ 0 w 45"/>
                <a:gd name="T3" fmla="*/ 32 h 58"/>
                <a:gd name="T4" fmla="*/ 32 w 45"/>
                <a:gd name="T5" fmla="*/ 0 h 58"/>
                <a:gd name="T6" fmla="*/ 45 w 45"/>
                <a:gd name="T7" fmla="*/ 8 h 58"/>
                <a:gd name="T8" fmla="*/ 45 w 45"/>
                <a:gd name="T9" fmla="*/ 58 h 58"/>
              </a:gdLst>
              <a:ahLst/>
              <a:cxnLst>
                <a:cxn ang="0">
                  <a:pos x="T0" y="T1"/>
                </a:cxn>
                <a:cxn ang="0">
                  <a:pos x="T2" y="T3"/>
                </a:cxn>
                <a:cxn ang="0">
                  <a:pos x="T4" y="T5"/>
                </a:cxn>
                <a:cxn ang="0">
                  <a:pos x="T6" y="T7"/>
                </a:cxn>
                <a:cxn ang="0">
                  <a:pos x="T8" y="T9"/>
                </a:cxn>
              </a:cxnLst>
              <a:rect l="0" t="0" r="r" b="b"/>
              <a:pathLst>
                <a:path w="45" h="58">
                  <a:moveTo>
                    <a:pt x="45" y="58"/>
                  </a:moveTo>
                  <a:lnTo>
                    <a:pt x="0" y="32"/>
                  </a:lnTo>
                  <a:lnTo>
                    <a:pt x="32" y="0"/>
                  </a:lnTo>
                  <a:lnTo>
                    <a:pt x="45" y="8"/>
                  </a:lnTo>
                  <a:lnTo>
                    <a:pt x="45" y="58"/>
                  </a:lnTo>
                  <a:close/>
                </a:path>
              </a:pathLst>
            </a:custGeom>
            <a:solidFill>
              <a:srgbClr val="775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757">
              <a:extLst>
                <a:ext uri="{FF2B5EF4-FFF2-40B4-BE49-F238E27FC236}">
                  <a16:creationId xmlns:a16="http://schemas.microsoft.com/office/drawing/2014/main" id="{EC26FC91-93FE-4805-A0DE-8397FF9857DC}"/>
                </a:ext>
              </a:extLst>
            </p:cNvPr>
            <p:cNvSpPr>
              <a:spLocks/>
            </p:cNvSpPr>
            <p:nvPr/>
          </p:nvSpPr>
          <p:spPr bwMode="auto">
            <a:xfrm>
              <a:off x="8472488" y="5041901"/>
              <a:ext cx="39688" cy="22225"/>
            </a:xfrm>
            <a:custGeom>
              <a:avLst/>
              <a:gdLst>
                <a:gd name="T0" fmla="*/ 24 w 25"/>
                <a:gd name="T1" fmla="*/ 14 h 14"/>
                <a:gd name="T2" fmla="*/ 0 w 25"/>
                <a:gd name="T3" fmla="*/ 1 h 14"/>
                <a:gd name="T4" fmla="*/ 1 w 25"/>
                <a:gd name="T5" fmla="*/ 0 h 14"/>
                <a:gd name="T6" fmla="*/ 25 w 25"/>
                <a:gd name="T7" fmla="*/ 13 h 14"/>
                <a:gd name="T8" fmla="*/ 24 w 25"/>
                <a:gd name="T9" fmla="*/ 14 h 14"/>
              </a:gdLst>
              <a:ahLst/>
              <a:cxnLst>
                <a:cxn ang="0">
                  <a:pos x="T0" y="T1"/>
                </a:cxn>
                <a:cxn ang="0">
                  <a:pos x="T2" y="T3"/>
                </a:cxn>
                <a:cxn ang="0">
                  <a:pos x="T4" y="T5"/>
                </a:cxn>
                <a:cxn ang="0">
                  <a:pos x="T6" y="T7"/>
                </a:cxn>
                <a:cxn ang="0">
                  <a:pos x="T8" y="T9"/>
                </a:cxn>
              </a:cxnLst>
              <a:rect l="0" t="0" r="r" b="b"/>
              <a:pathLst>
                <a:path w="25" h="14">
                  <a:moveTo>
                    <a:pt x="24" y="14"/>
                  </a:moveTo>
                  <a:lnTo>
                    <a:pt x="0" y="1"/>
                  </a:lnTo>
                  <a:lnTo>
                    <a:pt x="1" y="0"/>
                  </a:lnTo>
                  <a:lnTo>
                    <a:pt x="25" y="13"/>
                  </a:lnTo>
                  <a:lnTo>
                    <a:pt x="24" y="14"/>
                  </a:lnTo>
                  <a:close/>
                </a:path>
              </a:pathLst>
            </a:custGeom>
            <a:solidFill>
              <a:srgbClr val="775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758">
              <a:extLst>
                <a:ext uri="{FF2B5EF4-FFF2-40B4-BE49-F238E27FC236}">
                  <a16:creationId xmlns:a16="http://schemas.microsoft.com/office/drawing/2014/main" id="{38D05638-9B66-43D0-915F-DF4301CA7152}"/>
                </a:ext>
              </a:extLst>
            </p:cNvPr>
            <p:cNvSpPr>
              <a:spLocks/>
            </p:cNvSpPr>
            <p:nvPr/>
          </p:nvSpPr>
          <p:spPr bwMode="auto">
            <a:xfrm>
              <a:off x="8474076" y="4991101"/>
              <a:ext cx="87313" cy="71438"/>
            </a:xfrm>
            <a:custGeom>
              <a:avLst/>
              <a:gdLst>
                <a:gd name="T0" fmla="*/ 24 w 55"/>
                <a:gd name="T1" fmla="*/ 45 h 45"/>
                <a:gd name="T2" fmla="*/ 0 w 55"/>
                <a:gd name="T3" fmla="*/ 32 h 45"/>
                <a:gd name="T4" fmla="*/ 32 w 55"/>
                <a:gd name="T5" fmla="*/ 0 h 45"/>
                <a:gd name="T6" fmla="*/ 55 w 55"/>
                <a:gd name="T7" fmla="*/ 14 h 45"/>
                <a:gd name="T8" fmla="*/ 24 w 55"/>
                <a:gd name="T9" fmla="*/ 45 h 45"/>
              </a:gdLst>
              <a:ahLst/>
              <a:cxnLst>
                <a:cxn ang="0">
                  <a:pos x="T0" y="T1"/>
                </a:cxn>
                <a:cxn ang="0">
                  <a:pos x="T2" y="T3"/>
                </a:cxn>
                <a:cxn ang="0">
                  <a:pos x="T4" y="T5"/>
                </a:cxn>
                <a:cxn ang="0">
                  <a:pos x="T6" y="T7"/>
                </a:cxn>
                <a:cxn ang="0">
                  <a:pos x="T8" y="T9"/>
                </a:cxn>
              </a:cxnLst>
              <a:rect l="0" t="0" r="r" b="b"/>
              <a:pathLst>
                <a:path w="55" h="45">
                  <a:moveTo>
                    <a:pt x="24" y="45"/>
                  </a:moveTo>
                  <a:lnTo>
                    <a:pt x="0" y="32"/>
                  </a:lnTo>
                  <a:lnTo>
                    <a:pt x="32" y="0"/>
                  </a:lnTo>
                  <a:lnTo>
                    <a:pt x="55" y="14"/>
                  </a:lnTo>
                  <a:lnTo>
                    <a:pt x="24" y="45"/>
                  </a:lnTo>
                  <a:close/>
                </a:path>
              </a:pathLst>
            </a:custGeom>
            <a:solidFill>
              <a:srgbClr val="AD9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759">
              <a:extLst>
                <a:ext uri="{FF2B5EF4-FFF2-40B4-BE49-F238E27FC236}">
                  <a16:creationId xmlns:a16="http://schemas.microsoft.com/office/drawing/2014/main" id="{CC042D74-ACCA-40CC-B297-456A08FF27F4}"/>
                </a:ext>
              </a:extLst>
            </p:cNvPr>
            <p:cNvSpPr>
              <a:spLocks/>
            </p:cNvSpPr>
            <p:nvPr/>
          </p:nvSpPr>
          <p:spPr bwMode="auto">
            <a:xfrm>
              <a:off x="8066088" y="4805363"/>
              <a:ext cx="163513" cy="96838"/>
            </a:xfrm>
            <a:custGeom>
              <a:avLst/>
              <a:gdLst>
                <a:gd name="T0" fmla="*/ 200 w 201"/>
                <a:gd name="T1" fmla="*/ 118 h 118"/>
                <a:gd name="T2" fmla="*/ 60 w 201"/>
                <a:gd name="T3" fmla="*/ 37 h 118"/>
                <a:gd name="T4" fmla="*/ 29 w 201"/>
                <a:gd name="T5" fmla="*/ 28 h 118"/>
                <a:gd name="T6" fmla="*/ 12 w 201"/>
                <a:gd name="T7" fmla="*/ 32 h 118"/>
                <a:gd name="T8" fmla="*/ 2 w 201"/>
                <a:gd name="T9" fmla="*/ 38 h 118"/>
                <a:gd name="T10" fmla="*/ 0 w 201"/>
                <a:gd name="T11" fmla="*/ 40 h 118"/>
                <a:gd name="T12" fmla="*/ 0 w 201"/>
                <a:gd name="T13" fmla="*/ 19 h 118"/>
                <a:gd name="T14" fmla="*/ 1 w 201"/>
                <a:gd name="T15" fmla="*/ 0 h 118"/>
                <a:gd name="T16" fmla="*/ 201 w 201"/>
                <a:gd name="T17" fmla="*/ 116 h 118"/>
                <a:gd name="T18" fmla="*/ 200 w 201"/>
                <a:gd name="T1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18">
                  <a:moveTo>
                    <a:pt x="200" y="118"/>
                  </a:moveTo>
                  <a:lnTo>
                    <a:pt x="60" y="37"/>
                  </a:lnTo>
                  <a:cubicBezTo>
                    <a:pt x="49" y="31"/>
                    <a:pt x="39" y="28"/>
                    <a:pt x="29" y="28"/>
                  </a:cubicBezTo>
                  <a:cubicBezTo>
                    <a:pt x="23" y="28"/>
                    <a:pt x="18" y="29"/>
                    <a:pt x="12" y="32"/>
                  </a:cubicBezTo>
                  <a:cubicBezTo>
                    <a:pt x="9" y="33"/>
                    <a:pt x="5" y="35"/>
                    <a:pt x="2" y="38"/>
                  </a:cubicBezTo>
                  <a:lnTo>
                    <a:pt x="0" y="40"/>
                  </a:lnTo>
                  <a:lnTo>
                    <a:pt x="0" y="19"/>
                  </a:lnTo>
                  <a:cubicBezTo>
                    <a:pt x="0" y="12"/>
                    <a:pt x="0" y="6"/>
                    <a:pt x="1" y="0"/>
                  </a:cubicBezTo>
                  <a:lnTo>
                    <a:pt x="201" y="116"/>
                  </a:lnTo>
                  <a:lnTo>
                    <a:pt x="200" y="118"/>
                  </a:lnTo>
                </a:path>
              </a:pathLst>
            </a:custGeom>
            <a:solidFill>
              <a:srgbClr val="775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760">
              <a:extLst>
                <a:ext uri="{FF2B5EF4-FFF2-40B4-BE49-F238E27FC236}">
                  <a16:creationId xmlns:a16="http://schemas.microsoft.com/office/drawing/2014/main" id="{54A5CCDF-007C-4968-A423-331ADACC3CC6}"/>
                </a:ext>
              </a:extLst>
            </p:cNvPr>
            <p:cNvSpPr>
              <a:spLocks/>
            </p:cNvSpPr>
            <p:nvPr/>
          </p:nvSpPr>
          <p:spPr bwMode="auto">
            <a:xfrm>
              <a:off x="8066088" y="4759326"/>
              <a:ext cx="214313" cy="141288"/>
            </a:xfrm>
            <a:custGeom>
              <a:avLst/>
              <a:gdLst>
                <a:gd name="T0" fmla="*/ 200 w 261"/>
                <a:gd name="T1" fmla="*/ 173 h 173"/>
                <a:gd name="T2" fmla="*/ 0 w 261"/>
                <a:gd name="T3" fmla="*/ 57 h 173"/>
                <a:gd name="T4" fmla="*/ 51 w 261"/>
                <a:gd name="T5" fmla="*/ 0 h 173"/>
                <a:gd name="T6" fmla="*/ 85 w 261"/>
                <a:gd name="T7" fmla="*/ 11 h 173"/>
                <a:gd name="T8" fmla="*/ 261 w 261"/>
                <a:gd name="T9" fmla="*/ 112 h 173"/>
                <a:gd name="T10" fmla="*/ 200 w 261"/>
                <a:gd name="T11" fmla="*/ 173 h 173"/>
              </a:gdLst>
              <a:ahLst/>
              <a:cxnLst>
                <a:cxn ang="0">
                  <a:pos x="T0" y="T1"/>
                </a:cxn>
                <a:cxn ang="0">
                  <a:pos x="T2" y="T3"/>
                </a:cxn>
                <a:cxn ang="0">
                  <a:pos x="T4" y="T5"/>
                </a:cxn>
                <a:cxn ang="0">
                  <a:pos x="T6" y="T7"/>
                </a:cxn>
                <a:cxn ang="0">
                  <a:pos x="T8" y="T9"/>
                </a:cxn>
                <a:cxn ang="0">
                  <a:pos x="T10" y="T11"/>
                </a:cxn>
              </a:cxnLst>
              <a:rect l="0" t="0" r="r" b="b"/>
              <a:pathLst>
                <a:path w="261" h="173">
                  <a:moveTo>
                    <a:pt x="200" y="173"/>
                  </a:moveTo>
                  <a:lnTo>
                    <a:pt x="0" y="57"/>
                  </a:lnTo>
                  <a:cubicBezTo>
                    <a:pt x="5" y="21"/>
                    <a:pt x="25" y="0"/>
                    <a:pt x="51" y="0"/>
                  </a:cubicBezTo>
                  <a:cubicBezTo>
                    <a:pt x="61" y="0"/>
                    <a:pt x="73" y="4"/>
                    <a:pt x="85" y="11"/>
                  </a:cubicBezTo>
                  <a:lnTo>
                    <a:pt x="261" y="112"/>
                  </a:lnTo>
                  <a:lnTo>
                    <a:pt x="200" y="173"/>
                  </a:lnTo>
                  <a:close/>
                </a:path>
              </a:pathLst>
            </a:custGeom>
            <a:solidFill>
              <a:srgbClr val="AD9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761">
              <a:extLst>
                <a:ext uri="{FF2B5EF4-FFF2-40B4-BE49-F238E27FC236}">
                  <a16:creationId xmlns:a16="http://schemas.microsoft.com/office/drawing/2014/main" id="{9444914D-1527-4CF9-8828-3C668D866347}"/>
                </a:ext>
              </a:extLst>
            </p:cNvPr>
            <p:cNvSpPr>
              <a:spLocks/>
            </p:cNvSpPr>
            <p:nvPr/>
          </p:nvSpPr>
          <p:spPr bwMode="auto">
            <a:xfrm>
              <a:off x="7299326" y="4405313"/>
              <a:ext cx="127000" cy="366713"/>
            </a:xfrm>
            <a:custGeom>
              <a:avLst/>
              <a:gdLst>
                <a:gd name="T0" fmla="*/ 49 w 155"/>
                <a:gd name="T1" fmla="*/ 447 h 447"/>
                <a:gd name="T2" fmla="*/ 0 w 155"/>
                <a:gd name="T3" fmla="*/ 381 h 447"/>
                <a:gd name="T4" fmla="*/ 86 w 155"/>
                <a:gd name="T5" fmla="*/ 36 h 447"/>
                <a:gd name="T6" fmla="*/ 123 w 155"/>
                <a:gd name="T7" fmla="*/ 0 h 447"/>
                <a:gd name="T8" fmla="*/ 155 w 155"/>
                <a:gd name="T9" fmla="*/ 36 h 447"/>
                <a:gd name="T10" fmla="*/ 49 w 155"/>
                <a:gd name="T11" fmla="*/ 447 h 447"/>
              </a:gdLst>
              <a:ahLst/>
              <a:cxnLst>
                <a:cxn ang="0">
                  <a:pos x="T0" y="T1"/>
                </a:cxn>
                <a:cxn ang="0">
                  <a:pos x="T2" y="T3"/>
                </a:cxn>
                <a:cxn ang="0">
                  <a:pos x="T4" y="T5"/>
                </a:cxn>
                <a:cxn ang="0">
                  <a:pos x="T6" y="T7"/>
                </a:cxn>
                <a:cxn ang="0">
                  <a:pos x="T8" y="T9"/>
                </a:cxn>
                <a:cxn ang="0">
                  <a:pos x="T10" y="T11"/>
                </a:cxn>
              </a:cxnLst>
              <a:rect l="0" t="0" r="r" b="b"/>
              <a:pathLst>
                <a:path w="155" h="447">
                  <a:moveTo>
                    <a:pt x="49" y="447"/>
                  </a:moveTo>
                  <a:cubicBezTo>
                    <a:pt x="31" y="429"/>
                    <a:pt x="14" y="406"/>
                    <a:pt x="0" y="381"/>
                  </a:cubicBezTo>
                  <a:cubicBezTo>
                    <a:pt x="37" y="265"/>
                    <a:pt x="66" y="150"/>
                    <a:pt x="86" y="36"/>
                  </a:cubicBezTo>
                  <a:lnTo>
                    <a:pt x="123" y="0"/>
                  </a:lnTo>
                  <a:cubicBezTo>
                    <a:pt x="131" y="15"/>
                    <a:pt x="142" y="28"/>
                    <a:pt x="155" y="36"/>
                  </a:cubicBezTo>
                  <a:cubicBezTo>
                    <a:pt x="131" y="170"/>
                    <a:pt x="95" y="308"/>
                    <a:pt x="49" y="447"/>
                  </a:cubicBezTo>
                  <a:close/>
                </a:path>
              </a:pathLst>
            </a:custGeom>
            <a:solidFill>
              <a:srgbClr val="6F55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762">
              <a:extLst>
                <a:ext uri="{FF2B5EF4-FFF2-40B4-BE49-F238E27FC236}">
                  <a16:creationId xmlns:a16="http://schemas.microsoft.com/office/drawing/2014/main" id="{B195E607-58FD-40DC-853E-EFAB30C10800}"/>
                </a:ext>
              </a:extLst>
            </p:cNvPr>
            <p:cNvSpPr>
              <a:spLocks noEditPoints="1"/>
            </p:cNvSpPr>
            <p:nvPr/>
          </p:nvSpPr>
          <p:spPr bwMode="auto">
            <a:xfrm>
              <a:off x="7400926" y="3319463"/>
              <a:ext cx="53975" cy="1116013"/>
            </a:xfrm>
            <a:custGeom>
              <a:avLst/>
              <a:gdLst>
                <a:gd name="T0" fmla="*/ 32 w 67"/>
                <a:gd name="T1" fmla="*/ 1361 h 1361"/>
                <a:gd name="T2" fmla="*/ 0 w 67"/>
                <a:gd name="T3" fmla="*/ 1325 h 1361"/>
                <a:gd name="T4" fmla="*/ 44 w 67"/>
                <a:gd name="T5" fmla="*/ 1280 h 1361"/>
                <a:gd name="T6" fmla="*/ 32 w 67"/>
                <a:gd name="T7" fmla="*/ 1361 h 1361"/>
                <a:gd name="T8" fmla="*/ 1 w 67"/>
                <a:gd name="T9" fmla="*/ 793 h 1361"/>
                <a:gd name="T10" fmla="*/ 1 w 67"/>
                <a:gd name="T11" fmla="*/ 324 h 1361"/>
                <a:gd name="T12" fmla="*/ 67 w 67"/>
                <a:gd name="T13" fmla="*/ 257 h 1361"/>
                <a:gd name="T14" fmla="*/ 67 w 67"/>
                <a:gd name="T15" fmla="*/ 727 h 1361"/>
                <a:gd name="T16" fmla="*/ 1 w 67"/>
                <a:gd name="T17" fmla="*/ 793 h 1361"/>
                <a:gd name="T18" fmla="*/ 1 w 67"/>
                <a:gd name="T19" fmla="*/ 193 h 1361"/>
                <a:gd name="T20" fmla="*/ 1 w 67"/>
                <a:gd name="T21" fmla="*/ 0 h 1361"/>
                <a:gd name="T22" fmla="*/ 67 w 67"/>
                <a:gd name="T23" fmla="*/ 39 h 1361"/>
                <a:gd name="T24" fmla="*/ 67 w 67"/>
                <a:gd name="T25" fmla="*/ 127 h 1361"/>
                <a:gd name="T26" fmla="*/ 1 w 67"/>
                <a:gd name="T27" fmla="*/ 193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1361">
                  <a:moveTo>
                    <a:pt x="32" y="1361"/>
                  </a:moveTo>
                  <a:cubicBezTo>
                    <a:pt x="19" y="1353"/>
                    <a:pt x="8" y="1340"/>
                    <a:pt x="0" y="1325"/>
                  </a:cubicBezTo>
                  <a:lnTo>
                    <a:pt x="44" y="1280"/>
                  </a:lnTo>
                  <a:cubicBezTo>
                    <a:pt x="41" y="1307"/>
                    <a:pt x="36" y="1334"/>
                    <a:pt x="32" y="1361"/>
                  </a:cubicBezTo>
                  <a:close/>
                  <a:moveTo>
                    <a:pt x="1" y="793"/>
                  </a:moveTo>
                  <a:lnTo>
                    <a:pt x="1" y="324"/>
                  </a:lnTo>
                  <a:lnTo>
                    <a:pt x="67" y="257"/>
                  </a:lnTo>
                  <a:lnTo>
                    <a:pt x="67" y="727"/>
                  </a:lnTo>
                  <a:cubicBezTo>
                    <a:pt x="45" y="749"/>
                    <a:pt x="23" y="771"/>
                    <a:pt x="1" y="793"/>
                  </a:cubicBezTo>
                  <a:moveTo>
                    <a:pt x="1" y="193"/>
                  </a:moveTo>
                  <a:lnTo>
                    <a:pt x="1" y="0"/>
                  </a:lnTo>
                  <a:lnTo>
                    <a:pt x="67" y="39"/>
                  </a:lnTo>
                  <a:lnTo>
                    <a:pt x="67" y="127"/>
                  </a:lnTo>
                  <a:cubicBezTo>
                    <a:pt x="45" y="149"/>
                    <a:pt x="23" y="171"/>
                    <a:pt x="1" y="193"/>
                  </a:cubicBezTo>
                  <a:close/>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763">
              <a:extLst>
                <a:ext uri="{FF2B5EF4-FFF2-40B4-BE49-F238E27FC236}">
                  <a16:creationId xmlns:a16="http://schemas.microsoft.com/office/drawing/2014/main" id="{A84F9CD3-E39A-4529-BA94-50DDBFCD077E}"/>
                </a:ext>
              </a:extLst>
            </p:cNvPr>
            <p:cNvSpPr>
              <a:spLocks/>
            </p:cNvSpPr>
            <p:nvPr/>
          </p:nvSpPr>
          <p:spPr bwMode="auto">
            <a:xfrm>
              <a:off x="7369176" y="4325938"/>
              <a:ext cx="31750" cy="109538"/>
            </a:xfrm>
            <a:custGeom>
              <a:avLst/>
              <a:gdLst>
                <a:gd name="T0" fmla="*/ 0 w 37"/>
                <a:gd name="T1" fmla="*/ 134 h 134"/>
                <a:gd name="T2" fmla="*/ 21 w 37"/>
                <a:gd name="T3" fmla="*/ 0 h 134"/>
                <a:gd name="T4" fmla="*/ 21 w 37"/>
                <a:gd name="T5" fmla="*/ 41 h 134"/>
                <a:gd name="T6" fmla="*/ 37 w 37"/>
                <a:gd name="T7" fmla="*/ 98 h 134"/>
                <a:gd name="T8" fmla="*/ 0 w 37"/>
                <a:gd name="T9" fmla="*/ 134 h 134"/>
              </a:gdLst>
              <a:ahLst/>
              <a:cxnLst>
                <a:cxn ang="0">
                  <a:pos x="T0" y="T1"/>
                </a:cxn>
                <a:cxn ang="0">
                  <a:pos x="T2" y="T3"/>
                </a:cxn>
                <a:cxn ang="0">
                  <a:pos x="T4" y="T5"/>
                </a:cxn>
                <a:cxn ang="0">
                  <a:pos x="T6" y="T7"/>
                </a:cxn>
                <a:cxn ang="0">
                  <a:pos x="T8" y="T9"/>
                </a:cxn>
              </a:cxnLst>
              <a:rect l="0" t="0" r="r" b="b"/>
              <a:pathLst>
                <a:path w="37" h="134">
                  <a:moveTo>
                    <a:pt x="0" y="134"/>
                  </a:moveTo>
                  <a:cubicBezTo>
                    <a:pt x="8" y="89"/>
                    <a:pt x="15" y="44"/>
                    <a:pt x="21" y="0"/>
                  </a:cubicBezTo>
                  <a:lnTo>
                    <a:pt x="21" y="41"/>
                  </a:lnTo>
                  <a:cubicBezTo>
                    <a:pt x="21" y="60"/>
                    <a:pt x="27" y="81"/>
                    <a:pt x="37" y="98"/>
                  </a:cubicBezTo>
                  <a:lnTo>
                    <a:pt x="0" y="134"/>
                  </a:lnTo>
                  <a:close/>
                </a:path>
              </a:pathLst>
            </a:custGeom>
            <a:solidFill>
              <a:srgbClr val="775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764">
              <a:extLst>
                <a:ext uri="{FF2B5EF4-FFF2-40B4-BE49-F238E27FC236}">
                  <a16:creationId xmlns:a16="http://schemas.microsoft.com/office/drawing/2014/main" id="{41371ECF-09BB-44E3-8E05-923489DBD63B}"/>
                </a:ext>
              </a:extLst>
            </p:cNvPr>
            <p:cNvSpPr>
              <a:spLocks/>
            </p:cNvSpPr>
            <p:nvPr/>
          </p:nvSpPr>
          <p:spPr bwMode="auto">
            <a:xfrm>
              <a:off x="7386638" y="3914776"/>
              <a:ext cx="68263" cy="490538"/>
            </a:xfrm>
            <a:custGeom>
              <a:avLst/>
              <a:gdLst>
                <a:gd name="T0" fmla="*/ 16 w 83"/>
                <a:gd name="T1" fmla="*/ 598 h 598"/>
                <a:gd name="T2" fmla="*/ 0 w 83"/>
                <a:gd name="T3" fmla="*/ 541 h 598"/>
                <a:gd name="T4" fmla="*/ 0 w 83"/>
                <a:gd name="T5" fmla="*/ 500 h 598"/>
                <a:gd name="T6" fmla="*/ 17 w 83"/>
                <a:gd name="T7" fmla="*/ 234 h 598"/>
                <a:gd name="T8" fmla="*/ 17 w 83"/>
                <a:gd name="T9" fmla="*/ 66 h 598"/>
                <a:gd name="T10" fmla="*/ 83 w 83"/>
                <a:gd name="T11" fmla="*/ 0 h 598"/>
                <a:gd name="T12" fmla="*/ 83 w 83"/>
                <a:gd name="T13" fmla="*/ 245 h 598"/>
                <a:gd name="T14" fmla="*/ 60 w 83"/>
                <a:gd name="T15" fmla="*/ 553 h 598"/>
                <a:gd name="T16" fmla="*/ 16 w 83"/>
                <a:gd name="T17"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598">
                  <a:moveTo>
                    <a:pt x="16" y="598"/>
                  </a:moveTo>
                  <a:cubicBezTo>
                    <a:pt x="6" y="581"/>
                    <a:pt x="0" y="560"/>
                    <a:pt x="0" y="541"/>
                  </a:cubicBezTo>
                  <a:lnTo>
                    <a:pt x="0" y="500"/>
                  </a:lnTo>
                  <a:cubicBezTo>
                    <a:pt x="11" y="409"/>
                    <a:pt x="17" y="320"/>
                    <a:pt x="17" y="234"/>
                  </a:cubicBezTo>
                  <a:lnTo>
                    <a:pt x="17" y="66"/>
                  </a:lnTo>
                  <a:cubicBezTo>
                    <a:pt x="39" y="44"/>
                    <a:pt x="61" y="22"/>
                    <a:pt x="83" y="0"/>
                  </a:cubicBezTo>
                  <a:lnTo>
                    <a:pt x="83" y="245"/>
                  </a:lnTo>
                  <a:cubicBezTo>
                    <a:pt x="83" y="345"/>
                    <a:pt x="76" y="448"/>
                    <a:pt x="60" y="553"/>
                  </a:cubicBezTo>
                  <a:lnTo>
                    <a:pt x="16" y="598"/>
                  </a:lnTo>
                </a:path>
              </a:pathLst>
            </a:custGeom>
            <a:solidFill>
              <a:srgbClr val="AD9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765">
              <a:extLst>
                <a:ext uri="{FF2B5EF4-FFF2-40B4-BE49-F238E27FC236}">
                  <a16:creationId xmlns:a16="http://schemas.microsoft.com/office/drawing/2014/main" id="{4BFB31EF-358A-49D3-ADFA-7F3E4092887F}"/>
                </a:ext>
              </a:extLst>
            </p:cNvPr>
            <p:cNvSpPr>
              <a:spLocks/>
            </p:cNvSpPr>
            <p:nvPr/>
          </p:nvSpPr>
          <p:spPr bwMode="auto">
            <a:xfrm>
              <a:off x="7400926" y="3422651"/>
              <a:ext cx="53975" cy="161925"/>
            </a:xfrm>
            <a:custGeom>
              <a:avLst/>
              <a:gdLst>
                <a:gd name="T0" fmla="*/ 0 w 66"/>
                <a:gd name="T1" fmla="*/ 197 h 197"/>
                <a:gd name="T2" fmla="*/ 0 w 66"/>
                <a:gd name="T3" fmla="*/ 66 h 197"/>
                <a:gd name="T4" fmla="*/ 66 w 66"/>
                <a:gd name="T5" fmla="*/ 0 h 197"/>
                <a:gd name="T6" fmla="*/ 66 w 66"/>
                <a:gd name="T7" fmla="*/ 130 h 197"/>
                <a:gd name="T8" fmla="*/ 0 w 66"/>
                <a:gd name="T9" fmla="*/ 197 h 197"/>
              </a:gdLst>
              <a:ahLst/>
              <a:cxnLst>
                <a:cxn ang="0">
                  <a:pos x="T0" y="T1"/>
                </a:cxn>
                <a:cxn ang="0">
                  <a:pos x="T2" y="T3"/>
                </a:cxn>
                <a:cxn ang="0">
                  <a:pos x="T4" y="T5"/>
                </a:cxn>
                <a:cxn ang="0">
                  <a:pos x="T6" y="T7"/>
                </a:cxn>
                <a:cxn ang="0">
                  <a:pos x="T8" y="T9"/>
                </a:cxn>
              </a:cxnLst>
              <a:rect l="0" t="0" r="r" b="b"/>
              <a:pathLst>
                <a:path w="66" h="197">
                  <a:moveTo>
                    <a:pt x="0" y="197"/>
                  </a:moveTo>
                  <a:lnTo>
                    <a:pt x="0" y="66"/>
                  </a:lnTo>
                  <a:cubicBezTo>
                    <a:pt x="22" y="44"/>
                    <a:pt x="44" y="22"/>
                    <a:pt x="66" y="0"/>
                  </a:cubicBezTo>
                  <a:lnTo>
                    <a:pt x="66" y="130"/>
                  </a:lnTo>
                  <a:lnTo>
                    <a:pt x="0" y="197"/>
                  </a:lnTo>
                </a:path>
              </a:pathLst>
            </a:custGeom>
            <a:solidFill>
              <a:srgbClr val="AD9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766">
              <a:extLst>
                <a:ext uri="{FF2B5EF4-FFF2-40B4-BE49-F238E27FC236}">
                  <a16:creationId xmlns:a16="http://schemas.microsoft.com/office/drawing/2014/main" id="{A4151516-D9BF-4445-A80E-74342B9B309A}"/>
                </a:ext>
              </a:extLst>
            </p:cNvPr>
            <p:cNvSpPr>
              <a:spLocks/>
            </p:cNvSpPr>
            <p:nvPr/>
          </p:nvSpPr>
          <p:spPr bwMode="auto">
            <a:xfrm>
              <a:off x="7413626" y="3035301"/>
              <a:ext cx="123825" cy="269875"/>
            </a:xfrm>
            <a:custGeom>
              <a:avLst/>
              <a:gdLst>
                <a:gd name="T0" fmla="*/ 106 w 152"/>
                <a:gd name="T1" fmla="*/ 329 h 329"/>
                <a:gd name="T2" fmla="*/ 0 w 152"/>
                <a:gd name="T3" fmla="*/ 55 h 329"/>
                <a:gd name="T4" fmla="*/ 54 w 152"/>
                <a:gd name="T5" fmla="*/ 0 h 329"/>
                <a:gd name="T6" fmla="*/ 152 w 152"/>
                <a:gd name="T7" fmla="*/ 252 h 329"/>
                <a:gd name="T8" fmla="*/ 106 w 152"/>
                <a:gd name="T9" fmla="*/ 329 h 329"/>
              </a:gdLst>
              <a:ahLst/>
              <a:cxnLst>
                <a:cxn ang="0">
                  <a:pos x="T0" y="T1"/>
                </a:cxn>
                <a:cxn ang="0">
                  <a:pos x="T2" y="T3"/>
                </a:cxn>
                <a:cxn ang="0">
                  <a:pos x="T4" y="T5"/>
                </a:cxn>
                <a:cxn ang="0">
                  <a:pos x="T6" y="T7"/>
                </a:cxn>
                <a:cxn ang="0">
                  <a:pos x="T8" y="T9"/>
                </a:cxn>
              </a:cxnLst>
              <a:rect l="0" t="0" r="r" b="b"/>
              <a:pathLst>
                <a:path w="152" h="329">
                  <a:moveTo>
                    <a:pt x="106" y="329"/>
                  </a:moveTo>
                  <a:lnTo>
                    <a:pt x="0" y="55"/>
                  </a:lnTo>
                  <a:lnTo>
                    <a:pt x="54" y="0"/>
                  </a:lnTo>
                  <a:lnTo>
                    <a:pt x="152" y="252"/>
                  </a:lnTo>
                  <a:cubicBezTo>
                    <a:pt x="134" y="274"/>
                    <a:pt x="119" y="300"/>
                    <a:pt x="106" y="329"/>
                  </a:cubicBezTo>
                </a:path>
              </a:pathLst>
            </a:custGeom>
            <a:solidFill>
              <a:srgbClr val="A995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767">
              <a:extLst>
                <a:ext uri="{FF2B5EF4-FFF2-40B4-BE49-F238E27FC236}">
                  <a16:creationId xmlns:a16="http://schemas.microsoft.com/office/drawing/2014/main" id="{FFA8CD6A-F6E1-4728-A779-20AC520FED68}"/>
                </a:ext>
              </a:extLst>
            </p:cNvPr>
            <p:cNvSpPr>
              <a:spLocks/>
            </p:cNvSpPr>
            <p:nvPr/>
          </p:nvSpPr>
          <p:spPr bwMode="auto">
            <a:xfrm>
              <a:off x="7515226" y="3273426"/>
              <a:ext cx="49213" cy="74613"/>
            </a:xfrm>
            <a:custGeom>
              <a:avLst/>
              <a:gdLst>
                <a:gd name="T0" fmla="*/ 18 w 60"/>
                <a:gd name="T1" fmla="*/ 90 h 90"/>
                <a:gd name="T2" fmla="*/ 0 w 60"/>
                <a:gd name="T3" fmla="*/ 79 h 90"/>
                <a:gd name="T4" fmla="*/ 42 w 60"/>
                <a:gd name="T5" fmla="*/ 0 h 90"/>
                <a:gd name="T6" fmla="*/ 60 w 60"/>
                <a:gd name="T7" fmla="*/ 48 h 90"/>
                <a:gd name="T8" fmla="*/ 18 w 60"/>
                <a:gd name="T9" fmla="*/ 90 h 90"/>
              </a:gdLst>
              <a:ahLst/>
              <a:cxnLst>
                <a:cxn ang="0">
                  <a:pos x="T0" y="T1"/>
                </a:cxn>
                <a:cxn ang="0">
                  <a:pos x="T2" y="T3"/>
                </a:cxn>
                <a:cxn ang="0">
                  <a:pos x="T4" y="T5"/>
                </a:cxn>
                <a:cxn ang="0">
                  <a:pos x="T6" y="T7"/>
                </a:cxn>
                <a:cxn ang="0">
                  <a:pos x="T8" y="T9"/>
                </a:cxn>
              </a:cxnLst>
              <a:rect l="0" t="0" r="r" b="b"/>
              <a:pathLst>
                <a:path w="60" h="90">
                  <a:moveTo>
                    <a:pt x="18" y="90"/>
                  </a:moveTo>
                  <a:lnTo>
                    <a:pt x="0" y="79"/>
                  </a:lnTo>
                  <a:cubicBezTo>
                    <a:pt x="11" y="50"/>
                    <a:pt x="25" y="23"/>
                    <a:pt x="42" y="0"/>
                  </a:cubicBezTo>
                  <a:lnTo>
                    <a:pt x="60" y="48"/>
                  </a:lnTo>
                  <a:lnTo>
                    <a:pt x="18" y="90"/>
                  </a:lnTo>
                  <a:close/>
                </a:path>
              </a:pathLst>
            </a:custGeom>
            <a:solidFill>
              <a:srgbClr val="7CA3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768">
              <a:extLst>
                <a:ext uri="{FF2B5EF4-FFF2-40B4-BE49-F238E27FC236}">
                  <a16:creationId xmlns:a16="http://schemas.microsoft.com/office/drawing/2014/main" id="{5D70819E-CEFC-4061-B308-26F7875B4EC8}"/>
                </a:ext>
              </a:extLst>
            </p:cNvPr>
            <p:cNvSpPr>
              <a:spLocks/>
            </p:cNvSpPr>
            <p:nvPr/>
          </p:nvSpPr>
          <p:spPr bwMode="auto">
            <a:xfrm>
              <a:off x="7500938" y="3241676"/>
              <a:ext cx="36513" cy="63500"/>
            </a:xfrm>
            <a:custGeom>
              <a:avLst/>
              <a:gdLst>
                <a:gd name="T0" fmla="*/ 0 w 46"/>
                <a:gd name="T1" fmla="*/ 77 h 77"/>
                <a:gd name="T2" fmla="*/ 0 w 46"/>
                <a:gd name="T3" fmla="*/ 77 h 77"/>
                <a:gd name="T4" fmla="*/ 46 w 46"/>
                <a:gd name="T5" fmla="*/ 0 h 77"/>
                <a:gd name="T6" fmla="*/ 46 w 46"/>
                <a:gd name="T7" fmla="*/ 0 h 77"/>
                <a:gd name="T8" fmla="*/ 0 w 46"/>
                <a:gd name="T9" fmla="*/ 77 h 77"/>
              </a:gdLst>
              <a:ahLst/>
              <a:cxnLst>
                <a:cxn ang="0">
                  <a:pos x="T0" y="T1"/>
                </a:cxn>
                <a:cxn ang="0">
                  <a:pos x="T2" y="T3"/>
                </a:cxn>
                <a:cxn ang="0">
                  <a:pos x="T4" y="T5"/>
                </a:cxn>
                <a:cxn ang="0">
                  <a:pos x="T6" y="T7"/>
                </a:cxn>
                <a:cxn ang="0">
                  <a:pos x="T8" y="T9"/>
                </a:cxn>
              </a:cxnLst>
              <a:rect l="0" t="0" r="r" b="b"/>
              <a:pathLst>
                <a:path w="46" h="77">
                  <a:moveTo>
                    <a:pt x="0" y="77"/>
                  </a:moveTo>
                  <a:lnTo>
                    <a:pt x="0" y="77"/>
                  </a:lnTo>
                  <a:cubicBezTo>
                    <a:pt x="13" y="48"/>
                    <a:pt x="28" y="22"/>
                    <a:pt x="46" y="0"/>
                  </a:cubicBezTo>
                  <a:lnTo>
                    <a:pt x="46" y="0"/>
                  </a:lnTo>
                  <a:cubicBezTo>
                    <a:pt x="28" y="22"/>
                    <a:pt x="13" y="48"/>
                    <a:pt x="0" y="77"/>
                  </a:cubicBezTo>
                </a:path>
              </a:pathLst>
            </a:custGeom>
            <a:solidFill>
              <a:srgbClr val="907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769">
              <a:extLst>
                <a:ext uri="{FF2B5EF4-FFF2-40B4-BE49-F238E27FC236}">
                  <a16:creationId xmlns:a16="http://schemas.microsoft.com/office/drawing/2014/main" id="{DA48A79D-787A-470F-8C4D-F7617DBCDD94}"/>
                </a:ext>
              </a:extLst>
            </p:cNvPr>
            <p:cNvSpPr>
              <a:spLocks/>
            </p:cNvSpPr>
            <p:nvPr/>
          </p:nvSpPr>
          <p:spPr bwMode="auto">
            <a:xfrm>
              <a:off x="7500938" y="3241676"/>
              <a:ext cx="49213" cy="96838"/>
            </a:xfrm>
            <a:custGeom>
              <a:avLst/>
              <a:gdLst>
                <a:gd name="T0" fmla="*/ 19 w 61"/>
                <a:gd name="T1" fmla="*/ 118 h 118"/>
                <a:gd name="T2" fmla="*/ 10 w 61"/>
                <a:gd name="T3" fmla="*/ 113 h 118"/>
                <a:gd name="T4" fmla="*/ 12 w 61"/>
                <a:gd name="T5" fmla="*/ 107 h 118"/>
                <a:gd name="T6" fmla="*/ 0 w 61"/>
                <a:gd name="T7" fmla="*/ 77 h 118"/>
                <a:gd name="T8" fmla="*/ 46 w 61"/>
                <a:gd name="T9" fmla="*/ 0 h 118"/>
                <a:gd name="T10" fmla="*/ 61 w 61"/>
                <a:gd name="T11" fmla="*/ 39 h 118"/>
                <a:gd name="T12" fmla="*/ 19 w 61"/>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61" h="118">
                  <a:moveTo>
                    <a:pt x="19" y="118"/>
                  </a:moveTo>
                  <a:lnTo>
                    <a:pt x="10" y="113"/>
                  </a:lnTo>
                  <a:cubicBezTo>
                    <a:pt x="12" y="111"/>
                    <a:pt x="13" y="109"/>
                    <a:pt x="12" y="107"/>
                  </a:cubicBezTo>
                  <a:lnTo>
                    <a:pt x="0" y="77"/>
                  </a:lnTo>
                  <a:cubicBezTo>
                    <a:pt x="13" y="48"/>
                    <a:pt x="28" y="22"/>
                    <a:pt x="46" y="0"/>
                  </a:cubicBezTo>
                  <a:lnTo>
                    <a:pt x="61" y="39"/>
                  </a:lnTo>
                  <a:cubicBezTo>
                    <a:pt x="44" y="62"/>
                    <a:pt x="30" y="89"/>
                    <a:pt x="19" y="118"/>
                  </a:cubicBezTo>
                </a:path>
              </a:pathLst>
            </a:custGeom>
            <a:solidFill>
              <a:srgbClr val="6A8B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770">
              <a:extLst>
                <a:ext uri="{FF2B5EF4-FFF2-40B4-BE49-F238E27FC236}">
                  <a16:creationId xmlns:a16="http://schemas.microsoft.com/office/drawing/2014/main" id="{1EC8F8FB-5915-44F4-8B8E-8B380DE4D65C}"/>
                </a:ext>
              </a:extLst>
            </p:cNvPr>
            <p:cNvSpPr>
              <a:spLocks/>
            </p:cNvSpPr>
            <p:nvPr/>
          </p:nvSpPr>
          <p:spPr bwMode="auto">
            <a:xfrm>
              <a:off x="7265988" y="2541588"/>
              <a:ext cx="123825" cy="471488"/>
            </a:xfrm>
            <a:custGeom>
              <a:avLst/>
              <a:gdLst>
                <a:gd name="T0" fmla="*/ 148 w 152"/>
                <a:gd name="T1" fmla="*/ 575 h 575"/>
                <a:gd name="T2" fmla="*/ 0 w 152"/>
                <a:gd name="T3" fmla="*/ 194 h 575"/>
                <a:gd name="T4" fmla="*/ 0 w 152"/>
                <a:gd name="T5" fmla="*/ 0 h 575"/>
                <a:gd name="T6" fmla="*/ 152 w 152"/>
                <a:gd name="T7" fmla="*/ 391 h 575"/>
                <a:gd name="T8" fmla="*/ 148 w 152"/>
                <a:gd name="T9" fmla="*/ 414 h 575"/>
                <a:gd name="T10" fmla="*/ 148 w 152"/>
                <a:gd name="T11" fmla="*/ 575 h 575"/>
              </a:gdLst>
              <a:ahLst/>
              <a:cxnLst>
                <a:cxn ang="0">
                  <a:pos x="T0" y="T1"/>
                </a:cxn>
                <a:cxn ang="0">
                  <a:pos x="T2" y="T3"/>
                </a:cxn>
                <a:cxn ang="0">
                  <a:pos x="T4" y="T5"/>
                </a:cxn>
                <a:cxn ang="0">
                  <a:pos x="T6" y="T7"/>
                </a:cxn>
                <a:cxn ang="0">
                  <a:pos x="T8" y="T9"/>
                </a:cxn>
                <a:cxn ang="0">
                  <a:pos x="T10" y="T11"/>
                </a:cxn>
              </a:cxnLst>
              <a:rect l="0" t="0" r="r" b="b"/>
              <a:pathLst>
                <a:path w="152" h="575">
                  <a:moveTo>
                    <a:pt x="148" y="575"/>
                  </a:moveTo>
                  <a:lnTo>
                    <a:pt x="0" y="194"/>
                  </a:lnTo>
                  <a:lnTo>
                    <a:pt x="0" y="0"/>
                  </a:lnTo>
                  <a:lnTo>
                    <a:pt x="152" y="391"/>
                  </a:lnTo>
                  <a:cubicBezTo>
                    <a:pt x="149" y="397"/>
                    <a:pt x="148" y="405"/>
                    <a:pt x="148" y="414"/>
                  </a:cubicBezTo>
                  <a:lnTo>
                    <a:pt x="148" y="575"/>
                  </a:lnTo>
                  <a:close/>
                </a:path>
              </a:pathLst>
            </a:custGeom>
            <a:solidFill>
              <a:srgbClr val="775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771">
              <a:extLst>
                <a:ext uri="{FF2B5EF4-FFF2-40B4-BE49-F238E27FC236}">
                  <a16:creationId xmlns:a16="http://schemas.microsoft.com/office/drawing/2014/main" id="{B9323818-FE1C-4147-8BB1-EDE621C41365}"/>
                </a:ext>
              </a:extLst>
            </p:cNvPr>
            <p:cNvSpPr>
              <a:spLocks/>
            </p:cNvSpPr>
            <p:nvPr/>
          </p:nvSpPr>
          <p:spPr bwMode="auto">
            <a:xfrm>
              <a:off x="7386638" y="2862263"/>
              <a:ext cx="71438" cy="219075"/>
            </a:xfrm>
            <a:custGeom>
              <a:avLst/>
              <a:gdLst>
                <a:gd name="T0" fmla="*/ 32 w 86"/>
                <a:gd name="T1" fmla="*/ 267 h 267"/>
                <a:gd name="T2" fmla="*/ 0 w 86"/>
                <a:gd name="T3" fmla="*/ 184 h 267"/>
                <a:gd name="T4" fmla="*/ 0 w 86"/>
                <a:gd name="T5" fmla="*/ 23 h 267"/>
                <a:gd name="T6" fmla="*/ 4 w 86"/>
                <a:gd name="T7" fmla="*/ 0 h 267"/>
                <a:gd name="T8" fmla="*/ 86 w 86"/>
                <a:gd name="T9" fmla="*/ 212 h 267"/>
                <a:gd name="T10" fmla="*/ 32 w 86"/>
                <a:gd name="T11" fmla="*/ 267 h 267"/>
              </a:gdLst>
              <a:ahLst/>
              <a:cxnLst>
                <a:cxn ang="0">
                  <a:pos x="T0" y="T1"/>
                </a:cxn>
                <a:cxn ang="0">
                  <a:pos x="T2" y="T3"/>
                </a:cxn>
                <a:cxn ang="0">
                  <a:pos x="T4" y="T5"/>
                </a:cxn>
                <a:cxn ang="0">
                  <a:pos x="T6" y="T7"/>
                </a:cxn>
                <a:cxn ang="0">
                  <a:pos x="T8" y="T9"/>
                </a:cxn>
                <a:cxn ang="0">
                  <a:pos x="T10" y="T11"/>
                </a:cxn>
              </a:cxnLst>
              <a:rect l="0" t="0" r="r" b="b"/>
              <a:pathLst>
                <a:path w="86" h="267">
                  <a:moveTo>
                    <a:pt x="32" y="267"/>
                  </a:moveTo>
                  <a:lnTo>
                    <a:pt x="0" y="184"/>
                  </a:lnTo>
                  <a:lnTo>
                    <a:pt x="0" y="23"/>
                  </a:lnTo>
                  <a:cubicBezTo>
                    <a:pt x="0" y="14"/>
                    <a:pt x="1" y="6"/>
                    <a:pt x="4" y="0"/>
                  </a:cubicBezTo>
                  <a:lnTo>
                    <a:pt x="86" y="212"/>
                  </a:lnTo>
                  <a:lnTo>
                    <a:pt x="32" y="267"/>
                  </a:lnTo>
                  <a:close/>
                </a:path>
              </a:pathLst>
            </a:custGeom>
            <a:solidFill>
              <a:srgbClr val="AD9A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772">
              <a:extLst>
                <a:ext uri="{FF2B5EF4-FFF2-40B4-BE49-F238E27FC236}">
                  <a16:creationId xmlns:a16="http://schemas.microsoft.com/office/drawing/2014/main" id="{117E17FA-C618-4F31-AEE9-2AD64BB5F467}"/>
                </a:ext>
              </a:extLst>
            </p:cNvPr>
            <p:cNvSpPr>
              <a:spLocks/>
            </p:cNvSpPr>
            <p:nvPr/>
          </p:nvSpPr>
          <p:spPr bwMode="auto">
            <a:xfrm>
              <a:off x="7531101" y="3313113"/>
              <a:ext cx="50800" cy="52388"/>
            </a:xfrm>
            <a:custGeom>
              <a:avLst/>
              <a:gdLst>
                <a:gd name="T0" fmla="*/ 41 w 62"/>
                <a:gd name="T1" fmla="*/ 63 h 63"/>
                <a:gd name="T2" fmla="*/ 32 w 62"/>
                <a:gd name="T3" fmla="*/ 60 h 63"/>
                <a:gd name="T4" fmla="*/ 0 w 62"/>
                <a:gd name="T5" fmla="*/ 42 h 63"/>
                <a:gd name="T6" fmla="*/ 42 w 62"/>
                <a:gd name="T7" fmla="*/ 0 h 63"/>
                <a:gd name="T8" fmla="*/ 57 w 62"/>
                <a:gd name="T9" fmla="*/ 39 h 63"/>
                <a:gd name="T10" fmla="*/ 41 w 62"/>
                <a:gd name="T11" fmla="*/ 63 h 63"/>
              </a:gdLst>
              <a:ahLst/>
              <a:cxnLst>
                <a:cxn ang="0">
                  <a:pos x="T0" y="T1"/>
                </a:cxn>
                <a:cxn ang="0">
                  <a:pos x="T2" y="T3"/>
                </a:cxn>
                <a:cxn ang="0">
                  <a:pos x="T4" y="T5"/>
                </a:cxn>
                <a:cxn ang="0">
                  <a:pos x="T6" y="T7"/>
                </a:cxn>
                <a:cxn ang="0">
                  <a:pos x="T8" y="T9"/>
                </a:cxn>
                <a:cxn ang="0">
                  <a:pos x="T10" y="T11"/>
                </a:cxn>
              </a:cxnLst>
              <a:rect l="0" t="0" r="r" b="b"/>
              <a:pathLst>
                <a:path w="62" h="63">
                  <a:moveTo>
                    <a:pt x="41" y="63"/>
                  </a:moveTo>
                  <a:cubicBezTo>
                    <a:pt x="38" y="63"/>
                    <a:pt x="35" y="62"/>
                    <a:pt x="32" y="60"/>
                  </a:cubicBezTo>
                  <a:lnTo>
                    <a:pt x="0" y="42"/>
                  </a:lnTo>
                  <a:lnTo>
                    <a:pt x="42" y="0"/>
                  </a:lnTo>
                  <a:lnTo>
                    <a:pt x="57" y="39"/>
                  </a:lnTo>
                  <a:cubicBezTo>
                    <a:pt x="62" y="51"/>
                    <a:pt x="52" y="63"/>
                    <a:pt x="41" y="63"/>
                  </a:cubicBezTo>
                </a:path>
              </a:pathLst>
            </a:custGeom>
            <a:solidFill>
              <a:srgbClr val="84A8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773">
              <a:extLst>
                <a:ext uri="{FF2B5EF4-FFF2-40B4-BE49-F238E27FC236}">
                  <a16:creationId xmlns:a16="http://schemas.microsoft.com/office/drawing/2014/main" id="{88B25A5D-61B0-4577-863B-84319D8E5F83}"/>
                </a:ext>
              </a:extLst>
            </p:cNvPr>
            <p:cNvSpPr>
              <a:spLocks/>
            </p:cNvSpPr>
            <p:nvPr/>
          </p:nvSpPr>
          <p:spPr bwMode="auto">
            <a:xfrm>
              <a:off x="6661151" y="3005138"/>
              <a:ext cx="739775" cy="2346325"/>
            </a:xfrm>
            <a:custGeom>
              <a:avLst/>
              <a:gdLst>
                <a:gd name="T0" fmla="*/ 479 w 903"/>
                <a:gd name="T1" fmla="*/ 0 h 2861"/>
                <a:gd name="T2" fmla="*/ 479 w 903"/>
                <a:gd name="T3" fmla="*/ 1097 h 2861"/>
                <a:gd name="T4" fmla="*/ 234 w 903"/>
                <a:gd name="T5" fmla="*/ 2166 h 2861"/>
                <a:gd name="T6" fmla="*/ 234 w 903"/>
                <a:gd name="T7" fmla="*/ 2166 h 2861"/>
                <a:gd name="T8" fmla="*/ 0 w 903"/>
                <a:gd name="T9" fmla="*/ 2562 h 2861"/>
                <a:gd name="T10" fmla="*/ 330 w 903"/>
                <a:gd name="T11" fmla="*/ 2861 h 2861"/>
                <a:gd name="T12" fmla="*/ 382 w 903"/>
                <a:gd name="T13" fmla="*/ 2861 h 2861"/>
                <a:gd name="T14" fmla="*/ 658 w 903"/>
                <a:gd name="T15" fmla="*/ 2413 h 2861"/>
                <a:gd name="T16" fmla="*/ 903 w 903"/>
                <a:gd name="T17" fmla="*/ 1344 h 2861"/>
                <a:gd name="T18" fmla="*/ 903 w 903"/>
                <a:gd name="T19" fmla="*/ 247 h 2861"/>
                <a:gd name="T20" fmla="*/ 479 w 903"/>
                <a:gd name="T21" fmla="*/ 0 h 2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3" h="2861">
                  <a:moveTo>
                    <a:pt x="479" y="0"/>
                  </a:moveTo>
                  <a:lnTo>
                    <a:pt x="479" y="1097"/>
                  </a:lnTo>
                  <a:cubicBezTo>
                    <a:pt x="479" y="1427"/>
                    <a:pt x="394" y="1800"/>
                    <a:pt x="234" y="2166"/>
                  </a:cubicBezTo>
                  <a:lnTo>
                    <a:pt x="234" y="2166"/>
                  </a:lnTo>
                  <a:cubicBezTo>
                    <a:pt x="170" y="2312"/>
                    <a:pt x="90" y="2446"/>
                    <a:pt x="0" y="2562"/>
                  </a:cubicBezTo>
                  <a:cubicBezTo>
                    <a:pt x="123" y="2655"/>
                    <a:pt x="330" y="2861"/>
                    <a:pt x="330" y="2861"/>
                  </a:cubicBezTo>
                  <a:lnTo>
                    <a:pt x="382" y="2861"/>
                  </a:lnTo>
                  <a:cubicBezTo>
                    <a:pt x="489" y="2733"/>
                    <a:pt x="585" y="2582"/>
                    <a:pt x="658" y="2413"/>
                  </a:cubicBezTo>
                  <a:cubicBezTo>
                    <a:pt x="818" y="2046"/>
                    <a:pt x="903" y="1674"/>
                    <a:pt x="903" y="1344"/>
                  </a:cubicBezTo>
                  <a:lnTo>
                    <a:pt x="903" y="247"/>
                  </a:lnTo>
                  <a:lnTo>
                    <a:pt x="479" y="0"/>
                  </a:lnTo>
                </a:path>
              </a:pathLst>
            </a:custGeom>
            <a:solidFill>
              <a:srgbClr val="B89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774">
              <a:extLst>
                <a:ext uri="{FF2B5EF4-FFF2-40B4-BE49-F238E27FC236}">
                  <a16:creationId xmlns:a16="http://schemas.microsoft.com/office/drawing/2014/main" id="{BF9B42C8-AB06-4642-8E29-8B0C99135473}"/>
                </a:ext>
              </a:extLst>
            </p:cNvPr>
            <p:cNvSpPr>
              <a:spLocks/>
            </p:cNvSpPr>
            <p:nvPr/>
          </p:nvSpPr>
          <p:spPr bwMode="auto">
            <a:xfrm>
              <a:off x="6821488" y="2500313"/>
              <a:ext cx="688975" cy="855663"/>
            </a:xfrm>
            <a:custGeom>
              <a:avLst/>
              <a:gdLst>
                <a:gd name="T0" fmla="*/ 841 w 842"/>
                <a:gd name="T1" fmla="*/ 1011 h 1043"/>
                <a:gd name="T2" fmla="*/ 457 w 842"/>
                <a:gd name="T3" fmla="*/ 21 h 1043"/>
                <a:gd name="T4" fmla="*/ 430 w 842"/>
                <a:gd name="T5" fmla="*/ 3 h 1043"/>
                <a:gd name="T6" fmla="*/ 401 w 842"/>
                <a:gd name="T7" fmla="*/ 17 h 1043"/>
                <a:gd name="T8" fmla="*/ 390 w 842"/>
                <a:gd name="T9" fmla="*/ 24 h 1043"/>
                <a:gd name="T10" fmla="*/ 6 w 842"/>
                <a:gd name="T11" fmla="*/ 571 h 1043"/>
                <a:gd name="T12" fmla="*/ 12 w 842"/>
                <a:gd name="T13" fmla="*/ 596 h 1043"/>
                <a:gd name="T14" fmla="*/ 780 w 842"/>
                <a:gd name="T15" fmla="*/ 1040 h 1043"/>
                <a:gd name="T16" fmla="*/ 795 w 842"/>
                <a:gd name="T17" fmla="*/ 1041 h 1043"/>
                <a:gd name="T18" fmla="*/ 795 w 842"/>
                <a:gd name="T19" fmla="*/ 1041 h 1043"/>
                <a:gd name="T20" fmla="*/ 797 w 842"/>
                <a:gd name="T21" fmla="*/ 1040 h 1043"/>
                <a:gd name="T22" fmla="*/ 825 w 842"/>
                <a:gd name="T23" fmla="*/ 1027 h 1043"/>
                <a:gd name="T24" fmla="*/ 825 w 842"/>
                <a:gd name="T25" fmla="*/ 1027 h 1043"/>
                <a:gd name="T26" fmla="*/ 841 w 842"/>
                <a:gd name="T27" fmla="*/ 1011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2" h="1043">
                  <a:moveTo>
                    <a:pt x="841" y="1011"/>
                  </a:moveTo>
                  <a:lnTo>
                    <a:pt x="457" y="21"/>
                  </a:lnTo>
                  <a:cubicBezTo>
                    <a:pt x="450" y="3"/>
                    <a:pt x="439" y="0"/>
                    <a:pt x="430" y="3"/>
                  </a:cubicBezTo>
                  <a:lnTo>
                    <a:pt x="401" y="17"/>
                  </a:lnTo>
                  <a:cubicBezTo>
                    <a:pt x="397" y="18"/>
                    <a:pt x="393" y="20"/>
                    <a:pt x="390" y="24"/>
                  </a:cubicBezTo>
                  <a:lnTo>
                    <a:pt x="6" y="571"/>
                  </a:lnTo>
                  <a:cubicBezTo>
                    <a:pt x="0" y="579"/>
                    <a:pt x="3" y="591"/>
                    <a:pt x="12" y="596"/>
                  </a:cubicBezTo>
                  <a:lnTo>
                    <a:pt x="780" y="1040"/>
                  </a:lnTo>
                  <a:cubicBezTo>
                    <a:pt x="785" y="1043"/>
                    <a:pt x="791" y="1043"/>
                    <a:pt x="795" y="1041"/>
                  </a:cubicBezTo>
                  <a:lnTo>
                    <a:pt x="795" y="1041"/>
                  </a:lnTo>
                  <a:lnTo>
                    <a:pt x="797" y="1040"/>
                  </a:lnTo>
                  <a:lnTo>
                    <a:pt x="825" y="1027"/>
                  </a:lnTo>
                  <a:lnTo>
                    <a:pt x="825" y="1027"/>
                  </a:lnTo>
                  <a:cubicBezTo>
                    <a:pt x="835" y="1025"/>
                    <a:pt x="842" y="1015"/>
                    <a:pt x="841" y="1011"/>
                  </a:cubicBezTo>
                </a:path>
              </a:pathLst>
            </a:custGeom>
            <a:solidFill>
              <a:srgbClr val="B89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775">
              <a:extLst>
                <a:ext uri="{FF2B5EF4-FFF2-40B4-BE49-F238E27FC236}">
                  <a16:creationId xmlns:a16="http://schemas.microsoft.com/office/drawing/2014/main" id="{D1AE1A1B-5A0C-465F-8750-0C8AFC3E7F3C}"/>
                </a:ext>
              </a:extLst>
            </p:cNvPr>
            <p:cNvSpPr>
              <a:spLocks/>
            </p:cNvSpPr>
            <p:nvPr/>
          </p:nvSpPr>
          <p:spPr bwMode="auto">
            <a:xfrm>
              <a:off x="6605588" y="3005138"/>
              <a:ext cx="752475" cy="2346325"/>
            </a:xfrm>
            <a:custGeom>
              <a:avLst/>
              <a:gdLst>
                <a:gd name="T0" fmla="*/ 496 w 920"/>
                <a:gd name="T1" fmla="*/ 0 h 2861"/>
                <a:gd name="T2" fmla="*/ 496 w 920"/>
                <a:gd name="T3" fmla="*/ 1097 h 2861"/>
                <a:gd name="T4" fmla="*/ 251 w 920"/>
                <a:gd name="T5" fmla="*/ 2166 h 2861"/>
                <a:gd name="T6" fmla="*/ 251 w 920"/>
                <a:gd name="T7" fmla="*/ 2166 h 2861"/>
                <a:gd name="T8" fmla="*/ 0 w 920"/>
                <a:gd name="T9" fmla="*/ 2612 h 2861"/>
                <a:gd name="T10" fmla="*/ 399 w 920"/>
                <a:gd name="T11" fmla="*/ 2861 h 2861"/>
                <a:gd name="T12" fmla="*/ 676 w 920"/>
                <a:gd name="T13" fmla="*/ 2413 h 2861"/>
                <a:gd name="T14" fmla="*/ 920 w 920"/>
                <a:gd name="T15" fmla="*/ 1344 h 2861"/>
                <a:gd name="T16" fmla="*/ 920 w 920"/>
                <a:gd name="T17" fmla="*/ 247 h 2861"/>
                <a:gd name="T18" fmla="*/ 496 w 920"/>
                <a:gd name="T19" fmla="*/ 0 h 2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2861">
                  <a:moveTo>
                    <a:pt x="496" y="0"/>
                  </a:moveTo>
                  <a:lnTo>
                    <a:pt x="496" y="1097"/>
                  </a:lnTo>
                  <a:cubicBezTo>
                    <a:pt x="496" y="1427"/>
                    <a:pt x="411" y="1800"/>
                    <a:pt x="251" y="2166"/>
                  </a:cubicBezTo>
                  <a:lnTo>
                    <a:pt x="251" y="2166"/>
                  </a:lnTo>
                  <a:cubicBezTo>
                    <a:pt x="188" y="2312"/>
                    <a:pt x="90" y="2496"/>
                    <a:pt x="0" y="2612"/>
                  </a:cubicBezTo>
                  <a:lnTo>
                    <a:pt x="399" y="2861"/>
                  </a:lnTo>
                  <a:cubicBezTo>
                    <a:pt x="506" y="2733"/>
                    <a:pt x="602" y="2582"/>
                    <a:pt x="676" y="2413"/>
                  </a:cubicBezTo>
                  <a:cubicBezTo>
                    <a:pt x="835" y="2046"/>
                    <a:pt x="920" y="1674"/>
                    <a:pt x="920" y="1344"/>
                  </a:cubicBezTo>
                  <a:lnTo>
                    <a:pt x="920" y="247"/>
                  </a:lnTo>
                  <a:lnTo>
                    <a:pt x="496" y="0"/>
                  </a:lnTo>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776">
              <a:extLst>
                <a:ext uri="{FF2B5EF4-FFF2-40B4-BE49-F238E27FC236}">
                  <a16:creationId xmlns:a16="http://schemas.microsoft.com/office/drawing/2014/main" id="{DA39D343-FBB8-44A2-B2E5-998114C87E2A}"/>
                </a:ext>
              </a:extLst>
            </p:cNvPr>
            <p:cNvSpPr>
              <a:spLocks/>
            </p:cNvSpPr>
            <p:nvPr/>
          </p:nvSpPr>
          <p:spPr bwMode="auto">
            <a:xfrm>
              <a:off x="7010401" y="3005138"/>
              <a:ext cx="347663" cy="415925"/>
            </a:xfrm>
            <a:custGeom>
              <a:avLst/>
              <a:gdLst>
                <a:gd name="T0" fmla="*/ 219 w 219"/>
                <a:gd name="T1" fmla="*/ 262 h 262"/>
                <a:gd name="T2" fmla="*/ 0 w 219"/>
                <a:gd name="T3" fmla="*/ 136 h 262"/>
                <a:gd name="T4" fmla="*/ 0 w 219"/>
                <a:gd name="T5" fmla="*/ 0 h 262"/>
                <a:gd name="T6" fmla="*/ 215 w 219"/>
                <a:gd name="T7" fmla="*/ 125 h 262"/>
                <a:gd name="T8" fmla="*/ 219 w 219"/>
                <a:gd name="T9" fmla="*/ 136 h 262"/>
                <a:gd name="T10" fmla="*/ 219 w 219"/>
                <a:gd name="T11" fmla="*/ 182 h 262"/>
                <a:gd name="T12" fmla="*/ 219 w 219"/>
                <a:gd name="T13" fmla="*/ 262 h 262"/>
              </a:gdLst>
              <a:ahLst/>
              <a:cxnLst>
                <a:cxn ang="0">
                  <a:pos x="T0" y="T1"/>
                </a:cxn>
                <a:cxn ang="0">
                  <a:pos x="T2" y="T3"/>
                </a:cxn>
                <a:cxn ang="0">
                  <a:pos x="T4" y="T5"/>
                </a:cxn>
                <a:cxn ang="0">
                  <a:pos x="T6" y="T7"/>
                </a:cxn>
                <a:cxn ang="0">
                  <a:pos x="T8" y="T9"/>
                </a:cxn>
                <a:cxn ang="0">
                  <a:pos x="T10" y="T11"/>
                </a:cxn>
                <a:cxn ang="0">
                  <a:pos x="T12" y="T13"/>
                </a:cxn>
              </a:cxnLst>
              <a:rect l="0" t="0" r="r" b="b"/>
              <a:pathLst>
                <a:path w="219" h="262">
                  <a:moveTo>
                    <a:pt x="219" y="262"/>
                  </a:moveTo>
                  <a:lnTo>
                    <a:pt x="0" y="136"/>
                  </a:lnTo>
                  <a:lnTo>
                    <a:pt x="0" y="0"/>
                  </a:lnTo>
                  <a:lnTo>
                    <a:pt x="215" y="125"/>
                  </a:lnTo>
                  <a:lnTo>
                    <a:pt x="219" y="136"/>
                  </a:lnTo>
                  <a:lnTo>
                    <a:pt x="219" y="182"/>
                  </a:lnTo>
                  <a:lnTo>
                    <a:pt x="219" y="262"/>
                  </a:lnTo>
                  <a:close/>
                </a:path>
              </a:pathLst>
            </a:custGeom>
            <a:solidFill>
              <a:srgbClr val="F2C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777">
              <a:extLst>
                <a:ext uri="{FF2B5EF4-FFF2-40B4-BE49-F238E27FC236}">
                  <a16:creationId xmlns:a16="http://schemas.microsoft.com/office/drawing/2014/main" id="{CCD937AE-BD03-42DC-A7E4-030154E19F59}"/>
                </a:ext>
              </a:extLst>
            </p:cNvPr>
            <p:cNvSpPr>
              <a:spLocks noEditPoints="1"/>
            </p:cNvSpPr>
            <p:nvPr/>
          </p:nvSpPr>
          <p:spPr bwMode="auto">
            <a:xfrm>
              <a:off x="6931026" y="4965701"/>
              <a:ext cx="234950" cy="385763"/>
            </a:xfrm>
            <a:custGeom>
              <a:avLst/>
              <a:gdLst>
                <a:gd name="T0" fmla="*/ 0 w 286"/>
                <a:gd name="T1" fmla="*/ 471 h 471"/>
                <a:gd name="T2" fmla="*/ 0 w 286"/>
                <a:gd name="T3" fmla="*/ 471 h 471"/>
                <a:gd name="T4" fmla="*/ 277 w 286"/>
                <a:gd name="T5" fmla="*/ 23 h 471"/>
                <a:gd name="T6" fmla="*/ 283 w 286"/>
                <a:gd name="T7" fmla="*/ 8 h 471"/>
                <a:gd name="T8" fmla="*/ 277 w 286"/>
                <a:gd name="T9" fmla="*/ 23 h 471"/>
                <a:gd name="T10" fmla="*/ 0 w 286"/>
                <a:gd name="T11" fmla="*/ 471 h 471"/>
                <a:gd name="T12" fmla="*/ 283 w 286"/>
                <a:gd name="T13" fmla="*/ 8 h 471"/>
                <a:gd name="T14" fmla="*/ 284 w 286"/>
                <a:gd name="T15" fmla="*/ 6 h 471"/>
                <a:gd name="T16" fmla="*/ 283 w 286"/>
                <a:gd name="T17" fmla="*/ 8 h 471"/>
                <a:gd name="T18" fmla="*/ 284 w 286"/>
                <a:gd name="T19" fmla="*/ 5 h 471"/>
                <a:gd name="T20" fmla="*/ 285 w 286"/>
                <a:gd name="T21" fmla="*/ 4 h 471"/>
                <a:gd name="T22" fmla="*/ 284 w 286"/>
                <a:gd name="T23" fmla="*/ 5 h 471"/>
                <a:gd name="T24" fmla="*/ 285 w 286"/>
                <a:gd name="T25" fmla="*/ 3 h 471"/>
                <a:gd name="T26" fmla="*/ 286 w 286"/>
                <a:gd name="T27" fmla="*/ 2 h 471"/>
                <a:gd name="T28" fmla="*/ 285 w 286"/>
                <a:gd name="T29" fmla="*/ 3 h 471"/>
                <a:gd name="T30" fmla="*/ 286 w 286"/>
                <a:gd name="T31" fmla="*/ 0 h 471"/>
                <a:gd name="T32" fmla="*/ 286 w 286"/>
                <a:gd name="T33" fmla="*/ 0 h 471"/>
                <a:gd name="T34" fmla="*/ 286 w 286"/>
                <a:gd name="T35"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6" h="471">
                  <a:moveTo>
                    <a:pt x="0" y="471"/>
                  </a:moveTo>
                  <a:lnTo>
                    <a:pt x="0" y="471"/>
                  </a:lnTo>
                  <a:cubicBezTo>
                    <a:pt x="107" y="343"/>
                    <a:pt x="203" y="192"/>
                    <a:pt x="277" y="23"/>
                  </a:cubicBezTo>
                  <a:cubicBezTo>
                    <a:pt x="279" y="18"/>
                    <a:pt x="281" y="13"/>
                    <a:pt x="283" y="8"/>
                  </a:cubicBezTo>
                  <a:cubicBezTo>
                    <a:pt x="281" y="13"/>
                    <a:pt x="279" y="18"/>
                    <a:pt x="277" y="23"/>
                  </a:cubicBezTo>
                  <a:cubicBezTo>
                    <a:pt x="203" y="192"/>
                    <a:pt x="107" y="343"/>
                    <a:pt x="0" y="471"/>
                  </a:cubicBezTo>
                  <a:close/>
                  <a:moveTo>
                    <a:pt x="283" y="8"/>
                  </a:moveTo>
                  <a:cubicBezTo>
                    <a:pt x="283" y="7"/>
                    <a:pt x="284" y="6"/>
                    <a:pt x="284" y="6"/>
                  </a:cubicBezTo>
                  <a:cubicBezTo>
                    <a:pt x="284" y="6"/>
                    <a:pt x="283" y="7"/>
                    <a:pt x="283" y="8"/>
                  </a:cubicBezTo>
                  <a:close/>
                  <a:moveTo>
                    <a:pt x="284" y="5"/>
                  </a:moveTo>
                  <a:cubicBezTo>
                    <a:pt x="284" y="5"/>
                    <a:pt x="285" y="4"/>
                    <a:pt x="285" y="4"/>
                  </a:cubicBezTo>
                  <a:cubicBezTo>
                    <a:pt x="285" y="4"/>
                    <a:pt x="284" y="5"/>
                    <a:pt x="284" y="5"/>
                  </a:cubicBezTo>
                  <a:close/>
                  <a:moveTo>
                    <a:pt x="285" y="3"/>
                  </a:moveTo>
                  <a:cubicBezTo>
                    <a:pt x="285" y="2"/>
                    <a:pt x="286" y="2"/>
                    <a:pt x="286" y="2"/>
                  </a:cubicBezTo>
                  <a:cubicBezTo>
                    <a:pt x="286" y="2"/>
                    <a:pt x="285" y="2"/>
                    <a:pt x="285" y="3"/>
                  </a:cubicBezTo>
                  <a:close/>
                  <a:moveTo>
                    <a:pt x="286" y="0"/>
                  </a:moveTo>
                  <a:cubicBezTo>
                    <a:pt x="286" y="0"/>
                    <a:pt x="286" y="0"/>
                    <a:pt x="286" y="0"/>
                  </a:cubicBezTo>
                  <a:cubicBezTo>
                    <a:pt x="286" y="0"/>
                    <a:pt x="286" y="0"/>
                    <a:pt x="286" y="0"/>
                  </a:cubicBezTo>
                  <a:close/>
                </a:path>
              </a:pathLst>
            </a:custGeom>
            <a:solidFill>
              <a:srgbClr val="AF8A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778">
              <a:extLst>
                <a:ext uri="{FF2B5EF4-FFF2-40B4-BE49-F238E27FC236}">
                  <a16:creationId xmlns:a16="http://schemas.microsoft.com/office/drawing/2014/main" id="{3F29F6C5-0776-478E-B53C-1E1121BD1CF5}"/>
                </a:ext>
              </a:extLst>
            </p:cNvPr>
            <p:cNvSpPr>
              <a:spLocks noEditPoints="1"/>
            </p:cNvSpPr>
            <p:nvPr/>
          </p:nvSpPr>
          <p:spPr bwMode="auto">
            <a:xfrm>
              <a:off x="6818313" y="4573588"/>
              <a:ext cx="73025" cy="192088"/>
            </a:xfrm>
            <a:custGeom>
              <a:avLst/>
              <a:gdLst>
                <a:gd name="T0" fmla="*/ 0 w 89"/>
                <a:gd name="T1" fmla="*/ 234 h 234"/>
                <a:gd name="T2" fmla="*/ 0 w 89"/>
                <a:gd name="T3" fmla="*/ 234 h 234"/>
                <a:gd name="T4" fmla="*/ 0 w 89"/>
                <a:gd name="T5" fmla="*/ 234 h 234"/>
                <a:gd name="T6" fmla="*/ 0 w 89"/>
                <a:gd name="T7" fmla="*/ 232 h 234"/>
                <a:gd name="T8" fmla="*/ 1 w 89"/>
                <a:gd name="T9" fmla="*/ 231 h 234"/>
                <a:gd name="T10" fmla="*/ 0 w 89"/>
                <a:gd name="T11" fmla="*/ 232 h 234"/>
                <a:gd name="T12" fmla="*/ 1 w 89"/>
                <a:gd name="T13" fmla="*/ 230 h 234"/>
                <a:gd name="T14" fmla="*/ 2 w 89"/>
                <a:gd name="T15" fmla="*/ 229 h 234"/>
                <a:gd name="T16" fmla="*/ 1 w 89"/>
                <a:gd name="T17" fmla="*/ 230 h 234"/>
                <a:gd name="T18" fmla="*/ 2 w 89"/>
                <a:gd name="T19" fmla="*/ 228 h 234"/>
                <a:gd name="T20" fmla="*/ 3 w 89"/>
                <a:gd name="T21" fmla="*/ 226 h 234"/>
                <a:gd name="T22" fmla="*/ 2 w 89"/>
                <a:gd name="T23" fmla="*/ 228 h 234"/>
                <a:gd name="T24" fmla="*/ 3 w 89"/>
                <a:gd name="T25" fmla="*/ 226 h 234"/>
                <a:gd name="T26" fmla="*/ 89 w 89"/>
                <a:gd name="T27" fmla="*/ 0 h 234"/>
                <a:gd name="T28" fmla="*/ 89 w 89"/>
                <a:gd name="T29" fmla="*/ 0 h 234"/>
                <a:gd name="T30" fmla="*/ 3 w 89"/>
                <a:gd name="T31" fmla="*/ 22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234">
                  <a:moveTo>
                    <a:pt x="0" y="234"/>
                  </a:moveTo>
                  <a:cubicBezTo>
                    <a:pt x="0" y="234"/>
                    <a:pt x="0" y="234"/>
                    <a:pt x="0" y="234"/>
                  </a:cubicBezTo>
                  <a:cubicBezTo>
                    <a:pt x="0" y="234"/>
                    <a:pt x="0" y="234"/>
                    <a:pt x="0" y="234"/>
                  </a:cubicBezTo>
                  <a:close/>
                  <a:moveTo>
                    <a:pt x="0" y="232"/>
                  </a:moveTo>
                  <a:cubicBezTo>
                    <a:pt x="0" y="231"/>
                    <a:pt x="1" y="231"/>
                    <a:pt x="1" y="231"/>
                  </a:cubicBezTo>
                  <a:cubicBezTo>
                    <a:pt x="1" y="231"/>
                    <a:pt x="0" y="231"/>
                    <a:pt x="0" y="232"/>
                  </a:cubicBezTo>
                  <a:close/>
                  <a:moveTo>
                    <a:pt x="1" y="230"/>
                  </a:moveTo>
                  <a:cubicBezTo>
                    <a:pt x="1" y="229"/>
                    <a:pt x="2" y="229"/>
                    <a:pt x="2" y="229"/>
                  </a:cubicBezTo>
                  <a:cubicBezTo>
                    <a:pt x="2" y="229"/>
                    <a:pt x="1" y="229"/>
                    <a:pt x="1" y="230"/>
                  </a:cubicBezTo>
                  <a:close/>
                  <a:moveTo>
                    <a:pt x="2" y="228"/>
                  </a:moveTo>
                  <a:cubicBezTo>
                    <a:pt x="2" y="227"/>
                    <a:pt x="3" y="227"/>
                    <a:pt x="3" y="226"/>
                  </a:cubicBezTo>
                  <a:cubicBezTo>
                    <a:pt x="3" y="227"/>
                    <a:pt x="2" y="227"/>
                    <a:pt x="2" y="228"/>
                  </a:cubicBezTo>
                  <a:close/>
                  <a:moveTo>
                    <a:pt x="3" y="226"/>
                  </a:moveTo>
                  <a:cubicBezTo>
                    <a:pt x="35" y="151"/>
                    <a:pt x="64" y="76"/>
                    <a:pt x="89" y="0"/>
                  </a:cubicBezTo>
                  <a:lnTo>
                    <a:pt x="89" y="0"/>
                  </a:lnTo>
                  <a:cubicBezTo>
                    <a:pt x="64" y="75"/>
                    <a:pt x="35" y="151"/>
                    <a:pt x="3" y="226"/>
                  </a:cubicBezTo>
                  <a:close/>
                </a:path>
              </a:pathLst>
            </a:custGeom>
            <a:solidFill>
              <a:srgbClr val="D7E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779">
              <a:extLst>
                <a:ext uri="{FF2B5EF4-FFF2-40B4-BE49-F238E27FC236}">
                  <a16:creationId xmlns:a16="http://schemas.microsoft.com/office/drawing/2014/main" id="{BA457D1F-B9C3-4EE7-9DF4-6E5EFA977786}"/>
                </a:ext>
              </a:extLst>
            </p:cNvPr>
            <p:cNvSpPr>
              <a:spLocks/>
            </p:cNvSpPr>
            <p:nvPr/>
          </p:nvSpPr>
          <p:spPr bwMode="auto">
            <a:xfrm>
              <a:off x="6891338" y="4508501"/>
              <a:ext cx="20638" cy="65088"/>
            </a:xfrm>
            <a:custGeom>
              <a:avLst/>
              <a:gdLst>
                <a:gd name="T0" fmla="*/ 0 w 26"/>
                <a:gd name="T1" fmla="*/ 80 h 80"/>
                <a:gd name="T2" fmla="*/ 26 w 26"/>
                <a:gd name="T3" fmla="*/ 0 h 80"/>
                <a:gd name="T4" fmla="*/ 26 w 26"/>
                <a:gd name="T5" fmla="*/ 0 h 80"/>
                <a:gd name="T6" fmla="*/ 0 w 26"/>
                <a:gd name="T7" fmla="*/ 80 h 80"/>
                <a:gd name="T8" fmla="*/ 0 w 26"/>
                <a:gd name="T9" fmla="*/ 80 h 80"/>
              </a:gdLst>
              <a:ahLst/>
              <a:cxnLst>
                <a:cxn ang="0">
                  <a:pos x="T0" y="T1"/>
                </a:cxn>
                <a:cxn ang="0">
                  <a:pos x="T2" y="T3"/>
                </a:cxn>
                <a:cxn ang="0">
                  <a:pos x="T4" y="T5"/>
                </a:cxn>
                <a:cxn ang="0">
                  <a:pos x="T6" y="T7"/>
                </a:cxn>
                <a:cxn ang="0">
                  <a:pos x="T8" y="T9"/>
                </a:cxn>
              </a:cxnLst>
              <a:rect l="0" t="0" r="r" b="b"/>
              <a:pathLst>
                <a:path w="26" h="80">
                  <a:moveTo>
                    <a:pt x="0" y="80"/>
                  </a:moveTo>
                  <a:cubicBezTo>
                    <a:pt x="9" y="54"/>
                    <a:pt x="18" y="27"/>
                    <a:pt x="26" y="0"/>
                  </a:cubicBezTo>
                  <a:lnTo>
                    <a:pt x="26" y="0"/>
                  </a:lnTo>
                  <a:cubicBezTo>
                    <a:pt x="18" y="27"/>
                    <a:pt x="9" y="54"/>
                    <a:pt x="0" y="80"/>
                  </a:cubicBezTo>
                  <a:lnTo>
                    <a:pt x="0" y="80"/>
                  </a:lnTo>
                  <a:close/>
                </a:path>
              </a:pathLst>
            </a:custGeom>
            <a:solidFill>
              <a:srgbClr val="C2D5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780">
              <a:extLst>
                <a:ext uri="{FF2B5EF4-FFF2-40B4-BE49-F238E27FC236}">
                  <a16:creationId xmlns:a16="http://schemas.microsoft.com/office/drawing/2014/main" id="{94673AE5-A37F-47EB-A565-72FA3012AF52}"/>
                </a:ext>
              </a:extLst>
            </p:cNvPr>
            <p:cNvSpPr>
              <a:spLocks/>
            </p:cNvSpPr>
            <p:nvPr/>
          </p:nvSpPr>
          <p:spPr bwMode="auto">
            <a:xfrm>
              <a:off x="6911976" y="4379913"/>
              <a:ext cx="36513" cy="128588"/>
            </a:xfrm>
            <a:custGeom>
              <a:avLst/>
              <a:gdLst>
                <a:gd name="T0" fmla="*/ 0 w 45"/>
                <a:gd name="T1" fmla="*/ 157 h 157"/>
                <a:gd name="T2" fmla="*/ 44 w 45"/>
                <a:gd name="T3" fmla="*/ 0 h 157"/>
                <a:gd name="T4" fmla="*/ 45 w 45"/>
                <a:gd name="T5" fmla="*/ 0 h 157"/>
                <a:gd name="T6" fmla="*/ 0 w 45"/>
                <a:gd name="T7" fmla="*/ 157 h 157"/>
                <a:gd name="T8" fmla="*/ 0 w 45"/>
                <a:gd name="T9" fmla="*/ 157 h 157"/>
              </a:gdLst>
              <a:ahLst/>
              <a:cxnLst>
                <a:cxn ang="0">
                  <a:pos x="T0" y="T1"/>
                </a:cxn>
                <a:cxn ang="0">
                  <a:pos x="T2" y="T3"/>
                </a:cxn>
                <a:cxn ang="0">
                  <a:pos x="T4" y="T5"/>
                </a:cxn>
                <a:cxn ang="0">
                  <a:pos x="T6" y="T7"/>
                </a:cxn>
                <a:cxn ang="0">
                  <a:pos x="T8" y="T9"/>
                </a:cxn>
              </a:cxnLst>
              <a:rect l="0" t="0" r="r" b="b"/>
              <a:pathLst>
                <a:path w="45" h="157">
                  <a:moveTo>
                    <a:pt x="0" y="157"/>
                  </a:moveTo>
                  <a:cubicBezTo>
                    <a:pt x="17" y="104"/>
                    <a:pt x="31" y="52"/>
                    <a:pt x="44" y="0"/>
                  </a:cubicBezTo>
                  <a:lnTo>
                    <a:pt x="45" y="0"/>
                  </a:lnTo>
                  <a:cubicBezTo>
                    <a:pt x="31" y="52"/>
                    <a:pt x="17" y="104"/>
                    <a:pt x="0" y="157"/>
                  </a:cubicBezTo>
                  <a:lnTo>
                    <a:pt x="0" y="157"/>
                  </a:lnTo>
                  <a:close/>
                </a:path>
              </a:pathLst>
            </a:custGeom>
            <a:solidFill>
              <a:srgbClr val="869A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781">
              <a:extLst>
                <a:ext uri="{FF2B5EF4-FFF2-40B4-BE49-F238E27FC236}">
                  <a16:creationId xmlns:a16="http://schemas.microsoft.com/office/drawing/2014/main" id="{5B5168BE-3CD7-492C-977A-DD58AB62CBF5}"/>
                </a:ext>
              </a:extLst>
            </p:cNvPr>
            <p:cNvSpPr>
              <a:spLocks/>
            </p:cNvSpPr>
            <p:nvPr/>
          </p:nvSpPr>
          <p:spPr bwMode="auto">
            <a:xfrm>
              <a:off x="6948488" y="4348163"/>
              <a:ext cx="7938" cy="31750"/>
            </a:xfrm>
            <a:custGeom>
              <a:avLst/>
              <a:gdLst>
                <a:gd name="T0" fmla="*/ 0 w 10"/>
                <a:gd name="T1" fmla="*/ 39 h 39"/>
                <a:gd name="T2" fmla="*/ 10 w 10"/>
                <a:gd name="T3" fmla="*/ 0 h 39"/>
                <a:gd name="T4" fmla="*/ 10 w 10"/>
                <a:gd name="T5" fmla="*/ 0 h 39"/>
                <a:gd name="T6" fmla="*/ 1 w 10"/>
                <a:gd name="T7" fmla="*/ 39 h 39"/>
                <a:gd name="T8" fmla="*/ 0 w 10"/>
                <a:gd name="T9" fmla="*/ 39 h 39"/>
              </a:gdLst>
              <a:ahLst/>
              <a:cxnLst>
                <a:cxn ang="0">
                  <a:pos x="T0" y="T1"/>
                </a:cxn>
                <a:cxn ang="0">
                  <a:pos x="T2" y="T3"/>
                </a:cxn>
                <a:cxn ang="0">
                  <a:pos x="T4" y="T5"/>
                </a:cxn>
                <a:cxn ang="0">
                  <a:pos x="T6" y="T7"/>
                </a:cxn>
                <a:cxn ang="0">
                  <a:pos x="T8" y="T9"/>
                </a:cxn>
              </a:cxnLst>
              <a:rect l="0" t="0" r="r" b="b"/>
              <a:pathLst>
                <a:path w="10" h="39">
                  <a:moveTo>
                    <a:pt x="0" y="39"/>
                  </a:moveTo>
                  <a:cubicBezTo>
                    <a:pt x="4" y="26"/>
                    <a:pt x="7" y="13"/>
                    <a:pt x="10" y="0"/>
                  </a:cubicBezTo>
                  <a:lnTo>
                    <a:pt x="10" y="0"/>
                  </a:lnTo>
                  <a:cubicBezTo>
                    <a:pt x="7" y="13"/>
                    <a:pt x="4" y="26"/>
                    <a:pt x="1" y="39"/>
                  </a:cubicBezTo>
                  <a:lnTo>
                    <a:pt x="0" y="39"/>
                  </a:lnTo>
                  <a:close/>
                </a:path>
              </a:pathLst>
            </a:custGeom>
            <a:solidFill>
              <a:srgbClr val="B2C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782">
              <a:extLst>
                <a:ext uri="{FF2B5EF4-FFF2-40B4-BE49-F238E27FC236}">
                  <a16:creationId xmlns:a16="http://schemas.microsoft.com/office/drawing/2014/main" id="{65F9B39D-3D13-4B0D-82E3-C6294F3561A5}"/>
                </a:ext>
              </a:extLst>
            </p:cNvPr>
            <p:cNvSpPr>
              <a:spLocks/>
            </p:cNvSpPr>
            <p:nvPr/>
          </p:nvSpPr>
          <p:spPr bwMode="auto">
            <a:xfrm>
              <a:off x="6605588" y="4348163"/>
              <a:ext cx="698500" cy="1003300"/>
            </a:xfrm>
            <a:custGeom>
              <a:avLst/>
              <a:gdLst>
                <a:gd name="T0" fmla="*/ 399 w 853"/>
                <a:gd name="T1" fmla="*/ 1224 h 1224"/>
                <a:gd name="T2" fmla="*/ 0 w 853"/>
                <a:gd name="T3" fmla="*/ 975 h 1224"/>
                <a:gd name="T4" fmla="*/ 251 w 853"/>
                <a:gd name="T5" fmla="*/ 529 h 1224"/>
                <a:gd name="T6" fmla="*/ 251 w 853"/>
                <a:gd name="T7" fmla="*/ 529 h 1224"/>
                <a:gd name="T8" fmla="*/ 260 w 853"/>
                <a:gd name="T9" fmla="*/ 510 h 1224"/>
                <a:gd name="T10" fmla="*/ 260 w 853"/>
                <a:gd name="T11" fmla="*/ 510 h 1224"/>
                <a:gd name="T12" fmla="*/ 260 w 853"/>
                <a:gd name="T13" fmla="*/ 508 h 1224"/>
                <a:gd name="T14" fmla="*/ 261 w 853"/>
                <a:gd name="T15" fmla="*/ 507 h 1224"/>
                <a:gd name="T16" fmla="*/ 261 w 853"/>
                <a:gd name="T17" fmla="*/ 506 h 1224"/>
                <a:gd name="T18" fmla="*/ 262 w 853"/>
                <a:gd name="T19" fmla="*/ 505 h 1224"/>
                <a:gd name="T20" fmla="*/ 262 w 853"/>
                <a:gd name="T21" fmla="*/ 504 h 1224"/>
                <a:gd name="T22" fmla="*/ 263 w 853"/>
                <a:gd name="T23" fmla="*/ 502 h 1224"/>
                <a:gd name="T24" fmla="*/ 263 w 853"/>
                <a:gd name="T25" fmla="*/ 502 h 1224"/>
                <a:gd name="T26" fmla="*/ 349 w 853"/>
                <a:gd name="T27" fmla="*/ 276 h 1224"/>
                <a:gd name="T28" fmla="*/ 375 w 853"/>
                <a:gd name="T29" fmla="*/ 196 h 1224"/>
                <a:gd name="T30" fmla="*/ 375 w 853"/>
                <a:gd name="T31" fmla="*/ 196 h 1224"/>
                <a:gd name="T32" fmla="*/ 420 w 853"/>
                <a:gd name="T33" fmla="*/ 39 h 1224"/>
                <a:gd name="T34" fmla="*/ 429 w 853"/>
                <a:gd name="T35" fmla="*/ 0 h 1224"/>
                <a:gd name="T36" fmla="*/ 853 w 853"/>
                <a:gd name="T37" fmla="*/ 246 h 1224"/>
                <a:gd name="T38" fmla="*/ 685 w 853"/>
                <a:gd name="T39" fmla="*/ 753 h 1224"/>
                <a:gd name="T40" fmla="*/ 685 w 853"/>
                <a:gd name="T41" fmla="*/ 753 h 1224"/>
                <a:gd name="T42" fmla="*/ 685 w 853"/>
                <a:gd name="T43" fmla="*/ 755 h 1224"/>
                <a:gd name="T44" fmla="*/ 684 w 853"/>
                <a:gd name="T45" fmla="*/ 756 h 1224"/>
                <a:gd name="T46" fmla="*/ 684 w 853"/>
                <a:gd name="T47" fmla="*/ 757 h 1224"/>
                <a:gd name="T48" fmla="*/ 683 w 853"/>
                <a:gd name="T49" fmla="*/ 758 h 1224"/>
                <a:gd name="T50" fmla="*/ 683 w 853"/>
                <a:gd name="T51" fmla="*/ 759 h 1224"/>
                <a:gd name="T52" fmla="*/ 682 w 853"/>
                <a:gd name="T53" fmla="*/ 761 h 1224"/>
                <a:gd name="T54" fmla="*/ 682 w 853"/>
                <a:gd name="T55" fmla="*/ 761 h 1224"/>
                <a:gd name="T56" fmla="*/ 676 w 853"/>
                <a:gd name="T57" fmla="*/ 776 h 1224"/>
                <a:gd name="T58" fmla="*/ 399 w 853"/>
                <a:gd name="T59" fmla="*/ 1224 h 1224"/>
                <a:gd name="T60" fmla="*/ 399 w 853"/>
                <a:gd name="T61"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3" h="1224">
                  <a:moveTo>
                    <a:pt x="399" y="1224"/>
                  </a:moveTo>
                  <a:lnTo>
                    <a:pt x="0" y="975"/>
                  </a:lnTo>
                  <a:cubicBezTo>
                    <a:pt x="90" y="859"/>
                    <a:pt x="188" y="675"/>
                    <a:pt x="251" y="529"/>
                  </a:cubicBezTo>
                  <a:lnTo>
                    <a:pt x="251" y="529"/>
                  </a:lnTo>
                  <a:cubicBezTo>
                    <a:pt x="254" y="523"/>
                    <a:pt x="257" y="516"/>
                    <a:pt x="260" y="510"/>
                  </a:cubicBezTo>
                  <a:cubicBezTo>
                    <a:pt x="260" y="510"/>
                    <a:pt x="260" y="510"/>
                    <a:pt x="260" y="510"/>
                  </a:cubicBezTo>
                  <a:lnTo>
                    <a:pt x="260" y="508"/>
                  </a:lnTo>
                  <a:cubicBezTo>
                    <a:pt x="260" y="507"/>
                    <a:pt x="261" y="507"/>
                    <a:pt x="261" y="507"/>
                  </a:cubicBezTo>
                  <a:cubicBezTo>
                    <a:pt x="261" y="507"/>
                    <a:pt x="261" y="506"/>
                    <a:pt x="261" y="506"/>
                  </a:cubicBezTo>
                  <a:cubicBezTo>
                    <a:pt x="261" y="505"/>
                    <a:pt x="262" y="505"/>
                    <a:pt x="262" y="505"/>
                  </a:cubicBezTo>
                  <a:cubicBezTo>
                    <a:pt x="262" y="504"/>
                    <a:pt x="262" y="504"/>
                    <a:pt x="262" y="504"/>
                  </a:cubicBezTo>
                  <a:cubicBezTo>
                    <a:pt x="262" y="503"/>
                    <a:pt x="263" y="503"/>
                    <a:pt x="263" y="502"/>
                  </a:cubicBezTo>
                  <a:cubicBezTo>
                    <a:pt x="263" y="502"/>
                    <a:pt x="263" y="502"/>
                    <a:pt x="263" y="502"/>
                  </a:cubicBezTo>
                  <a:cubicBezTo>
                    <a:pt x="295" y="427"/>
                    <a:pt x="324" y="351"/>
                    <a:pt x="349" y="276"/>
                  </a:cubicBezTo>
                  <a:cubicBezTo>
                    <a:pt x="358" y="250"/>
                    <a:pt x="367" y="223"/>
                    <a:pt x="375" y="196"/>
                  </a:cubicBezTo>
                  <a:lnTo>
                    <a:pt x="375" y="196"/>
                  </a:lnTo>
                  <a:cubicBezTo>
                    <a:pt x="392" y="143"/>
                    <a:pt x="406" y="91"/>
                    <a:pt x="420" y="39"/>
                  </a:cubicBezTo>
                  <a:cubicBezTo>
                    <a:pt x="423" y="26"/>
                    <a:pt x="426" y="13"/>
                    <a:pt x="429" y="0"/>
                  </a:cubicBezTo>
                  <a:lnTo>
                    <a:pt x="853" y="246"/>
                  </a:lnTo>
                  <a:cubicBezTo>
                    <a:pt x="814" y="413"/>
                    <a:pt x="758" y="583"/>
                    <a:pt x="685" y="753"/>
                  </a:cubicBezTo>
                  <a:cubicBezTo>
                    <a:pt x="685" y="753"/>
                    <a:pt x="685" y="753"/>
                    <a:pt x="685" y="753"/>
                  </a:cubicBezTo>
                  <a:cubicBezTo>
                    <a:pt x="685" y="754"/>
                    <a:pt x="685" y="754"/>
                    <a:pt x="685" y="755"/>
                  </a:cubicBezTo>
                  <a:cubicBezTo>
                    <a:pt x="685" y="755"/>
                    <a:pt x="684" y="755"/>
                    <a:pt x="684" y="756"/>
                  </a:cubicBezTo>
                  <a:cubicBezTo>
                    <a:pt x="684" y="756"/>
                    <a:pt x="684" y="756"/>
                    <a:pt x="684" y="757"/>
                  </a:cubicBezTo>
                  <a:cubicBezTo>
                    <a:pt x="684" y="757"/>
                    <a:pt x="683" y="758"/>
                    <a:pt x="683" y="758"/>
                  </a:cubicBezTo>
                  <a:cubicBezTo>
                    <a:pt x="683" y="758"/>
                    <a:pt x="683" y="759"/>
                    <a:pt x="683" y="759"/>
                  </a:cubicBezTo>
                  <a:cubicBezTo>
                    <a:pt x="683" y="759"/>
                    <a:pt x="682" y="760"/>
                    <a:pt x="682" y="761"/>
                  </a:cubicBezTo>
                  <a:cubicBezTo>
                    <a:pt x="682" y="761"/>
                    <a:pt x="682" y="761"/>
                    <a:pt x="682" y="761"/>
                  </a:cubicBezTo>
                  <a:cubicBezTo>
                    <a:pt x="680" y="766"/>
                    <a:pt x="678" y="771"/>
                    <a:pt x="676" y="776"/>
                  </a:cubicBezTo>
                  <a:cubicBezTo>
                    <a:pt x="602" y="945"/>
                    <a:pt x="506" y="1096"/>
                    <a:pt x="399" y="1224"/>
                  </a:cubicBezTo>
                  <a:lnTo>
                    <a:pt x="399" y="1224"/>
                  </a:lnTo>
                </a:path>
              </a:pathLst>
            </a:custGeom>
            <a:solidFill>
              <a:srgbClr val="F2C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783">
              <a:extLst>
                <a:ext uri="{FF2B5EF4-FFF2-40B4-BE49-F238E27FC236}">
                  <a16:creationId xmlns:a16="http://schemas.microsoft.com/office/drawing/2014/main" id="{2448062A-95C5-4286-8F39-DE1DFAF3260A}"/>
                </a:ext>
              </a:extLst>
            </p:cNvPr>
            <p:cNvSpPr>
              <a:spLocks/>
            </p:cNvSpPr>
            <p:nvPr/>
          </p:nvSpPr>
          <p:spPr bwMode="auto">
            <a:xfrm>
              <a:off x="6821488" y="2511426"/>
              <a:ext cx="663575" cy="849313"/>
            </a:xfrm>
            <a:custGeom>
              <a:avLst/>
              <a:gdLst>
                <a:gd name="T0" fmla="*/ 390 w 811"/>
                <a:gd name="T1" fmla="*/ 11 h 1035"/>
                <a:gd name="T2" fmla="*/ 6 w 811"/>
                <a:gd name="T3" fmla="*/ 558 h 1035"/>
                <a:gd name="T4" fmla="*/ 12 w 811"/>
                <a:gd name="T5" fmla="*/ 583 h 1035"/>
                <a:gd name="T6" fmla="*/ 780 w 811"/>
                <a:gd name="T7" fmla="*/ 1027 h 1035"/>
                <a:gd name="T8" fmla="*/ 805 w 811"/>
                <a:gd name="T9" fmla="*/ 1005 h 1035"/>
                <a:gd name="T10" fmla="*/ 421 w 811"/>
                <a:gd name="T11" fmla="*/ 15 h 1035"/>
                <a:gd name="T12" fmla="*/ 390 w 811"/>
                <a:gd name="T13" fmla="*/ 11 h 1035"/>
              </a:gdLst>
              <a:ahLst/>
              <a:cxnLst>
                <a:cxn ang="0">
                  <a:pos x="T0" y="T1"/>
                </a:cxn>
                <a:cxn ang="0">
                  <a:pos x="T2" y="T3"/>
                </a:cxn>
                <a:cxn ang="0">
                  <a:pos x="T4" y="T5"/>
                </a:cxn>
                <a:cxn ang="0">
                  <a:pos x="T6" y="T7"/>
                </a:cxn>
                <a:cxn ang="0">
                  <a:pos x="T8" y="T9"/>
                </a:cxn>
                <a:cxn ang="0">
                  <a:pos x="T10" y="T11"/>
                </a:cxn>
                <a:cxn ang="0">
                  <a:pos x="T12" y="T13"/>
                </a:cxn>
              </a:cxnLst>
              <a:rect l="0" t="0" r="r" b="b"/>
              <a:pathLst>
                <a:path w="811" h="1035">
                  <a:moveTo>
                    <a:pt x="390" y="11"/>
                  </a:moveTo>
                  <a:lnTo>
                    <a:pt x="6" y="558"/>
                  </a:lnTo>
                  <a:cubicBezTo>
                    <a:pt x="0" y="566"/>
                    <a:pt x="3" y="578"/>
                    <a:pt x="12" y="583"/>
                  </a:cubicBezTo>
                  <a:lnTo>
                    <a:pt x="780" y="1027"/>
                  </a:lnTo>
                  <a:cubicBezTo>
                    <a:pt x="795" y="1035"/>
                    <a:pt x="811" y="1021"/>
                    <a:pt x="805" y="1005"/>
                  </a:cubicBezTo>
                  <a:lnTo>
                    <a:pt x="421" y="15"/>
                  </a:lnTo>
                  <a:cubicBezTo>
                    <a:pt x="416" y="2"/>
                    <a:pt x="398" y="0"/>
                    <a:pt x="390" y="11"/>
                  </a:cubicBezTo>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784">
              <a:extLst>
                <a:ext uri="{FF2B5EF4-FFF2-40B4-BE49-F238E27FC236}">
                  <a16:creationId xmlns:a16="http://schemas.microsoft.com/office/drawing/2014/main" id="{10FFB4F2-8446-4C83-A184-881AC6C34A85}"/>
                </a:ext>
              </a:extLst>
            </p:cNvPr>
            <p:cNvSpPr>
              <a:spLocks/>
            </p:cNvSpPr>
            <p:nvPr/>
          </p:nvSpPr>
          <p:spPr bwMode="auto">
            <a:xfrm>
              <a:off x="8434388" y="2911476"/>
              <a:ext cx="855663" cy="1109663"/>
            </a:xfrm>
            <a:custGeom>
              <a:avLst/>
              <a:gdLst>
                <a:gd name="T0" fmla="*/ 1044 w 1044"/>
                <a:gd name="T1" fmla="*/ 913 h 1353"/>
                <a:gd name="T2" fmla="*/ 570 w 1044"/>
                <a:gd name="T3" fmla="*/ 92 h 1353"/>
                <a:gd name="T4" fmla="*/ 184 w 1044"/>
                <a:gd name="T5" fmla="*/ 98 h 1353"/>
                <a:gd name="T6" fmla="*/ 184 w 1044"/>
                <a:gd name="T7" fmla="*/ 98 h 1353"/>
                <a:gd name="T8" fmla="*/ 113 w 1044"/>
                <a:gd name="T9" fmla="*/ 158 h 1353"/>
                <a:gd name="T10" fmla="*/ 113 w 1044"/>
                <a:gd name="T11" fmla="*/ 158 h 1353"/>
                <a:gd name="T12" fmla="*/ 0 w 1044"/>
                <a:gd name="T13" fmla="*/ 448 h 1353"/>
                <a:gd name="T14" fmla="*/ 474 w 1044"/>
                <a:gd name="T15" fmla="*/ 1270 h 1353"/>
                <a:gd name="T16" fmla="*/ 835 w 1044"/>
                <a:gd name="T17" fmla="*/ 1286 h 1353"/>
                <a:gd name="T18" fmla="*/ 835 w 1044"/>
                <a:gd name="T19" fmla="*/ 1286 h 1353"/>
                <a:gd name="T20" fmla="*/ 835 w 1044"/>
                <a:gd name="T21" fmla="*/ 1285 h 1353"/>
                <a:gd name="T22" fmla="*/ 854 w 1044"/>
                <a:gd name="T23" fmla="*/ 1269 h 1353"/>
                <a:gd name="T24" fmla="*/ 934 w 1044"/>
                <a:gd name="T25" fmla="*/ 1201 h 1353"/>
                <a:gd name="T26" fmla="*/ 942 w 1044"/>
                <a:gd name="T27" fmla="*/ 1193 h 1353"/>
                <a:gd name="T28" fmla="*/ 945 w 1044"/>
                <a:gd name="T29" fmla="*/ 1191 h 1353"/>
                <a:gd name="T30" fmla="*/ 945 w 1044"/>
                <a:gd name="T31" fmla="*/ 1191 h 1353"/>
                <a:gd name="T32" fmla="*/ 1044 w 1044"/>
                <a:gd name="T33" fmla="*/ 913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4" h="1353">
                  <a:moveTo>
                    <a:pt x="1044" y="913"/>
                  </a:moveTo>
                  <a:cubicBezTo>
                    <a:pt x="1044" y="611"/>
                    <a:pt x="832" y="243"/>
                    <a:pt x="570" y="92"/>
                  </a:cubicBezTo>
                  <a:cubicBezTo>
                    <a:pt x="411" y="0"/>
                    <a:pt x="283" y="10"/>
                    <a:pt x="184" y="98"/>
                  </a:cubicBezTo>
                  <a:lnTo>
                    <a:pt x="184" y="98"/>
                  </a:lnTo>
                  <a:lnTo>
                    <a:pt x="113" y="158"/>
                  </a:lnTo>
                  <a:lnTo>
                    <a:pt x="113" y="158"/>
                  </a:lnTo>
                  <a:cubicBezTo>
                    <a:pt x="43" y="213"/>
                    <a:pt x="0" y="313"/>
                    <a:pt x="0" y="448"/>
                  </a:cubicBezTo>
                  <a:cubicBezTo>
                    <a:pt x="0" y="751"/>
                    <a:pt x="212" y="1119"/>
                    <a:pt x="474" y="1270"/>
                  </a:cubicBezTo>
                  <a:cubicBezTo>
                    <a:pt x="619" y="1353"/>
                    <a:pt x="748" y="1353"/>
                    <a:pt x="835" y="1286"/>
                  </a:cubicBezTo>
                  <a:lnTo>
                    <a:pt x="835" y="1286"/>
                  </a:lnTo>
                  <a:lnTo>
                    <a:pt x="835" y="1285"/>
                  </a:lnTo>
                  <a:cubicBezTo>
                    <a:pt x="842" y="1280"/>
                    <a:pt x="848" y="1275"/>
                    <a:pt x="854" y="1269"/>
                  </a:cubicBezTo>
                  <a:lnTo>
                    <a:pt x="934" y="1201"/>
                  </a:lnTo>
                  <a:cubicBezTo>
                    <a:pt x="937" y="1198"/>
                    <a:pt x="940" y="1196"/>
                    <a:pt x="942" y="1193"/>
                  </a:cubicBezTo>
                  <a:lnTo>
                    <a:pt x="945" y="1191"/>
                  </a:lnTo>
                  <a:lnTo>
                    <a:pt x="945" y="1191"/>
                  </a:lnTo>
                  <a:cubicBezTo>
                    <a:pt x="1007" y="1134"/>
                    <a:pt x="1044" y="1040"/>
                    <a:pt x="1044" y="913"/>
                  </a:cubicBezTo>
                  <a:close/>
                </a:path>
              </a:pathLst>
            </a:custGeom>
            <a:solidFill>
              <a:srgbClr val="5479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785">
              <a:extLst>
                <a:ext uri="{FF2B5EF4-FFF2-40B4-BE49-F238E27FC236}">
                  <a16:creationId xmlns:a16="http://schemas.microsoft.com/office/drawing/2014/main" id="{2CC3426E-761C-4E01-9F33-70E6B8BE0ED3}"/>
                </a:ext>
              </a:extLst>
            </p:cNvPr>
            <p:cNvSpPr>
              <a:spLocks/>
            </p:cNvSpPr>
            <p:nvPr/>
          </p:nvSpPr>
          <p:spPr bwMode="auto">
            <a:xfrm>
              <a:off x="8434388" y="2930526"/>
              <a:ext cx="776288" cy="1146175"/>
            </a:xfrm>
            <a:custGeom>
              <a:avLst/>
              <a:gdLst>
                <a:gd name="T0" fmla="*/ 948 w 948"/>
                <a:gd name="T1" fmla="*/ 973 h 1398"/>
                <a:gd name="T2" fmla="*/ 474 w 948"/>
                <a:gd name="T3" fmla="*/ 1247 h 1398"/>
                <a:gd name="T4" fmla="*/ 0 w 948"/>
                <a:gd name="T5" fmla="*/ 425 h 1398"/>
                <a:gd name="T6" fmla="*/ 474 w 948"/>
                <a:gd name="T7" fmla="*/ 151 h 1398"/>
                <a:gd name="T8" fmla="*/ 948 w 948"/>
                <a:gd name="T9" fmla="*/ 973 h 1398"/>
              </a:gdLst>
              <a:ahLst/>
              <a:cxnLst>
                <a:cxn ang="0">
                  <a:pos x="T0" y="T1"/>
                </a:cxn>
                <a:cxn ang="0">
                  <a:pos x="T2" y="T3"/>
                </a:cxn>
                <a:cxn ang="0">
                  <a:pos x="T4" y="T5"/>
                </a:cxn>
                <a:cxn ang="0">
                  <a:pos x="T6" y="T7"/>
                </a:cxn>
                <a:cxn ang="0">
                  <a:pos x="T8" y="T9"/>
                </a:cxn>
              </a:cxnLst>
              <a:rect l="0" t="0" r="r" b="b"/>
              <a:pathLst>
                <a:path w="948" h="1398">
                  <a:moveTo>
                    <a:pt x="948" y="973"/>
                  </a:moveTo>
                  <a:cubicBezTo>
                    <a:pt x="948" y="1275"/>
                    <a:pt x="736" y="1398"/>
                    <a:pt x="474" y="1247"/>
                  </a:cubicBezTo>
                  <a:cubicBezTo>
                    <a:pt x="212" y="1096"/>
                    <a:pt x="0" y="728"/>
                    <a:pt x="0" y="425"/>
                  </a:cubicBezTo>
                  <a:cubicBezTo>
                    <a:pt x="0" y="123"/>
                    <a:pt x="212" y="0"/>
                    <a:pt x="474" y="151"/>
                  </a:cubicBezTo>
                  <a:cubicBezTo>
                    <a:pt x="736" y="303"/>
                    <a:pt x="948" y="670"/>
                    <a:pt x="948" y="973"/>
                  </a:cubicBezTo>
                  <a:close/>
                </a:path>
              </a:pathLst>
            </a:custGeom>
            <a:solidFill>
              <a:srgbClr val="77A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786">
              <a:extLst>
                <a:ext uri="{FF2B5EF4-FFF2-40B4-BE49-F238E27FC236}">
                  <a16:creationId xmlns:a16="http://schemas.microsoft.com/office/drawing/2014/main" id="{6A658F35-91C0-4D82-8692-705D9ED51E07}"/>
                </a:ext>
              </a:extLst>
            </p:cNvPr>
            <p:cNvSpPr>
              <a:spLocks/>
            </p:cNvSpPr>
            <p:nvPr/>
          </p:nvSpPr>
          <p:spPr bwMode="auto">
            <a:xfrm>
              <a:off x="8666163" y="3171826"/>
              <a:ext cx="427038" cy="703263"/>
            </a:xfrm>
            <a:custGeom>
              <a:avLst/>
              <a:gdLst>
                <a:gd name="T0" fmla="*/ 0 w 520"/>
                <a:gd name="T1" fmla="*/ 192 h 858"/>
                <a:gd name="T2" fmla="*/ 104 w 520"/>
                <a:gd name="T3" fmla="*/ 217 h 858"/>
                <a:gd name="T4" fmla="*/ 141 w 520"/>
                <a:gd name="T5" fmla="*/ 31 h 858"/>
                <a:gd name="T6" fmla="*/ 156 w 520"/>
                <a:gd name="T7" fmla="*/ 1 h 858"/>
                <a:gd name="T8" fmla="*/ 190 w 520"/>
                <a:gd name="T9" fmla="*/ 15 h 858"/>
                <a:gd name="T10" fmla="*/ 246 w 520"/>
                <a:gd name="T11" fmla="*/ 302 h 858"/>
                <a:gd name="T12" fmla="*/ 434 w 520"/>
                <a:gd name="T13" fmla="*/ 411 h 858"/>
                <a:gd name="T14" fmla="*/ 461 w 520"/>
                <a:gd name="T15" fmla="*/ 554 h 858"/>
                <a:gd name="T16" fmla="*/ 489 w 520"/>
                <a:gd name="T17" fmla="*/ 635 h 858"/>
                <a:gd name="T18" fmla="*/ 454 w 520"/>
                <a:gd name="T19" fmla="*/ 664 h 858"/>
                <a:gd name="T20" fmla="*/ 477 w 520"/>
                <a:gd name="T21" fmla="*/ 750 h 858"/>
                <a:gd name="T22" fmla="*/ 437 w 520"/>
                <a:gd name="T23" fmla="*/ 765 h 858"/>
                <a:gd name="T24" fmla="*/ 453 w 520"/>
                <a:gd name="T25" fmla="*/ 832 h 858"/>
                <a:gd name="T26" fmla="*/ 245 w 520"/>
                <a:gd name="T27" fmla="*/ 730 h 858"/>
                <a:gd name="T28" fmla="*/ 34 w 520"/>
                <a:gd name="T29" fmla="*/ 561 h 858"/>
                <a:gd name="T30" fmla="*/ 0 w 520"/>
                <a:gd name="T31" fmla="*/ 192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0" h="858">
                  <a:moveTo>
                    <a:pt x="0" y="192"/>
                  </a:moveTo>
                  <a:cubicBezTo>
                    <a:pt x="0" y="192"/>
                    <a:pt x="50" y="218"/>
                    <a:pt x="104" y="217"/>
                  </a:cubicBezTo>
                  <a:cubicBezTo>
                    <a:pt x="154" y="215"/>
                    <a:pt x="158" y="108"/>
                    <a:pt x="141" y="31"/>
                  </a:cubicBezTo>
                  <a:cubicBezTo>
                    <a:pt x="137" y="14"/>
                    <a:pt x="143" y="0"/>
                    <a:pt x="156" y="1"/>
                  </a:cubicBezTo>
                  <a:cubicBezTo>
                    <a:pt x="164" y="2"/>
                    <a:pt x="175" y="6"/>
                    <a:pt x="190" y="15"/>
                  </a:cubicBezTo>
                  <a:cubicBezTo>
                    <a:pt x="239" y="43"/>
                    <a:pt x="258" y="156"/>
                    <a:pt x="246" y="302"/>
                  </a:cubicBezTo>
                  <a:cubicBezTo>
                    <a:pt x="246" y="302"/>
                    <a:pt x="394" y="387"/>
                    <a:pt x="434" y="411"/>
                  </a:cubicBezTo>
                  <a:cubicBezTo>
                    <a:pt x="474" y="434"/>
                    <a:pt x="520" y="513"/>
                    <a:pt x="461" y="554"/>
                  </a:cubicBezTo>
                  <a:cubicBezTo>
                    <a:pt x="461" y="554"/>
                    <a:pt x="489" y="585"/>
                    <a:pt x="489" y="635"/>
                  </a:cubicBezTo>
                  <a:cubicBezTo>
                    <a:pt x="489" y="671"/>
                    <a:pt x="454" y="664"/>
                    <a:pt x="454" y="664"/>
                  </a:cubicBezTo>
                  <a:cubicBezTo>
                    <a:pt x="454" y="664"/>
                    <a:pt x="489" y="704"/>
                    <a:pt x="477" y="750"/>
                  </a:cubicBezTo>
                  <a:cubicBezTo>
                    <a:pt x="470" y="778"/>
                    <a:pt x="437" y="765"/>
                    <a:pt x="437" y="765"/>
                  </a:cubicBezTo>
                  <a:cubicBezTo>
                    <a:pt x="437" y="765"/>
                    <a:pt x="463" y="807"/>
                    <a:pt x="453" y="832"/>
                  </a:cubicBezTo>
                  <a:cubicBezTo>
                    <a:pt x="443" y="858"/>
                    <a:pt x="343" y="807"/>
                    <a:pt x="245" y="730"/>
                  </a:cubicBezTo>
                  <a:cubicBezTo>
                    <a:pt x="147" y="654"/>
                    <a:pt x="142" y="623"/>
                    <a:pt x="34" y="561"/>
                  </a:cubicBezTo>
                  <a:lnTo>
                    <a:pt x="0" y="192"/>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787">
              <a:extLst>
                <a:ext uri="{FF2B5EF4-FFF2-40B4-BE49-F238E27FC236}">
                  <a16:creationId xmlns:a16="http://schemas.microsoft.com/office/drawing/2014/main" id="{E2D6327A-602E-492D-B59C-FE36C5DA3581}"/>
                </a:ext>
              </a:extLst>
            </p:cNvPr>
            <p:cNvSpPr>
              <a:spLocks/>
            </p:cNvSpPr>
            <p:nvPr/>
          </p:nvSpPr>
          <p:spPr bwMode="auto">
            <a:xfrm>
              <a:off x="8605838" y="3244851"/>
              <a:ext cx="122238" cy="431800"/>
            </a:xfrm>
            <a:custGeom>
              <a:avLst/>
              <a:gdLst>
                <a:gd name="T0" fmla="*/ 136 w 150"/>
                <a:gd name="T1" fmla="*/ 521 h 526"/>
                <a:gd name="T2" fmla="*/ 15 w 150"/>
                <a:gd name="T3" fmla="*/ 451 h 526"/>
                <a:gd name="T4" fmla="*/ 0 w 150"/>
                <a:gd name="T5" fmla="*/ 423 h 526"/>
                <a:gd name="T6" fmla="*/ 0 w 150"/>
                <a:gd name="T7" fmla="*/ 15 h 526"/>
                <a:gd name="T8" fmla="*/ 15 w 150"/>
                <a:gd name="T9" fmla="*/ 4 h 526"/>
                <a:gd name="T10" fmla="*/ 136 w 150"/>
                <a:gd name="T11" fmla="*/ 74 h 526"/>
                <a:gd name="T12" fmla="*/ 150 w 150"/>
                <a:gd name="T13" fmla="*/ 102 h 526"/>
                <a:gd name="T14" fmla="*/ 150 w 150"/>
                <a:gd name="T15" fmla="*/ 510 h 526"/>
                <a:gd name="T16" fmla="*/ 136 w 150"/>
                <a:gd name="T17" fmla="*/ 521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526">
                  <a:moveTo>
                    <a:pt x="136" y="521"/>
                  </a:moveTo>
                  <a:lnTo>
                    <a:pt x="15" y="451"/>
                  </a:lnTo>
                  <a:cubicBezTo>
                    <a:pt x="7" y="447"/>
                    <a:pt x="0" y="434"/>
                    <a:pt x="0" y="423"/>
                  </a:cubicBezTo>
                  <a:lnTo>
                    <a:pt x="0" y="15"/>
                  </a:lnTo>
                  <a:cubicBezTo>
                    <a:pt x="0" y="5"/>
                    <a:pt x="7" y="0"/>
                    <a:pt x="15" y="4"/>
                  </a:cubicBezTo>
                  <a:lnTo>
                    <a:pt x="136" y="74"/>
                  </a:lnTo>
                  <a:cubicBezTo>
                    <a:pt x="144" y="79"/>
                    <a:pt x="150" y="91"/>
                    <a:pt x="150" y="102"/>
                  </a:cubicBezTo>
                  <a:lnTo>
                    <a:pt x="150" y="510"/>
                  </a:lnTo>
                  <a:cubicBezTo>
                    <a:pt x="150" y="521"/>
                    <a:pt x="144" y="526"/>
                    <a:pt x="136" y="521"/>
                  </a:cubicBezTo>
                  <a:close/>
                </a:path>
              </a:pathLst>
            </a:custGeom>
            <a:solidFill>
              <a:srgbClr val="416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788">
              <a:extLst>
                <a:ext uri="{FF2B5EF4-FFF2-40B4-BE49-F238E27FC236}">
                  <a16:creationId xmlns:a16="http://schemas.microsoft.com/office/drawing/2014/main" id="{2DB0B059-1811-4575-A046-6A1FC8A077CB}"/>
                </a:ext>
              </a:extLst>
            </p:cNvPr>
            <p:cNvSpPr>
              <a:spLocks/>
            </p:cNvSpPr>
            <p:nvPr/>
          </p:nvSpPr>
          <p:spPr bwMode="auto">
            <a:xfrm>
              <a:off x="6915151" y="5275263"/>
              <a:ext cx="973138" cy="715963"/>
            </a:xfrm>
            <a:custGeom>
              <a:avLst/>
              <a:gdLst>
                <a:gd name="T0" fmla="*/ 1186 w 1187"/>
                <a:gd name="T1" fmla="*/ 373 h 873"/>
                <a:gd name="T2" fmla="*/ 1013 w 1187"/>
                <a:gd name="T3" fmla="*/ 134 h 873"/>
                <a:gd name="T4" fmla="*/ 173 w 1187"/>
                <a:gd name="T5" fmla="*/ 134 h 873"/>
                <a:gd name="T6" fmla="*/ 0 w 1187"/>
                <a:gd name="T7" fmla="*/ 373 h 873"/>
                <a:gd name="T8" fmla="*/ 0 w 1187"/>
                <a:gd name="T9" fmla="*/ 373 h 873"/>
                <a:gd name="T10" fmla="*/ 0 w 1187"/>
                <a:gd name="T11" fmla="*/ 497 h 873"/>
                <a:gd name="T12" fmla="*/ 173 w 1187"/>
                <a:gd name="T13" fmla="*/ 739 h 873"/>
                <a:gd name="T14" fmla="*/ 1013 w 1187"/>
                <a:gd name="T15" fmla="*/ 739 h 873"/>
                <a:gd name="T16" fmla="*/ 1186 w 1187"/>
                <a:gd name="T17" fmla="*/ 510 h 873"/>
                <a:gd name="T18" fmla="*/ 1187 w 1187"/>
                <a:gd name="T19" fmla="*/ 510 h 873"/>
                <a:gd name="T20" fmla="*/ 1187 w 1187"/>
                <a:gd name="T21" fmla="*/ 373 h 873"/>
                <a:gd name="T22" fmla="*/ 1186 w 1187"/>
                <a:gd name="T23" fmla="*/ 373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7" h="873">
                  <a:moveTo>
                    <a:pt x="1186" y="373"/>
                  </a:moveTo>
                  <a:cubicBezTo>
                    <a:pt x="1185" y="286"/>
                    <a:pt x="1127" y="200"/>
                    <a:pt x="1013" y="134"/>
                  </a:cubicBezTo>
                  <a:cubicBezTo>
                    <a:pt x="781" y="0"/>
                    <a:pt x="405" y="0"/>
                    <a:pt x="173" y="134"/>
                  </a:cubicBezTo>
                  <a:cubicBezTo>
                    <a:pt x="59" y="200"/>
                    <a:pt x="1" y="286"/>
                    <a:pt x="0" y="373"/>
                  </a:cubicBezTo>
                  <a:lnTo>
                    <a:pt x="0" y="373"/>
                  </a:lnTo>
                  <a:lnTo>
                    <a:pt x="0" y="497"/>
                  </a:lnTo>
                  <a:cubicBezTo>
                    <a:pt x="0" y="585"/>
                    <a:pt x="58" y="672"/>
                    <a:pt x="173" y="739"/>
                  </a:cubicBezTo>
                  <a:cubicBezTo>
                    <a:pt x="405" y="873"/>
                    <a:pt x="781" y="873"/>
                    <a:pt x="1013" y="739"/>
                  </a:cubicBezTo>
                  <a:cubicBezTo>
                    <a:pt x="1123" y="676"/>
                    <a:pt x="1181" y="593"/>
                    <a:pt x="1186" y="510"/>
                  </a:cubicBezTo>
                  <a:lnTo>
                    <a:pt x="1187" y="510"/>
                  </a:lnTo>
                  <a:lnTo>
                    <a:pt x="1187" y="373"/>
                  </a:lnTo>
                  <a:lnTo>
                    <a:pt x="1186" y="373"/>
                  </a:lnTo>
                  <a:close/>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789">
              <a:extLst>
                <a:ext uri="{FF2B5EF4-FFF2-40B4-BE49-F238E27FC236}">
                  <a16:creationId xmlns:a16="http://schemas.microsoft.com/office/drawing/2014/main" id="{5653945E-876F-4EC8-B6F7-A248712FDE6A}"/>
                </a:ext>
              </a:extLst>
            </p:cNvPr>
            <p:cNvSpPr>
              <a:spLocks/>
            </p:cNvSpPr>
            <p:nvPr/>
          </p:nvSpPr>
          <p:spPr bwMode="auto">
            <a:xfrm>
              <a:off x="6915151" y="5649913"/>
              <a:ext cx="973138" cy="314325"/>
            </a:xfrm>
            <a:custGeom>
              <a:avLst/>
              <a:gdLst>
                <a:gd name="T0" fmla="*/ 593 w 1187"/>
                <a:gd name="T1" fmla="*/ 382 h 382"/>
                <a:gd name="T2" fmla="*/ 173 w 1187"/>
                <a:gd name="T3" fmla="*/ 281 h 382"/>
                <a:gd name="T4" fmla="*/ 0 w 1187"/>
                <a:gd name="T5" fmla="*/ 39 h 382"/>
                <a:gd name="T6" fmla="*/ 0 w 1187"/>
                <a:gd name="T7" fmla="*/ 39 h 382"/>
                <a:gd name="T8" fmla="*/ 173 w 1187"/>
                <a:gd name="T9" fmla="*/ 281 h 382"/>
                <a:gd name="T10" fmla="*/ 593 w 1187"/>
                <a:gd name="T11" fmla="*/ 382 h 382"/>
                <a:gd name="T12" fmla="*/ 1013 w 1187"/>
                <a:gd name="T13" fmla="*/ 281 h 382"/>
                <a:gd name="T14" fmla="*/ 1186 w 1187"/>
                <a:gd name="T15" fmla="*/ 52 h 382"/>
                <a:gd name="T16" fmla="*/ 1187 w 1187"/>
                <a:gd name="T17" fmla="*/ 52 h 382"/>
                <a:gd name="T18" fmla="*/ 1187 w 1187"/>
                <a:gd name="T19" fmla="*/ 0 h 382"/>
                <a:gd name="T20" fmla="*/ 1187 w 1187"/>
                <a:gd name="T21" fmla="*/ 0 h 382"/>
                <a:gd name="T22" fmla="*/ 1187 w 1187"/>
                <a:gd name="T23" fmla="*/ 52 h 382"/>
                <a:gd name="T24" fmla="*/ 1186 w 1187"/>
                <a:gd name="T25" fmla="*/ 52 h 382"/>
                <a:gd name="T26" fmla="*/ 1013 w 1187"/>
                <a:gd name="T27" fmla="*/ 281 h 382"/>
                <a:gd name="T28" fmla="*/ 593 w 1187"/>
                <a:gd name="T29" fmla="*/ 38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7" h="382">
                  <a:moveTo>
                    <a:pt x="593" y="382"/>
                  </a:moveTo>
                  <a:cubicBezTo>
                    <a:pt x="441" y="382"/>
                    <a:pt x="289" y="348"/>
                    <a:pt x="173" y="281"/>
                  </a:cubicBezTo>
                  <a:cubicBezTo>
                    <a:pt x="58" y="214"/>
                    <a:pt x="0" y="127"/>
                    <a:pt x="0" y="39"/>
                  </a:cubicBezTo>
                  <a:lnTo>
                    <a:pt x="0" y="39"/>
                  </a:lnTo>
                  <a:cubicBezTo>
                    <a:pt x="0" y="127"/>
                    <a:pt x="58" y="214"/>
                    <a:pt x="173" y="281"/>
                  </a:cubicBezTo>
                  <a:cubicBezTo>
                    <a:pt x="289" y="348"/>
                    <a:pt x="441" y="382"/>
                    <a:pt x="593" y="382"/>
                  </a:cubicBezTo>
                  <a:cubicBezTo>
                    <a:pt x="745" y="382"/>
                    <a:pt x="897" y="348"/>
                    <a:pt x="1013" y="281"/>
                  </a:cubicBezTo>
                  <a:cubicBezTo>
                    <a:pt x="1123" y="218"/>
                    <a:pt x="1181" y="135"/>
                    <a:pt x="1186" y="52"/>
                  </a:cubicBezTo>
                  <a:lnTo>
                    <a:pt x="1187" y="52"/>
                  </a:lnTo>
                  <a:lnTo>
                    <a:pt x="1187" y="0"/>
                  </a:lnTo>
                  <a:lnTo>
                    <a:pt x="1187" y="0"/>
                  </a:lnTo>
                  <a:lnTo>
                    <a:pt x="1187" y="52"/>
                  </a:lnTo>
                  <a:lnTo>
                    <a:pt x="1186" y="52"/>
                  </a:lnTo>
                  <a:cubicBezTo>
                    <a:pt x="1181" y="135"/>
                    <a:pt x="1123" y="218"/>
                    <a:pt x="1013" y="281"/>
                  </a:cubicBezTo>
                  <a:cubicBezTo>
                    <a:pt x="897" y="348"/>
                    <a:pt x="745" y="382"/>
                    <a:pt x="593" y="382"/>
                  </a:cubicBezTo>
                  <a:close/>
                </a:path>
              </a:pathLst>
            </a:custGeom>
            <a:solidFill>
              <a:srgbClr val="B7C9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790">
              <a:extLst>
                <a:ext uri="{FF2B5EF4-FFF2-40B4-BE49-F238E27FC236}">
                  <a16:creationId xmlns:a16="http://schemas.microsoft.com/office/drawing/2014/main" id="{FDFCAFA0-5ED8-4162-ABC6-E3E9135272D5}"/>
                </a:ext>
              </a:extLst>
            </p:cNvPr>
            <p:cNvSpPr>
              <a:spLocks/>
            </p:cNvSpPr>
            <p:nvPr/>
          </p:nvSpPr>
          <p:spPr bwMode="auto">
            <a:xfrm>
              <a:off x="6915151" y="5638801"/>
              <a:ext cx="973138" cy="325438"/>
            </a:xfrm>
            <a:custGeom>
              <a:avLst/>
              <a:gdLst>
                <a:gd name="T0" fmla="*/ 593 w 1187"/>
                <a:gd name="T1" fmla="*/ 395 h 395"/>
                <a:gd name="T2" fmla="*/ 173 w 1187"/>
                <a:gd name="T3" fmla="*/ 294 h 395"/>
                <a:gd name="T4" fmla="*/ 0 w 1187"/>
                <a:gd name="T5" fmla="*/ 52 h 395"/>
                <a:gd name="T6" fmla="*/ 0 w 1187"/>
                <a:gd name="T7" fmla="*/ 0 h 395"/>
                <a:gd name="T8" fmla="*/ 173 w 1187"/>
                <a:gd name="T9" fmla="*/ 243 h 395"/>
                <a:gd name="T10" fmla="*/ 593 w 1187"/>
                <a:gd name="T11" fmla="*/ 343 h 395"/>
                <a:gd name="T12" fmla="*/ 1013 w 1187"/>
                <a:gd name="T13" fmla="*/ 243 h 395"/>
                <a:gd name="T14" fmla="*/ 1186 w 1187"/>
                <a:gd name="T15" fmla="*/ 13 h 395"/>
                <a:gd name="T16" fmla="*/ 1187 w 1187"/>
                <a:gd name="T17" fmla="*/ 13 h 395"/>
                <a:gd name="T18" fmla="*/ 1187 w 1187"/>
                <a:gd name="T19" fmla="*/ 65 h 395"/>
                <a:gd name="T20" fmla="*/ 1186 w 1187"/>
                <a:gd name="T21" fmla="*/ 65 h 395"/>
                <a:gd name="T22" fmla="*/ 1013 w 1187"/>
                <a:gd name="T23" fmla="*/ 294 h 395"/>
                <a:gd name="T24" fmla="*/ 593 w 1187"/>
                <a:gd name="T25"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7" h="395">
                  <a:moveTo>
                    <a:pt x="593" y="395"/>
                  </a:moveTo>
                  <a:cubicBezTo>
                    <a:pt x="441" y="395"/>
                    <a:pt x="289" y="361"/>
                    <a:pt x="173" y="294"/>
                  </a:cubicBezTo>
                  <a:cubicBezTo>
                    <a:pt x="58" y="227"/>
                    <a:pt x="0" y="140"/>
                    <a:pt x="0" y="52"/>
                  </a:cubicBezTo>
                  <a:lnTo>
                    <a:pt x="0" y="0"/>
                  </a:lnTo>
                  <a:cubicBezTo>
                    <a:pt x="0" y="88"/>
                    <a:pt x="58" y="176"/>
                    <a:pt x="173" y="243"/>
                  </a:cubicBezTo>
                  <a:cubicBezTo>
                    <a:pt x="289" y="310"/>
                    <a:pt x="441" y="343"/>
                    <a:pt x="593" y="343"/>
                  </a:cubicBezTo>
                  <a:cubicBezTo>
                    <a:pt x="745" y="343"/>
                    <a:pt x="897" y="310"/>
                    <a:pt x="1013" y="243"/>
                  </a:cubicBezTo>
                  <a:cubicBezTo>
                    <a:pt x="1123" y="179"/>
                    <a:pt x="1181" y="97"/>
                    <a:pt x="1186" y="13"/>
                  </a:cubicBezTo>
                  <a:lnTo>
                    <a:pt x="1187" y="13"/>
                  </a:lnTo>
                  <a:lnTo>
                    <a:pt x="1187" y="65"/>
                  </a:lnTo>
                  <a:lnTo>
                    <a:pt x="1186" y="65"/>
                  </a:lnTo>
                  <a:cubicBezTo>
                    <a:pt x="1181" y="148"/>
                    <a:pt x="1123" y="231"/>
                    <a:pt x="1013" y="294"/>
                  </a:cubicBezTo>
                  <a:cubicBezTo>
                    <a:pt x="897" y="361"/>
                    <a:pt x="745" y="395"/>
                    <a:pt x="593" y="395"/>
                  </a:cubicBezTo>
                  <a:close/>
                </a:path>
              </a:pathLst>
            </a:custGeom>
            <a:solidFill>
              <a:srgbClr val="E5B5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1791">
              <a:extLst>
                <a:ext uri="{FF2B5EF4-FFF2-40B4-BE49-F238E27FC236}">
                  <a16:creationId xmlns:a16="http://schemas.microsoft.com/office/drawing/2014/main" id="{DCF05E9D-3C33-4667-AA7A-D14983982F74}"/>
                </a:ext>
              </a:extLst>
            </p:cNvPr>
            <p:cNvSpPr>
              <a:spLocks/>
            </p:cNvSpPr>
            <p:nvPr/>
          </p:nvSpPr>
          <p:spPr bwMode="auto">
            <a:xfrm>
              <a:off x="6867526" y="5275263"/>
              <a:ext cx="1066800" cy="615950"/>
            </a:xfrm>
            <a:custGeom>
              <a:avLst/>
              <a:gdLst>
                <a:gd name="T0" fmla="*/ 1071 w 1302"/>
                <a:gd name="T1" fmla="*/ 619 h 752"/>
                <a:gd name="T2" fmla="*/ 231 w 1302"/>
                <a:gd name="T3" fmla="*/ 619 h 752"/>
                <a:gd name="T4" fmla="*/ 231 w 1302"/>
                <a:gd name="T5" fmla="*/ 134 h 752"/>
                <a:gd name="T6" fmla="*/ 1071 w 1302"/>
                <a:gd name="T7" fmla="*/ 134 h 752"/>
                <a:gd name="T8" fmla="*/ 1071 w 1302"/>
                <a:gd name="T9" fmla="*/ 619 h 752"/>
              </a:gdLst>
              <a:ahLst/>
              <a:cxnLst>
                <a:cxn ang="0">
                  <a:pos x="T0" y="T1"/>
                </a:cxn>
                <a:cxn ang="0">
                  <a:pos x="T2" y="T3"/>
                </a:cxn>
                <a:cxn ang="0">
                  <a:pos x="T4" y="T5"/>
                </a:cxn>
                <a:cxn ang="0">
                  <a:pos x="T6" y="T7"/>
                </a:cxn>
                <a:cxn ang="0">
                  <a:pos x="T8" y="T9"/>
                </a:cxn>
              </a:cxnLst>
              <a:rect l="0" t="0" r="r" b="b"/>
              <a:pathLst>
                <a:path w="1302" h="752">
                  <a:moveTo>
                    <a:pt x="1071" y="619"/>
                  </a:moveTo>
                  <a:cubicBezTo>
                    <a:pt x="839" y="752"/>
                    <a:pt x="463" y="752"/>
                    <a:pt x="231" y="619"/>
                  </a:cubicBezTo>
                  <a:cubicBezTo>
                    <a:pt x="0" y="485"/>
                    <a:pt x="0" y="268"/>
                    <a:pt x="231" y="134"/>
                  </a:cubicBezTo>
                  <a:cubicBezTo>
                    <a:pt x="463" y="0"/>
                    <a:pt x="839" y="0"/>
                    <a:pt x="1071" y="134"/>
                  </a:cubicBezTo>
                  <a:cubicBezTo>
                    <a:pt x="1302" y="268"/>
                    <a:pt x="1302" y="485"/>
                    <a:pt x="1071" y="619"/>
                  </a:cubicBezTo>
                  <a:close/>
                </a:path>
              </a:pathLst>
            </a:custGeom>
            <a:solidFill>
              <a:srgbClr val="FFE3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1792">
              <a:extLst>
                <a:ext uri="{FF2B5EF4-FFF2-40B4-BE49-F238E27FC236}">
                  <a16:creationId xmlns:a16="http://schemas.microsoft.com/office/drawing/2014/main" id="{561F5560-7BB8-4F04-AAAF-9C50CE3F47FB}"/>
                </a:ext>
              </a:extLst>
            </p:cNvPr>
            <p:cNvSpPr>
              <a:spLocks/>
            </p:cNvSpPr>
            <p:nvPr/>
          </p:nvSpPr>
          <p:spPr bwMode="auto">
            <a:xfrm>
              <a:off x="6919913" y="5303838"/>
              <a:ext cx="963613" cy="557213"/>
            </a:xfrm>
            <a:custGeom>
              <a:avLst/>
              <a:gdLst>
                <a:gd name="T0" fmla="*/ 1022 w 1177"/>
                <a:gd name="T1" fmla="*/ 574 h 680"/>
                <a:gd name="T2" fmla="*/ 1116 w 1177"/>
                <a:gd name="T3" fmla="*/ 497 h 680"/>
                <a:gd name="T4" fmla="*/ 856 w 1177"/>
                <a:gd name="T5" fmla="*/ 385 h 680"/>
                <a:gd name="T6" fmla="*/ 1177 w 1177"/>
                <a:gd name="T7" fmla="*/ 383 h 680"/>
                <a:gd name="T8" fmla="*/ 1175 w 1177"/>
                <a:gd name="T9" fmla="*/ 290 h 680"/>
                <a:gd name="T10" fmla="*/ 856 w 1177"/>
                <a:gd name="T11" fmla="*/ 288 h 680"/>
                <a:gd name="T12" fmla="*/ 1110 w 1177"/>
                <a:gd name="T13" fmla="*/ 177 h 680"/>
                <a:gd name="T14" fmla="*/ 1016 w 1177"/>
                <a:gd name="T15" fmla="*/ 103 h 680"/>
                <a:gd name="T16" fmla="*/ 999 w 1177"/>
                <a:gd name="T17" fmla="*/ 93 h 680"/>
                <a:gd name="T18" fmla="*/ 871 w 1177"/>
                <a:gd name="T19" fmla="*/ 39 h 680"/>
                <a:gd name="T20" fmla="*/ 679 w 1177"/>
                <a:gd name="T21" fmla="*/ 186 h 680"/>
                <a:gd name="T22" fmla="*/ 674 w 1177"/>
                <a:gd name="T23" fmla="*/ 1 h 680"/>
                <a:gd name="T24" fmla="*/ 514 w 1177"/>
                <a:gd name="T25" fmla="*/ 0 h 680"/>
                <a:gd name="T26" fmla="*/ 510 w 1177"/>
                <a:gd name="T27" fmla="*/ 186 h 680"/>
                <a:gd name="T28" fmla="*/ 316 w 1177"/>
                <a:gd name="T29" fmla="*/ 36 h 680"/>
                <a:gd name="T30" fmla="*/ 183 w 1177"/>
                <a:gd name="T31" fmla="*/ 90 h 680"/>
                <a:gd name="T32" fmla="*/ 167 w 1177"/>
                <a:gd name="T33" fmla="*/ 99 h 680"/>
                <a:gd name="T34" fmla="*/ 69 w 1177"/>
                <a:gd name="T35" fmla="*/ 175 h 680"/>
                <a:gd name="T36" fmla="*/ 334 w 1177"/>
                <a:gd name="T37" fmla="*/ 288 h 680"/>
                <a:gd name="T38" fmla="*/ 1 w 1177"/>
                <a:gd name="T39" fmla="*/ 289 h 680"/>
                <a:gd name="T40" fmla="*/ 0 w 1177"/>
                <a:gd name="T41" fmla="*/ 385 h 680"/>
                <a:gd name="T42" fmla="*/ 334 w 1177"/>
                <a:gd name="T43" fmla="*/ 385 h 680"/>
                <a:gd name="T44" fmla="*/ 63 w 1177"/>
                <a:gd name="T45" fmla="*/ 500 h 680"/>
                <a:gd name="T46" fmla="*/ 161 w 1177"/>
                <a:gd name="T47" fmla="*/ 578 h 680"/>
                <a:gd name="T48" fmla="*/ 176 w 1177"/>
                <a:gd name="T49" fmla="*/ 587 h 680"/>
                <a:gd name="T50" fmla="*/ 312 w 1177"/>
                <a:gd name="T51" fmla="*/ 644 h 680"/>
                <a:gd name="T52" fmla="*/ 510 w 1177"/>
                <a:gd name="T53" fmla="*/ 487 h 680"/>
                <a:gd name="T54" fmla="*/ 511 w 1177"/>
                <a:gd name="T55" fmla="*/ 680 h 680"/>
                <a:gd name="T56" fmla="*/ 678 w 1177"/>
                <a:gd name="T57" fmla="*/ 679 h 680"/>
                <a:gd name="T58" fmla="*/ 679 w 1177"/>
                <a:gd name="T59" fmla="*/ 487 h 680"/>
                <a:gd name="T60" fmla="*/ 875 w 1177"/>
                <a:gd name="T61" fmla="*/ 640 h 680"/>
                <a:gd name="T62" fmla="*/ 1006 w 1177"/>
                <a:gd name="T63" fmla="*/ 583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7" h="680">
                  <a:moveTo>
                    <a:pt x="1008" y="583"/>
                  </a:moveTo>
                  <a:cubicBezTo>
                    <a:pt x="1013" y="580"/>
                    <a:pt x="1017" y="577"/>
                    <a:pt x="1022" y="574"/>
                  </a:cubicBezTo>
                  <a:lnTo>
                    <a:pt x="817" y="430"/>
                  </a:lnTo>
                  <a:lnTo>
                    <a:pt x="1116" y="497"/>
                  </a:lnTo>
                  <a:cubicBezTo>
                    <a:pt x="1119" y="493"/>
                    <a:pt x="1123" y="489"/>
                    <a:pt x="1126" y="485"/>
                  </a:cubicBezTo>
                  <a:lnTo>
                    <a:pt x="856" y="385"/>
                  </a:lnTo>
                  <a:lnTo>
                    <a:pt x="1173" y="396"/>
                  </a:lnTo>
                  <a:cubicBezTo>
                    <a:pt x="1175" y="392"/>
                    <a:pt x="1176" y="387"/>
                    <a:pt x="1177" y="383"/>
                  </a:cubicBezTo>
                  <a:lnTo>
                    <a:pt x="869" y="337"/>
                  </a:lnTo>
                  <a:lnTo>
                    <a:pt x="1175" y="290"/>
                  </a:lnTo>
                  <a:cubicBezTo>
                    <a:pt x="1174" y="286"/>
                    <a:pt x="1173" y="281"/>
                    <a:pt x="1171" y="277"/>
                  </a:cubicBezTo>
                  <a:lnTo>
                    <a:pt x="856" y="288"/>
                  </a:lnTo>
                  <a:lnTo>
                    <a:pt x="1121" y="190"/>
                  </a:lnTo>
                  <a:cubicBezTo>
                    <a:pt x="1117" y="185"/>
                    <a:pt x="1114" y="181"/>
                    <a:pt x="1110" y="177"/>
                  </a:cubicBezTo>
                  <a:lnTo>
                    <a:pt x="817" y="243"/>
                  </a:lnTo>
                  <a:lnTo>
                    <a:pt x="1016" y="103"/>
                  </a:lnTo>
                  <a:cubicBezTo>
                    <a:pt x="1013" y="101"/>
                    <a:pt x="1011" y="100"/>
                    <a:pt x="1008" y="98"/>
                  </a:cubicBezTo>
                  <a:cubicBezTo>
                    <a:pt x="1005" y="96"/>
                    <a:pt x="1002" y="95"/>
                    <a:pt x="999" y="93"/>
                  </a:cubicBezTo>
                  <a:lnTo>
                    <a:pt x="756" y="208"/>
                  </a:lnTo>
                  <a:lnTo>
                    <a:pt x="871" y="39"/>
                  </a:lnTo>
                  <a:cubicBezTo>
                    <a:pt x="864" y="37"/>
                    <a:pt x="856" y="35"/>
                    <a:pt x="849" y="33"/>
                  </a:cubicBezTo>
                  <a:lnTo>
                    <a:pt x="679" y="186"/>
                  </a:lnTo>
                  <a:lnTo>
                    <a:pt x="698" y="4"/>
                  </a:lnTo>
                  <a:cubicBezTo>
                    <a:pt x="690" y="3"/>
                    <a:pt x="682" y="2"/>
                    <a:pt x="674" y="1"/>
                  </a:cubicBezTo>
                  <a:lnTo>
                    <a:pt x="595" y="178"/>
                  </a:lnTo>
                  <a:lnTo>
                    <a:pt x="514" y="0"/>
                  </a:lnTo>
                  <a:cubicBezTo>
                    <a:pt x="507" y="1"/>
                    <a:pt x="499" y="2"/>
                    <a:pt x="491" y="2"/>
                  </a:cubicBezTo>
                  <a:lnTo>
                    <a:pt x="510" y="186"/>
                  </a:lnTo>
                  <a:lnTo>
                    <a:pt x="337" y="30"/>
                  </a:lnTo>
                  <a:cubicBezTo>
                    <a:pt x="330" y="32"/>
                    <a:pt x="323" y="34"/>
                    <a:pt x="316" y="36"/>
                  </a:cubicBezTo>
                  <a:lnTo>
                    <a:pt x="433" y="208"/>
                  </a:lnTo>
                  <a:lnTo>
                    <a:pt x="183" y="90"/>
                  </a:lnTo>
                  <a:cubicBezTo>
                    <a:pt x="178" y="92"/>
                    <a:pt x="173" y="95"/>
                    <a:pt x="168" y="98"/>
                  </a:cubicBezTo>
                  <a:lnTo>
                    <a:pt x="167" y="99"/>
                  </a:lnTo>
                  <a:lnTo>
                    <a:pt x="373" y="243"/>
                  </a:lnTo>
                  <a:lnTo>
                    <a:pt x="69" y="175"/>
                  </a:lnTo>
                  <a:cubicBezTo>
                    <a:pt x="65" y="178"/>
                    <a:pt x="62" y="182"/>
                    <a:pt x="58" y="186"/>
                  </a:cubicBezTo>
                  <a:lnTo>
                    <a:pt x="334" y="288"/>
                  </a:lnTo>
                  <a:lnTo>
                    <a:pt x="5" y="276"/>
                  </a:lnTo>
                  <a:cubicBezTo>
                    <a:pt x="4" y="280"/>
                    <a:pt x="3" y="284"/>
                    <a:pt x="1" y="289"/>
                  </a:cubicBezTo>
                  <a:lnTo>
                    <a:pt x="320" y="337"/>
                  </a:lnTo>
                  <a:lnTo>
                    <a:pt x="0" y="385"/>
                  </a:lnTo>
                  <a:cubicBezTo>
                    <a:pt x="1" y="389"/>
                    <a:pt x="2" y="393"/>
                    <a:pt x="3" y="397"/>
                  </a:cubicBezTo>
                  <a:lnTo>
                    <a:pt x="334" y="385"/>
                  </a:lnTo>
                  <a:lnTo>
                    <a:pt x="53" y="489"/>
                  </a:lnTo>
                  <a:cubicBezTo>
                    <a:pt x="56" y="493"/>
                    <a:pt x="59" y="496"/>
                    <a:pt x="63" y="500"/>
                  </a:cubicBezTo>
                  <a:lnTo>
                    <a:pt x="373" y="430"/>
                  </a:lnTo>
                  <a:lnTo>
                    <a:pt x="161" y="578"/>
                  </a:lnTo>
                  <a:cubicBezTo>
                    <a:pt x="164" y="580"/>
                    <a:pt x="166" y="581"/>
                    <a:pt x="168" y="583"/>
                  </a:cubicBezTo>
                  <a:cubicBezTo>
                    <a:pt x="171" y="584"/>
                    <a:pt x="174" y="585"/>
                    <a:pt x="176" y="587"/>
                  </a:cubicBezTo>
                  <a:lnTo>
                    <a:pt x="433" y="465"/>
                  </a:lnTo>
                  <a:lnTo>
                    <a:pt x="312" y="644"/>
                  </a:lnTo>
                  <a:cubicBezTo>
                    <a:pt x="318" y="646"/>
                    <a:pt x="324" y="647"/>
                    <a:pt x="331" y="649"/>
                  </a:cubicBezTo>
                  <a:lnTo>
                    <a:pt x="510" y="487"/>
                  </a:lnTo>
                  <a:lnTo>
                    <a:pt x="490" y="678"/>
                  </a:lnTo>
                  <a:cubicBezTo>
                    <a:pt x="497" y="679"/>
                    <a:pt x="504" y="679"/>
                    <a:pt x="511" y="680"/>
                  </a:cubicBezTo>
                  <a:lnTo>
                    <a:pt x="595" y="495"/>
                  </a:lnTo>
                  <a:lnTo>
                    <a:pt x="678" y="679"/>
                  </a:lnTo>
                  <a:cubicBezTo>
                    <a:pt x="685" y="678"/>
                    <a:pt x="692" y="678"/>
                    <a:pt x="699" y="677"/>
                  </a:cubicBezTo>
                  <a:lnTo>
                    <a:pt x="679" y="487"/>
                  </a:lnTo>
                  <a:lnTo>
                    <a:pt x="856" y="646"/>
                  </a:lnTo>
                  <a:cubicBezTo>
                    <a:pt x="862" y="644"/>
                    <a:pt x="869" y="642"/>
                    <a:pt x="875" y="640"/>
                  </a:cubicBezTo>
                  <a:lnTo>
                    <a:pt x="756" y="465"/>
                  </a:lnTo>
                  <a:lnTo>
                    <a:pt x="1006" y="583"/>
                  </a:lnTo>
                  <a:lnTo>
                    <a:pt x="1008" y="583"/>
                  </a:lnTo>
                </a:path>
              </a:pathLst>
            </a:custGeom>
            <a:solidFill>
              <a:srgbClr val="FFD8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1793">
              <a:extLst>
                <a:ext uri="{FF2B5EF4-FFF2-40B4-BE49-F238E27FC236}">
                  <a16:creationId xmlns:a16="http://schemas.microsoft.com/office/drawing/2014/main" id="{F410D72A-4AD0-4F48-8289-E92A8AE14B10}"/>
                </a:ext>
              </a:extLst>
            </p:cNvPr>
            <p:cNvSpPr>
              <a:spLocks/>
            </p:cNvSpPr>
            <p:nvPr/>
          </p:nvSpPr>
          <p:spPr bwMode="auto">
            <a:xfrm>
              <a:off x="7000876" y="5351463"/>
              <a:ext cx="800100" cy="461963"/>
            </a:xfrm>
            <a:custGeom>
              <a:avLst/>
              <a:gdLst>
                <a:gd name="T0" fmla="*/ 803 w 977"/>
                <a:gd name="T1" fmla="*/ 464 h 564"/>
                <a:gd name="T2" fmla="*/ 173 w 977"/>
                <a:gd name="T3" fmla="*/ 464 h 564"/>
                <a:gd name="T4" fmla="*/ 173 w 977"/>
                <a:gd name="T5" fmla="*/ 101 h 564"/>
                <a:gd name="T6" fmla="*/ 803 w 977"/>
                <a:gd name="T7" fmla="*/ 101 h 564"/>
                <a:gd name="T8" fmla="*/ 803 w 977"/>
                <a:gd name="T9" fmla="*/ 464 h 564"/>
              </a:gdLst>
              <a:ahLst/>
              <a:cxnLst>
                <a:cxn ang="0">
                  <a:pos x="T0" y="T1"/>
                </a:cxn>
                <a:cxn ang="0">
                  <a:pos x="T2" y="T3"/>
                </a:cxn>
                <a:cxn ang="0">
                  <a:pos x="T4" y="T5"/>
                </a:cxn>
                <a:cxn ang="0">
                  <a:pos x="T6" y="T7"/>
                </a:cxn>
                <a:cxn ang="0">
                  <a:pos x="T8" y="T9"/>
                </a:cxn>
              </a:cxnLst>
              <a:rect l="0" t="0" r="r" b="b"/>
              <a:pathLst>
                <a:path w="977" h="564">
                  <a:moveTo>
                    <a:pt x="803" y="464"/>
                  </a:moveTo>
                  <a:cubicBezTo>
                    <a:pt x="629" y="564"/>
                    <a:pt x="347" y="564"/>
                    <a:pt x="173" y="464"/>
                  </a:cubicBezTo>
                  <a:cubicBezTo>
                    <a:pt x="0" y="364"/>
                    <a:pt x="0" y="201"/>
                    <a:pt x="173" y="101"/>
                  </a:cubicBezTo>
                  <a:cubicBezTo>
                    <a:pt x="347" y="0"/>
                    <a:pt x="629" y="0"/>
                    <a:pt x="803" y="101"/>
                  </a:cubicBezTo>
                  <a:cubicBezTo>
                    <a:pt x="977" y="201"/>
                    <a:pt x="977" y="364"/>
                    <a:pt x="803" y="464"/>
                  </a:cubicBezTo>
                  <a:close/>
                </a:path>
              </a:pathLst>
            </a:custGeom>
            <a:solidFill>
              <a:srgbClr val="FFC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1794">
              <a:extLst>
                <a:ext uri="{FF2B5EF4-FFF2-40B4-BE49-F238E27FC236}">
                  <a16:creationId xmlns:a16="http://schemas.microsoft.com/office/drawing/2014/main" id="{9AAF46FB-EF87-404D-8C93-E8BC245F7F9B}"/>
                </a:ext>
              </a:extLst>
            </p:cNvPr>
            <p:cNvSpPr>
              <a:spLocks/>
            </p:cNvSpPr>
            <p:nvPr/>
          </p:nvSpPr>
          <p:spPr bwMode="auto">
            <a:xfrm>
              <a:off x="7026276" y="5351463"/>
              <a:ext cx="749300" cy="255588"/>
            </a:xfrm>
            <a:custGeom>
              <a:avLst/>
              <a:gdLst>
                <a:gd name="T0" fmla="*/ 142 w 914"/>
                <a:gd name="T1" fmla="*/ 161 h 312"/>
                <a:gd name="T2" fmla="*/ 772 w 914"/>
                <a:gd name="T3" fmla="*/ 161 h 312"/>
                <a:gd name="T4" fmla="*/ 899 w 914"/>
                <a:gd name="T5" fmla="*/ 312 h 312"/>
                <a:gd name="T6" fmla="*/ 772 w 914"/>
                <a:gd name="T7" fmla="*/ 101 h 312"/>
                <a:gd name="T8" fmla="*/ 142 w 914"/>
                <a:gd name="T9" fmla="*/ 101 h 312"/>
                <a:gd name="T10" fmla="*/ 15 w 914"/>
                <a:gd name="T11" fmla="*/ 312 h 312"/>
                <a:gd name="T12" fmla="*/ 142 w 914"/>
                <a:gd name="T13" fmla="*/ 161 h 312"/>
              </a:gdLst>
              <a:ahLst/>
              <a:cxnLst>
                <a:cxn ang="0">
                  <a:pos x="T0" y="T1"/>
                </a:cxn>
                <a:cxn ang="0">
                  <a:pos x="T2" y="T3"/>
                </a:cxn>
                <a:cxn ang="0">
                  <a:pos x="T4" y="T5"/>
                </a:cxn>
                <a:cxn ang="0">
                  <a:pos x="T6" y="T7"/>
                </a:cxn>
                <a:cxn ang="0">
                  <a:pos x="T8" y="T9"/>
                </a:cxn>
                <a:cxn ang="0">
                  <a:pos x="T10" y="T11"/>
                </a:cxn>
                <a:cxn ang="0">
                  <a:pos x="T12" y="T13"/>
                </a:cxn>
              </a:cxnLst>
              <a:rect l="0" t="0" r="r" b="b"/>
              <a:pathLst>
                <a:path w="914" h="312">
                  <a:moveTo>
                    <a:pt x="142" y="161"/>
                  </a:moveTo>
                  <a:cubicBezTo>
                    <a:pt x="316" y="61"/>
                    <a:pt x="598" y="61"/>
                    <a:pt x="772" y="161"/>
                  </a:cubicBezTo>
                  <a:cubicBezTo>
                    <a:pt x="845" y="203"/>
                    <a:pt x="888" y="257"/>
                    <a:pt x="899" y="312"/>
                  </a:cubicBezTo>
                  <a:cubicBezTo>
                    <a:pt x="914" y="237"/>
                    <a:pt x="872" y="158"/>
                    <a:pt x="772" y="101"/>
                  </a:cubicBezTo>
                  <a:cubicBezTo>
                    <a:pt x="598" y="0"/>
                    <a:pt x="316" y="0"/>
                    <a:pt x="142" y="101"/>
                  </a:cubicBezTo>
                  <a:cubicBezTo>
                    <a:pt x="42" y="158"/>
                    <a:pt x="0" y="237"/>
                    <a:pt x="15" y="312"/>
                  </a:cubicBezTo>
                  <a:cubicBezTo>
                    <a:pt x="27" y="257"/>
                    <a:pt x="69" y="203"/>
                    <a:pt x="142" y="161"/>
                  </a:cubicBezTo>
                  <a:close/>
                </a:path>
              </a:pathLst>
            </a:custGeom>
            <a:solidFill>
              <a:srgbClr val="CCA2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795">
              <a:extLst>
                <a:ext uri="{FF2B5EF4-FFF2-40B4-BE49-F238E27FC236}">
                  <a16:creationId xmlns:a16="http://schemas.microsoft.com/office/drawing/2014/main" id="{096E068D-B3D2-4574-A3A3-AB9F6881FDCA}"/>
                </a:ext>
              </a:extLst>
            </p:cNvPr>
            <p:cNvSpPr>
              <a:spLocks noEditPoints="1"/>
            </p:cNvSpPr>
            <p:nvPr/>
          </p:nvSpPr>
          <p:spPr bwMode="auto">
            <a:xfrm>
              <a:off x="7194551" y="5472113"/>
              <a:ext cx="407988" cy="234950"/>
            </a:xfrm>
            <a:custGeom>
              <a:avLst/>
              <a:gdLst>
                <a:gd name="T0" fmla="*/ 234 w 497"/>
                <a:gd name="T1" fmla="*/ 181 h 287"/>
                <a:gd name="T2" fmla="*/ 139 w 497"/>
                <a:gd name="T3" fmla="*/ 236 h 287"/>
                <a:gd name="T4" fmla="*/ 164 w 497"/>
                <a:gd name="T5" fmla="*/ 239 h 287"/>
                <a:gd name="T6" fmla="*/ 218 w 497"/>
                <a:gd name="T7" fmla="*/ 228 h 287"/>
                <a:gd name="T8" fmla="*/ 238 w 497"/>
                <a:gd name="T9" fmla="*/ 197 h 287"/>
                <a:gd name="T10" fmla="*/ 234 w 497"/>
                <a:gd name="T11" fmla="*/ 181 h 287"/>
                <a:gd name="T12" fmla="*/ 264 w 497"/>
                <a:gd name="T13" fmla="*/ 105 h 287"/>
                <a:gd name="T14" fmla="*/ 359 w 497"/>
                <a:gd name="T15" fmla="*/ 50 h 287"/>
                <a:gd name="T16" fmla="*/ 334 w 497"/>
                <a:gd name="T17" fmla="*/ 47 h 287"/>
                <a:gd name="T18" fmla="*/ 279 w 497"/>
                <a:gd name="T19" fmla="*/ 59 h 287"/>
                <a:gd name="T20" fmla="*/ 259 w 497"/>
                <a:gd name="T21" fmla="*/ 90 h 287"/>
                <a:gd name="T22" fmla="*/ 264 w 497"/>
                <a:gd name="T23" fmla="*/ 105 h 287"/>
                <a:gd name="T24" fmla="*/ 84 w 497"/>
                <a:gd name="T25" fmla="*/ 268 h 287"/>
                <a:gd name="T26" fmla="*/ 51 w 497"/>
                <a:gd name="T27" fmla="*/ 287 h 287"/>
                <a:gd name="T28" fmla="*/ 0 w 497"/>
                <a:gd name="T29" fmla="*/ 257 h 287"/>
                <a:gd name="T30" fmla="*/ 32 w 497"/>
                <a:gd name="T31" fmla="*/ 238 h 287"/>
                <a:gd name="T32" fmla="*/ 3 w 497"/>
                <a:gd name="T33" fmla="*/ 188 h 287"/>
                <a:gd name="T34" fmla="*/ 38 w 497"/>
                <a:gd name="T35" fmla="*/ 127 h 287"/>
                <a:gd name="T36" fmla="*/ 116 w 497"/>
                <a:gd name="T37" fmla="*/ 150 h 287"/>
                <a:gd name="T38" fmla="*/ 82 w 497"/>
                <a:gd name="T39" fmla="*/ 192 h 287"/>
                <a:gd name="T40" fmla="*/ 87 w 497"/>
                <a:gd name="T41" fmla="*/ 207 h 287"/>
                <a:gd name="T42" fmla="*/ 203 w 497"/>
                <a:gd name="T43" fmla="*/ 140 h 287"/>
                <a:gd name="T44" fmla="*/ 180 w 497"/>
                <a:gd name="T45" fmla="*/ 86 h 287"/>
                <a:gd name="T46" fmla="*/ 218 w 497"/>
                <a:gd name="T47" fmla="*/ 24 h 287"/>
                <a:gd name="T48" fmla="*/ 327 w 497"/>
                <a:gd name="T49" fmla="*/ 1 h 287"/>
                <a:gd name="T50" fmla="*/ 413 w 497"/>
                <a:gd name="T51" fmla="*/ 18 h 287"/>
                <a:gd name="T52" fmla="*/ 446 w 497"/>
                <a:gd name="T53" fmla="*/ 0 h 287"/>
                <a:gd name="T54" fmla="*/ 497 w 497"/>
                <a:gd name="T55" fmla="*/ 29 h 287"/>
                <a:gd name="T56" fmla="*/ 465 w 497"/>
                <a:gd name="T57" fmla="*/ 48 h 287"/>
                <a:gd name="T58" fmla="*/ 495 w 497"/>
                <a:gd name="T59" fmla="*/ 98 h 287"/>
                <a:gd name="T60" fmla="*/ 459 w 497"/>
                <a:gd name="T61" fmla="*/ 160 h 287"/>
                <a:gd name="T62" fmla="*/ 381 w 497"/>
                <a:gd name="T63" fmla="*/ 137 h 287"/>
                <a:gd name="T64" fmla="*/ 415 w 497"/>
                <a:gd name="T65" fmla="*/ 95 h 287"/>
                <a:gd name="T66" fmla="*/ 410 w 497"/>
                <a:gd name="T67" fmla="*/ 80 h 287"/>
                <a:gd name="T68" fmla="*/ 294 w 497"/>
                <a:gd name="T69" fmla="*/ 146 h 287"/>
                <a:gd name="T70" fmla="*/ 318 w 497"/>
                <a:gd name="T71" fmla="*/ 200 h 287"/>
                <a:gd name="T72" fmla="*/ 279 w 497"/>
                <a:gd name="T73" fmla="*/ 263 h 287"/>
                <a:gd name="T74" fmla="*/ 171 w 497"/>
                <a:gd name="T75" fmla="*/ 285 h 287"/>
                <a:gd name="T76" fmla="*/ 84 w 497"/>
                <a:gd name="T77" fmla="*/ 26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7" h="287">
                  <a:moveTo>
                    <a:pt x="234" y="181"/>
                  </a:moveTo>
                  <a:lnTo>
                    <a:pt x="139" y="236"/>
                  </a:lnTo>
                  <a:cubicBezTo>
                    <a:pt x="146" y="238"/>
                    <a:pt x="155" y="239"/>
                    <a:pt x="164" y="239"/>
                  </a:cubicBezTo>
                  <a:cubicBezTo>
                    <a:pt x="185" y="240"/>
                    <a:pt x="203" y="236"/>
                    <a:pt x="218" y="228"/>
                  </a:cubicBezTo>
                  <a:cubicBezTo>
                    <a:pt x="233" y="219"/>
                    <a:pt x="240" y="209"/>
                    <a:pt x="238" y="197"/>
                  </a:cubicBezTo>
                  <a:cubicBezTo>
                    <a:pt x="238" y="192"/>
                    <a:pt x="236" y="187"/>
                    <a:pt x="234" y="181"/>
                  </a:cubicBezTo>
                  <a:close/>
                  <a:moveTo>
                    <a:pt x="264" y="105"/>
                  </a:moveTo>
                  <a:lnTo>
                    <a:pt x="359" y="50"/>
                  </a:lnTo>
                  <a:cubicBezTo>
                    <a:pt x="351" y="48"/>
                    <a:pt x="342" y="47"/>
                    <a:pt x="334" y="47"/>
                  </a:cubicBezTo>
                  <a:cubicBezTo>
                    <a:pt x="312" y="46"/>
                    <a:pt x="294" y="50"/>
                    <a:pt x="279" y="59"/>
                  </a:cubicBezTo>
                  <a:cubicBezTo>
                    <a:pt x="264" y="67"/>
                    <a:pt x="258" y="77"/>
                    <a:pt x="259" y="90"/>
                  </a:cubicBezTo>
                  <a:cubicBezTo>
                    <a:pt x="259" y="94"/>
                    <a:pt x="261" y="99"/>
                    <a:pt x="264" y="105"/>
                  </a:cubicBezTo>
                  <a:close/>
                  <a:moveTo>
                    <a:pt x="84" y="268"/>
                  </a:moveTo>
                  <a:lnTo>
                    <a:pt x="51" y="287"/>
                  </a:lnTo>
                  <a:lnTo>
                    <a:pt x="0" y="257"/>
                  </a:lnTo>
                  <a:lnTo>
                    <a:pt x="32" y="238"/>
                  </a:lnTo>
                  <a:cubicBezTo>
                    <a:pt x="14" y="223"/>
                    <a:pt x="4" y="206"/>
                    <a:pt x="3" y="188"/>
                  </a:cubicBezTo>
                  <a:cubicBezTo>
                    <a:pt x="1" y="168"/>
                    <a:pt x="12" y="147"/>
                    <a:pt x="38" y="127"/>
                  </a:cubicBezTo>
                  <a:lnTo>
                    <a:pt x="116" y="150"/>
                  </a:lnTo>
                  <a:cubicBezTo>
                    <a:pt x="92" y="167"/>
                    <a:pt x="81" y="181"/>
                    <a:pt x="82" y="192"/>
                  </a:cubicBezTo>
                  <a:cubicBezTo>
                    <a:pt x="83" y="197"/>
                    <a:pt x="84" y="202"/>
                    <a:pt x="87" y="207"/>
                  </a:cubicBezTo>
                  <a:lnTo>
                    <a:pt x="203" y="140"/>
                  </a:lnTo>
                  <a:cubicBezTo>
                    <a:pt x="189" y="123"/>
                    <a:pt x="182" y="105"/>
                    <a:pt x="180" y="86"/>
                  </a:cubicBezTo>
                  <a:cubicBezTo>
                    <a:pt x="177" y="61"/>
                    <a:pt x="190" y="40"/>
                    <a:pt x="218" y="24"/>
                  </a:cubicBezTo>
                  <a:cubicBezTo>
                    <a:pt x="247" y="7"/>
                    <a:pt x="283" y="0"/>
                    <a:pt x="327" y="1"/>
                  </a:cubicBezTo>
                  <a:cubicBezTo>
                    <a:pt x="359" y="2"/>
                    <a:pt x="387" y="8"/>
                    <a:pt x="413" y="18"/>
                  </a:cubicBezTo>
                  <a:lnTo>
                    <a:pt x="446" y="0"/>
                  </a:lnTo>
                  <a:lnTo>
                    <a:pt x="497" y="29"/>
                  </a:lnTo>
                  <a:lnTo>
                    <a:pt x="465" y="48"/>
                  </a:lnTo>
                  <a:cubicBezTo>
                    <a:pt x="483" y="63"/>
                    <a:pt x="493" y="80"/>
                    <a:pt x="495" y="98"/>
                  </a:cubicBezTo>
                  <a:cubicBezTo>
                    <a:pt x="497" y="118"/>
                    <a:pt x="485" y="139"/>
                    <a:pt x="459" y="160"/>
                  </a:cubicBezTo>
                  <a:lnTo>
                    <a:pt x="381" y="137"/>
                  </a:lnTo>
                  <a:cubicBezTo>
                    <a:pt x="405" y="119"/>
                    <a:pt x="416" y="105"/>
                    <a:pt x="415" y="95"/>
                  </a:cubicBezTo>
                  <a:cubicBezTo>
                    <a:pt x="415" y="89"/>
                    <a:pt x="413" y="84"/>
                    <a:pt x="410" y="80"/>
                  </a:cubicBezTo>
                  <a:lnTo>
                    <a:pt x="294" y="146"/>
                  </a:lnTo>
                  <a:cubicBezTo>
                    <a:pt x="308" y="163"/>
                    <a:pt x="316" y="181"/>
                    <a:pt x="318" y="200"/>
                  </a:cubicBezTo>
                  <a:cubicBezTo>
                    <a:pt x="320" y="225"/>
                    <a:pt x="307" y="246"/>
                    <a:pt x="279" y="263"/>
                  </a:cubicBezTo>
                  <a:cubicBezTo>
                    <a:pt x="250" y="279"/>
                    <a:pt x="214" y="287"/>
                    <a:pt x="171" y="285"/>
                  </a:cubicBezTo>
                  <a:cubicBezTo>
                    <a:pt x="139" y="284"/>
                    <a:pt x="110" y="278"/>
                    <a:pt x="84" y="268"/>
                  </a:cubicBezTo>
                </a:path>
              </a:pathLst>
            </a:custGeom>
            <a:solidFill>
              <a:srgbClr val="CCA2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796">
              <a:extLst>
                <a:ext uri="{FF2B5EF4-FFF2-40B4-BE49-F238E27FC236}">
                  <a16:creationId xmlns:a16="http://schemas.microsoft.com/office/drawing/2014/main" id="{7EB1DF48-6BD9-4CBE-BE85-37180485264C}"/>
                </a:ext>
              </a:extLst>
            </p:cNvPr>
            <p:cNvSpPr>
              <a:spLocks/>
            </p:cNvSpPr>
            <p:nvPr/>
          </p:nvSpPr>
          <p:spPr bwMode="auto">
            <a:xfrm>
              <a:off x="8007351" y="4826001"/>
              <a:ext cx="952500" cy="1190625"/>
            </a:xfrm>
            <a:custGeom>
              <a:avLst/>
              <a:gdLst>
                <a:gd name="T0" fmla="*/ 1083 w 1162"/>
                <a:gd name="T1" fmla="*/ 561 h 1451"/>
                <a:gd name="T2" fmla="*/ 130 w 1162"/>
                <a:gd name="T3" fmla="*/ 11 h 1451"/>
                <a:gd name="T4" fmla="*/ 82 w 1162"/>
                <a:gd name="T5" fmla="*/ 6 h 1451"/>
                <a:gd name="T6" fmla="*/ 72 w 1162"/>
                <a:gd name="T7" fmla="*/ 12 h 1451"/>
                <a:gd name="T8" fmla="*/ 26 w 1162"/>
                <a:gd name="T9" fmla="*/ 42 h 1451"/>
                <a:gd name="T10" fmla="*/ 0 w 1162"/>
                <a:gd name="T11" fmla="*/ 104 h 1451"/>
                <a:gd name="T12" fmla="*/ 0 w 1162"/>
                <a:gd name="T13" fmla="*/ 739 h 1451"/>
                <a:gd name="T14" fmla="*/ 79 w 1162"/>
                <a:gd name="T15" fmla="*/ 889 h 1451"/>
                <a:gd name="T16" fmla="*/ 1032 w 1162"/>
                <a:gd name="T17" fmla="*/ 1439 h 1451"/>
                <a:gd name="T18" fmla="*/ 1086 w 1162"/>
                <a:gd name="T19" fmla="*/ 1442 h 1451"/>
                <a:gd name="T20" fmla="*/ 1086 w 1162"/>
                <a:gd name="T21" fmla="*/ 1442 h 1451"/>
                <a:gd name="T22" fmla="*/ 1133 w 1162"/>
                <a:gd name="T23" fmla="*/ 1411 h 1451"/>
                <a:gd name="T24" fmla="*/ 1139 w 1162"/>
                <a:gd name="T25" fmla="*/ 1406 h 1451"/>
                <a:gd name="T26" fmla="*/ 1139 w 1162"/>
                <a:gd name="T27" fmla="*/ 1406 h 1451"/>
                <a:gd name="T28" fmla="*/ 1162 w 1162"/>
                <a:gd name="T29" fmla="*/ 1346 h 1451"/>
                <a:gd name="T30" fmla="*/ 1162 w 1162"/>
                <a:gd name="T31" fmla="*/ 712 h 1451"/>
                <a:gd name="T32" fmla="*/ 1083 w 1162"/>
                <a:gd name="T33" fmla="*/ 561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2" h="1451">
                  <a:moveTo>
                    <a:pt x="1083" y="561"/>
                  </a:moveTo>
                  <a:lnTo>
                    <a:pt x="130" y="11"/>
                  </a:lnTo>
                  <a:cubicBezTo>
                    <a:pt x="112" y="1"/>
                    <a:pt x="96" y="0"/>
                    <a:pt x="82" y="6"/>
                  </a:cubicBezTo>
                  <a:cubicBezTo>
                    <a:pt x="79" y="7"/>
                    <a:pt x="75" y="9"/>
                    <a:pt x="72" y="12"/>
                  </a:cubicBezTo>
                  <a:lnTo>
                    <a:pt x="26" y="42"/>
                  </a:lnTo>
                  <a:cubicBezTo>
                    <a:pt x="10" y="52"/>
                    <a:pt x="0" y="74"/>
                    <a:pt x="0" y="104"/>
                  </a:cubicBezTo>
                  <a:lnTo>
                    <a:pt x="0" y="739"/>
                  </a:lnTo>
                  <a:cubicBezTo>
                    <a:pt x="0" y="796"/>
                    <a:pt x="36" y="864"/>
                    <a:pt x="79" y="889"/>
                  </a:cubicBezTo>
                  <a:lnTo>
                    <a:pt x="1032" y="1439"/>
                  </a:lnTo>
                  <a:cubicBezTo>
                    <a:pt x="1053" y="1451"/>
                    <a:pt x="1072" y="1451"/>
                    <a:pt x="1086" y="1442"/>
                  </a:cubicBezTo>
                  <a:lnTo>
                    <a:pt x="1086" y="1442"/>
                  </a:lnTo>
                  <a:lnTo>
                    <a:pt x="1133" y="1411"/>
                  </a:lnTo>
                  <a:cubicBezTo>
                    <a:pt x="1135" y="1409"/>
                    <a:pt x="1137" y="1408"/>
                    <a:pt x="1139" y="1406"/>
                  </a:cubicBezTo>
                  <a:lnTo>
                    <a:pt x="1139" y="1406"/>
                  </a:lnTo>
                  <a:cubicBezTo>
                    <a:pt x="1153" y="1396"/>
                    <a:pt x="1162" y="1375"/>
                    <a:pt x="1162" y="1346"/>
                  </a:cubicBezTo>
                  <a:lnTo>
                    <a:pt x="1162" y="712"/>
                  </a:lnTo>
                  <a:cubicBezTo>
                    <a:pt x="1162" y="654"/>
                    <a:pt x="1126" y="586"/>
                    <a:pt x="1083" y="561"/>
                  </a:cubicBezTo>
                </a:path>
              </a:pathLst>
            </a:custGeom>
            <a:solidFill>
              <a:srgbClr val="7DA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797">
              <a:extLst>
                <a:ext uri="{FF2B5EF4-FFF2-40B4-BE49-F238E27FC236}">
                  <a16:creationId xmlns:a16="http://schemas.microsoft.com/office/drawing/2014/main" id="{472D21BD-181B-4414-A106-D0BB9FCB1206}"/>
                </a:ext>
              </a:extLst>
            </p:cNvPr>
            <p:cNvSpPr>
              <a:spLocks/>
            </p:cNvSpPr>
            <p:nvPr/>
          </p:nvSpPr>
          <p:spPr bwMode="auto">
            <a:xfrm>
              <a:off x="8007351" y="4843463"/>
              <a:ext cx="911225" cy="1184275"/>
            </a:xfrm>
            <a:custGeom>
              <a:avLst/>
              <a:gdLst>
                <a:gd name="T0" fmla="*/ 1032 w 1111"/>
                <a:gd name="T1" fmla="*/ 1419 h 1444"/>
                <a:gd name="T2" fmla="*/ 79 w 1111"/>
                <a:gd name="T3" fmla="*/ 869 h 1444"/>
                <a:gd name="T4" fmla="*/ 0 w 1111"/>
                <a:gd name="T5" fmla="*/ 719 h 1444"/>
                <a:gd name="T6" fmla="*/ 0 w 1111"/>
                <a:gd name="T7" fmla="*/ 84 h 1444"/>
                <a:gd name="T8" fmla="*/ 79 w 1111"/>
                <a:gd name="T9" fmla="*/ 25 h 1444"/>
                <a:gd name="T10" fmla="*/ 1032 w 1111"/>
                <a:gd name="T11" fmla="*/ 575 h 1444"/>
                <a:gd name="T12" fmla="*/ 1111 w 1111"/>
                <a:gd name="T13" fmla="*/ 725 h 1444"/>
                <a:gd name="T14" fmla="*/ 1111 w 1111"/>
                <a:gd name="T15" fmla="*/ 1360 h 1444"/>
                <a:gd name="T16" fmla="*/ 1032 w 1111"/>
                <a:gd name="T17" fmla="*/ 1419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1" h="1444">
                  <a:moveTo>
                    <a:pt x="1032" y="1419"/>
                  </a:moveTo>
                  <a:lnTo>
                    <a:pt x="79" y="869"/>
                  </a:lnTo>
                  <a:cubicBezTo>
                    <a:pt x="36" y="844"/>
                    <a:pt x="0" y="776"/>
                    <a:pt x="0" y="719"/>
                  </a:cubicBezTo>
                  <a:lnTo>
                    <a:pt x="0" y="84"/>
                  </a:lnTo>
                  <a:cubicBezTo>
                    <a:pt x="0" y="27"/>
                    <a:pt x="36" y="0"/>
                    <a:pt x="79" y="25"/>
                  </a:cubicBezTo>
                  <a:lnTo>
                    <a:pt x="1032" y="575"/>
                  </a:lnTo>
                  <a:cubicBezTo>
                    <a:pt x="1075" y="600"/>
                    <a:pt x="1111" y="668"/>
                    <a:pt x="1111" y="725"/>
                  </a:cubicBezTo>
                  <a:lnTo>
                    <a:pt x="1111" y="1360"/>
                  </a:lnTo>
                  <a:cubicBezTo>
                    <a:pt x="1111" y="1417"/>
                    <a:pt x="1075" y="1444"/>
                    <a:pt x="1032" y="1419"/>
                  </a:cubicBezTo>
                  <a:close/>
                </a:path>
              </a:pathLst>
            </a:custGeom>
            <a:solidFill>
              <a:srgbClr val="8AB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798">
              <a:extLst>
                <a:ext uri="{FF2B5EF4-FFF2-40B4-BE49-F238E27FC236}">
                  <a16:creationId xmlns:a16="http://schemas.microsoft.com/office/drawing/2014/main" id="{260DA92C-B314-46AF-8199-7721728DAA97}"/>
                </a:ext>
              </a:extLst>
            </p:cNvPr>
            <p:cNvSpPr>
              <a:spLocks noEditPoints="1"/>
            </p:cNvSpPr>
            <p:nvPr/>
          </p:nvSpPr>
          <p:spPr bwMode="auto">
            <a:xfrm>
              <a:off x="8007351" y="5327651"/>
              <a:ext cx="911225" cy="582613"/>
            </a:xfrm>
            <a:custGeom>
              <a:avLst/>
              <a:gdLst>
                <a:gd name="T0" fmla="*/ 1111 w 1111"/>
                <a:gd name="T1" fmla="*/ 711 h 711"/>
                <a:gd name="T2" fmla="*/ 792 w 1111"/>
                <a:gd name="T3" fmla="*/ 311 h 711"/>
                <a:gd name="T4" fmla="*/ 825 w 1111"/>
                <a:gd name="T5" fmla="*/ 309 h 711"/>
                <a:gd name="T6" fmla="*/ 1111 w 1111"/>
                <a:gd name="T7" fmla="*/ 674 h 711"/>
                <a:gd name="T8" fmla="*/ 1111 w 1111"/>
                <a:gd name="T9" fmla="*/ 711 h 711"/>
                <a:gd name="T10" fmla="*/ 0 w 1111"/>
                <a:gd name="T11" fmla="*/ 96 h 711"/>
                <a:gd name="T12" fmla="*/ 0 w 1111"/>
                <a:gd name="T13" fmla="*/ 96 h 711"/>
                <a:gd name="T14" fmla="*/ 0 w 1111"/>
                <a:gd name="T15" fmla="*/ 33 h 711"/>
                <a:gd name="T16" fmla="*/ 263 w 1111"/>
                <a:gd name="T17" fmla="*/ 0 h 711"/>
                <a:gd name="T18" fmla="*/ 294 w 1111"/>
                <a:gd name="T19" fmla="*/ 40 h 711"/>
                <a:gd name="T20" fmla="*/ 0 w 1111"/>
                <a:gd name="T21" fmla="*/ 70 h 711"/>
                <a:gd name="T22" fmla="*/ 0 w 1111"/>
                <a:gd name="T23" fmla="*/ 9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11" h="711">
                  <a:moveTo>
                    <a:pt x="1111" y="711"/>
                  </a:moveTo>
                  <a:lnTo>
                    <a:pt x="792" y="311"/>
                  </a:lnTo>
                  <a:lnTo>
                    <a:pt x="825" y="309"/>
                  </a:lnTo>
                  <a:lnTo>
                    <a:pt x="1111" y="674"/>
                  </a:lnTo>
                  <a:lnTo>
                    <a:pt x="1111" y="711"/>
                  </a:lnTo>
                  <a:close/>
                  <a:moveTo>
                    <a:pt x="0" y="96"/>
                  </a:moveTo>
                  <a:lnTo>
                    <a:pt x="0" y="96"/>
                  </a:lnTo>
                  <a:lnTo>
                    <a:pt x="0" y="33"/>
                  </a:lnTo>
                  <a:lnTo>
                    <a:pt x="263" y="0"/>
                  </a:lnTo>
                  <a:lnTo>
                    <a:pt x="294" y="40"/>
                  </a:lnTo>
                  <a:lnTo>
                    <a:pt x="0" y="70"/>
                  </a:lnTo>
                  <a:lnTo>
                    <a:pt x="0" y="96"/>
                  </a:lnTo>
                </a:path>
              </a:pathLst>
            </a:custGeom>
            <a:solidFill>
              <a:srgbClr val="7CA3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799">
              <a:extLst>
                <a:ext uri="{FF2B5EF4-FFF2-40B4-BE49-F238E27FC236}">
                  <a16:creationId xmlns:a16="http://schemas.microsoft.com/office/drawing/2014/main" id="{9E2684AB-C246-42FB-98B0-75F5462179D8}"/>
                </a:ext>
              </a:extLst>
            </p:cNvPr>
            <p:cNvSpPr>
              <a:spLocks/>
            </p:cNvSpPr>
            <p:nvPr/>
          </p:nvSpPr>
          <p:spPr bwMode="auto">
            <a:xfrm>
              <a:off x="8007351" y="5338763"/>
              <a:ext cx="911225" cy="687388"/>
            </a:xfrm>
            <a:custGeom>
              <a:avLst/>
              <a:gdLst>
                <a:gd name="T0" fmla="*/ 39 w 1111"/>
                <a:gd name="T1" fmla="*/ 241 h 838"/>
                <a:gd name="T2" fmla="*/ 1026 w 1111"/>
                <a:gd name="T3" fmla="*/ 811 h 838"/>
                <a:gd name="T4" fmla="*/ 1111 w 1111"/>
                <a:gd name="T5" fmla="*/ 762 h 838"/>
                <a:gd name="T6" fmla="*/ 1111 w 1111"/>
                <a:gd name="T7" fmla="*/ 696 h 838"/>
                <a:gd name="T8" fmla="*/ 581 w 1111"/>
                <a:gd name="T9" fmla="*/ 31 h 838"/>
                <a:gd name="T10" fmla="*/ 530 w 1111"/>
                <a:gd name="T11" fmla="*/ 1 h 838"/>
                <a:gd name="T12" fmla="*/ 0 w 1111"/>
                <a:gd name="T13" fmla="*/ 55 h 838"/>
                <a:gd name="T14" fmla="*/ 0 w 1111"/>
                <a:gd name="T15" fmla="*/ 174 h 838"/>
                <a:gd name="T16" fmla="*/ 39 w 1111"/>
                <a:gd name="T17" fmla="*/ 241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1" h="838">
                  <a:moveTo>
                    <a:pt x="39" y="241"/>
                  </a:moveTo>
                  <a:lnTo>
                    <a:pt x="1026" y="811"/>
                  </a:lnTo>
                  <a:cubicBezTo>
                    <a:pt x="1073" y="838"/>
                    <a:pt x="1111" y="816"/>
                    <a:pt x="1111" y="762"/>
                  </a:cubicBezTo>
                  <a:lnTo>
                    <a:pt x="1111" y="696"/>
                  </a:lnTo>
                  <a:lnTo>
                    <a:pt x="581" y="31"/>
                  </a:lnTo>
                  <a:cubicBezTo>
                    <a:pt x="566" y="11"/>
                    <a:pt x="545" y="0"/>
                    <a:pt x="530" y="1"/>
                  </a:cubicBezTo>
                  <a:lnTo>
                    <a:pt x="0" y="55"/>
                  </a:lnTo>
                  <a:lnTo>
                    <a:pt x="0" y="174"/>
                  </a:lnTo>
                  <a:cubicBezTo>
                    <a:pt x="0" y="199"/>
                    <a:pt x="18" y="228"/>
                    <a:pt x="39" y="241"/>
                  </a:cubicBezTo>
                </a:path>
              </a:pathLst>
            </a:custGeom>
            <a:solidFill>
              <a:srgbClr val="92C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800">
              <a:extLst>
                <a:ext uri="{FF2B5EF4-FFF2-40B4-BE49-F238E27FC236}">
                  <a16:creationId xmlns:a16="http://schemas.microsoft.com/office/drawing/2014/main" id="{9F84009F-92FE-4AFD-9E09-C21C42C26EFF}"/>
                </a:ext>
              </a:extLst>
            </p:cNvPr>
            <p:cNvSpPr>
              <a:spLocks/>
            </p:cNvSpPr>
            <p:nvPr/>
          </p:nvSpPr>
          <p:spPr bwMode="auto">
            <a:xfrm>
              <a:off x="8007351" y="4968876"/>
              <a:ext cx="911225" cy="611188"/>
            </a:xfrm>
            <a:custGeom>
              <a:avLst/>
              <a:gdLst>
                <a:gd name="T0" fmla="*/ 825 w 1111"/>
                <a:gd name="T1" fmla="*/ 745 h 745"/>
                <a:gd name="T2" fmla="*/ 581 w 1111"/>
                <a:gd name="T3" fmla="*/ 432 h 745"/>
                <a:gd name="T4" fmla="*/ 535 w 1111"/>
                <a:gd name="T5" fmla="*/ 402 h 745"/>
                <a:gd name="T6" fmla="*/ 530 w 1111"/>
                <a:gd name="T7" fmla="*/ 402 h 745"/>
                <a:gd name="T8" fmla="*/ 263 w 1111"/>
                <a:gd name="T9" fmla="*/ 436 h 745"/>
                <a:gd name="T10" fmla="*/ 0 w 1111"/>
                <a:gd name="T11" fmla="*/ 96 h 745"/>
                <a:gd name="T12" fmla="*/ 0 w 1111"/>
                <a:gd name="T13" fmla="*/ 0 h 745"/>
                <a:gd name="T14" fmla="*/ 1111 w 1111"/>
                <a:gd name="T15" fmla="*/ 641 h 745"/>
                <a:gd name="T16" fmla="*/ 1111 w 1111"/>
                <a:gd name="T17" fmla="*/ 721 h 745"/>
                <a:gd name="T18" fmla="*/ 825 w 1111"/>
                <a:gd name="T19"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1" h="745">
                  <a:moveTo>
                    <a:pt x="825" y="745"/>
                  </a:moveTo>
                  <a:lnTo>
                    <a:pt x="581" y="432"/>
                  </a:lnTo>
                  <a:cubicBezTo>
                    <a:pt x="567" y="413"/>
                    <a:pt x="550" y="402"/>
                    <a:pt x="535" y="402"/>
                  </a:cubicBezTo>
                  <a:cubicBezTo>
                    <a:pt x="534" y="402"/>
                    <a:pt x="532" y="402"/>
                    <a:pt x="530" y="402"/>
                  </a:cubicBezTo>
                  <a:lnTo>
                    <a:pt x="263" y="436"/>
                  </a:lnTo>
                  <a:lnTo>
                    <a:pt x="0" y="96"/>
                  </a:lnTo>
                  <a:lnTo>
                    <a:pt x="0" y="0"/>
                  </a:lnTo>
                  <a:lnTo>
                    <a:pt x="1111" y="641"/>
                  </a:lnTo>
                  <a:lnTo>
                    <a:pt x="1111" y="721"/>
                  </a:lnTo>
                  <a:lnTo>
                    <a:pt x="825" y="745"/>
                  </a:lnTo>
                </a:path>
              </a:pathLst>
            </a:custGeom>
            <a:solidFill>
              <a:srgbClr val="7CA3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1801">
              <a:extLst>
                <a:ext uri="{FF2B5EF4-FFF2-40B4-BE49-F238E27FC236}">
                  <a16:creationId xmlns:a16="http://schemas.microsoft.com/office/drawing/2014/main" id="{DFBBB9AD-7889-4CAB-BE9E-168779933A6D}"/>
                </a:ext>
              </a:extLst>
            </p:cNvPr>
            <p:cNvSpPr>
              <a:spLocks/>
            </p:cNvSpPr>
            <p:nvPr/>
          </p:nvSpPr>
          <p:spPr bwMode="auto">
            <a:xfrm>
              <a:off x="8223251" y="5299076"/>
              <a:ext cx="460375" cy="282575"/>
            </a:xfrm>
            <a:custGeom>
              <a:avLst/>
              <a:gdLst>
                <a:gd name="T0" fmla="*/ 529 w 562"/>
                <a:gd name="T1" fmla="*/ 345 h 345"/>
                <a:gd name="T2" fmla="*/ 318 w 562"/>
                <a:gd name="T3" fmla="*/ 80 h 345"/>
                <a:gd name="T4" fmla="*/ 270 w 562"/>
                <a:gd name="T5" fmla="*/ 50 h 345"/>
                <a:gd name="T6" fmla="*/ 267 w 562"/>
                <a:gd name="T7" fmla="*/ 50 h 345"/>
                <a:gd name="T8" fmla="*/ 31 w 562"/>
                <a:gd name="T9" fmla="*/ 74 h 345"/>
                <a:gd name="T10" fmla="*/ 0 w 562"/>
                <a:gd name="T11" fmla="*/ 34 h 345"/>
                <a:gd name="T12" fmla="*/ 267 w 562"/>
                <a:gd name="T13" fmla="*/ 0 h 345"/>
                <a:gd name="T14" fmla="*/ 272 w 562"/>
                <a:gd name="T15" fmla="*/ 0 h 345"/>
                <a:gd name="T16" fmla="*/ 318 w 562"/>
                <a:gd name="T17" fmla="*/ 30 h 345"/>
                <a:gd name="T18" fmla="*/ 562 w 562"/>
                <a:gd name="T19" fmla="*/ 343 h 345"/>
                <a:gd name="T20" fmla="*/ 529 w 562"/>
                <a:gd name="T21" fmla="*/ 34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2" h="345">
                  <a:moveTo>
                    <a:pt x="529" y="345"/>
                  </a:moveTo>
                  <a:lnTo>
                    <a:pt x="318" y="80"/>
                  </a:lnTo>
                  <a:cubicBezTo>
                    <a:pt x="304" y="61"/>
                    <a:pt x="285" y="50"/>
                    <a:pt x="270" y="50"/>
                  </a:cubicBezTo>
                  <a:cubicBezTo>
                    <a:pt x="269" y="50"/>
                    <a:pt x="268" y="50"/>
                    <a:pt x="267" y="50"/>
                  </a:cubicBezTo>
                  <a:lnTo>
                    <a:pt x="31" y="74"/>
                  </a:lnTo>
                  <a:lnTo>
                    <a:pt x="0" y="34"/>
                  </a:lnTo>
                  <a:lnTo>
                    <a:pt x="267" y="0"/>
                  </a:lnTo>
                  <a:cubicBezTo>
                    <a:pt x="269" y="0"/>
                    <a:pt x="271" y="0"/>
                    <a:pt x="272" y="0"/>
                  </a:cubicBezTo>
                  <a:cubicBezTo>
                    <a:pt x="287" y="0"/>
                    <a:pt x="304" y="11"/>
                    <a:pt x="318" y="30"/>
                  </a:cubicBezTo>
                  <a:lnTo>
                    <a:pt x="562" y="343"/>
                  </a:lnTo>
                  <a:lnTo>
                    <a:pt x="529" y="345"/>
                  </a:lnTo>
                </a:path>
              </a:pathLst>
            </a:custGeom>
            <a:solidFill>
              <a:srgbClr val="6F9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1802">
              <a:extLst>
                <a:ext uri="{FF2B5EF4-FFF2-40B4-BE49-F238E27FC236}">
                  <a16:creationId xmlns:a16="http://schemas.microsoft.com/office/drawing/2014/main" id="{555154B1-B370-444A-85B9-72434C8A5357}"/>
                </a:ext>
              </a:extLst>
            </p:cNvPr>
            <p:cNvSpPr>
              <a:spLocks/>
            </p:cNvSpPr>
            <p:nvPr/>
          </p:nvSpPr>
          <p:spPr bwMode="auto">
            <a:xfrm>
              <a:off x="8248651" y="5340351"/>
              <a:ext cx="407988" cy="260350"/>
            </a:xfrm>
            <a:custGeom>
              <a:avLst/>
              <a:gdLst>
                <a:gd name="T0" fmla="*/ 246 w 498"/>
                <a:gd name="T1" fmla="*/ 317 h 317"/>
                <a:gd name="T2" fmla="*/ 203 w 498"/>
                <a:gd name="T3" fmla="*/ 286 h 317"/>
                <a:gd name="T4" fmla="*/ 0 w 498"/>
                <a:gd name="T5" fmla="*/ 24 h 317"/>
                <a:gd name="T6" fmla="*/ 236 w 498"/>
                <a:gd name="T7" fmla="*/ 0 h 317"/>
                <a:gd name="T8" fmla="*/ 239 w 498"/>
                <a:gd name="T9" fmla="*/ 0 h 317"/>
                <a:gd name="T10" fmla="*/ 287 w 498"/>
                <a:gd name="T11" fmla="*/ 30 h 317"/>
                <a:gd name="T12" fmla="*/ 498 w 498"/>
                <a:gd name="T13" fmla="*/ 295 h 317"/>
                <a:gd name="T14" fmla="*/ 254 w 498"/>
                <a:gd name="T15" fmla="*/ 316 h 317"/>
                <a:gd name="T16" fmla="*/ 246 w 498"/>
                <a:gd name="T17" fmla="*/ 31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317">
                  <a:moveTo>
                    <a:pt x="246" y="317"/>
                  </a:moveTo>
                  <a:cubicBezTo>
                    <a:pt x="232" y="317"/>
                    <a:pt x="216" y="305"/>
                    <a:pt x="203" y="286"/>
                  </a:cubicBezTo>
                  <a:lnTo>
                    <a:pt x="0" y="24"/>
                  </a:lnTo>
                  <a:lnTo>
                    <a:pt x="236" y="0"/>
                  </a:lnTo>
                  <a:cubicBezTo>
                    <a:pt x="237" y="0"/>
                    <a:pt x="238" y="0"/>
                    <a:pt x="239" y="0"/>
                  </a:cubicBezTo>
                  <a:cubicBezTo>
                    <a:pt x="254" y="0"/>
                    <a:pt x="273" y="11"/>
                    <a:pt x="287" y="30"/>
                  </a:cubicBezTo>
                  <a:lnTo>
                    <a:pt x="498" y="295"/>
                  </a:lnTo>
                  <a:lnTo>
                    <a:pt x="254" y="316"/>
                  </a:lnTo>
                  <a:cubicBezTo>
                    <a:pt x="251" y="316"/>
                    <a:pt x="249" y="317"/>
                    <a:pt x="246" y="317"/>
                  </a:cubicBezTo>
                  <a:close/>
                </a:path>
              </a:pathLst>
            </a:custGeom>
            <a:solidFill>
              <a:srgbClr val="83AC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1804">
              <a:extLst>
                <a:ext uri="{FF2B5EF4-FFF2-40B4-BE49-F238E27FC236}">
                  <a16:creationId xmlns:a16="http://schemas.microsoft.com/office/drawing/2014/main" id="{00EBDC70-F4EF-4344-AF62-BD6E38967B74}"/>
                </a:ext>
              </a:extLst>
            </p:cNvPr>
            <p:cNvSpPr>
              <a:spLocks/>
            </p:cNvSpPr>
            <p:nvPr/>
          </p:nvSpPr>
          <p:spPr bwMode="auto">
            <a:xfrm>
              <a:off x="8007350" y="4843463"/>
              <a:ext cx="911225" cy="733425"/>
            </a:xfrm>
            <a:custGeom>
              <a:avLst/>
              <a:gdLst>
                <a:gd name="T0" fmla="*/ 1026 w 1111"/>
                <a:gd name="T1" fmla="*/ 570 h 894"/>
                <a:gd name="T2" fmla="*/ 85 w 1111"/>
                <a:gd name="T3" fmla="*/ 27 h 894"/>
                <a:gd name="T4" fmla="*/ 0 w 1111"/>
                <a:gd name="T5" fmla="*/ 76 h 894"/>
                <a:gd name="T6" fmla="*/ 0 w 1111"/>
                <a:gd name="T7" fmla="*/ 192 h 894"/>
                <a:gd name="T8" fmla="*/ 497 w 1111"/>
                <a:gd name="T9" fmla="*/ 861 h 894"/>
                <a:gd name="T10" fmla="*/ 548 w 1111"/>
                <a:gd name="T11" fmla="*/ 891 h 894"/>
                <a:gd name="T12" fmla="*/ 1111 w 1111"/>
                <a:gd name="T13" fmla="*/ 833 h 894"/>
                <a:gd name="T14" fmla="*/ 1111 w 1111"/>
                <a:gd name="T15" fmla="*/ 717 h 894"/>
                <a:gd name="T16" fmla="*/ 1026 w 1111"/>
                <a:gd name="T17" fmla="*/ 57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1" h="894">
                  <a:moveTo>
                    <a:pt x="1026" y="570"/>
                  </a:moveTo>
                  <a:lnTo>
                    <a:pt x="85" y="27"/>
                  </a:lnTo>
                  <a:cubicBezTo>
                    <a:pt x="38" y="0"/>
                    <a:pt x="0" y="22"/>
                    <a:pt x="0" y="76"/>
                  </a:cubicBezTo>
                  <a:lnTo>
                    <a:pt x="0" y="192"/>
                  </a:lnTo>
                  <a:lnTo>
                    <a:pt x="497" y="861"/>
                  </a:lnTo>
                  <a:cubicBezTo>
                    <a:pt x="512" y="882"/>
                    <a:pt x="532" y="894"/>
                    <a:pt x="548" y="891"/>
                  </a:cubicBezTo>
                  <a:lnTo>
                    <a:pt x="1111" y="833"/>
                  </a:lnTo>
                  <a:lnTo>
                    <a:pt x="1111" y="717"/>
                  </a:lnTo>
                  <a:cubicBezTo>
                    <a:pt x="1111" y="663"/>
                    <a:pt x="1073" y="597"/>
                    <a:pt x="1026" y="570"/>
                  </a:cubicBezTo>
                  <a:close/>
                </a:path>
              </a:pathLst>
            </a:custGeom>
            <a:solidFill>
              <a:srgbClr val="92C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3" name="Group 342">
            <a:extLst>
              <a:ext uri="{FF2B5EF4-FFF2-40B4-BE49-F238E27FC236}">
                <a16:creationId xmlns:a16="http://schemas.microsoft.com/office/drawing/2014/main" id="{33F0E1C5-595A-4E3C-8C02-1A5D8F214C94}"/>
              </a:ext>
            </a:extLst>
          </p:cNvPr>
          <p:cNvGrpSpPr/>
          <p:nvPr userDrawn="1"/>
        </p:nvGrpSpPr>
        <p:grpSpPr>
          <a:xfrm>
            <a:off x="8359436" y="253474"/>
            <a:ext cx="3408496" cy="783999"/>
            <a:chOff x="239166" y="264235"/>
            <a:chExt cx="3408496" cy="783999"/>
          </a:xfrm>
        </p:grpSpPr>
        <p:sp>
          <p:nvSpPr>
            <p:cNvPr id="344" name="Rectangle 9">
              <a:extLst>
                <a:ext uri="{FF2B5EF4-FFF2-40B4-BE49-F238E27FC236}">
                  <a16:creationId xmlns:a16="http://schemas.microsoft.com/office/drawing/2014/main" id="{7B9104ED-F1BF-497E-B99C-A01D8068B6F2}"/>
                </a:ext>
              </a:extLst>
            </p:cNvPr>
            <p:cNvSpPr/>
            <p:nvPr userDrawn="1"/>
          </p:nvSpPr>
          <p:spPr>
            <a:xfrm>
              <a:off x="239166" y="264235"/>
              <a:ext cx="3408496" cy="783999"/>
            </a:xfrm>
            <a:prstGeom prst="roundRect">
              <a:avLst>
                <a:gd name="adj" fmla="val 50000"/>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17"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9F958F">
                    <a:lumMod val="50000"/>
                  </a:srgbClr>
                </a:solidFill>
                <a:effectLst/>
                <a:uLnTx/>
                <a:uFillTx/>
                <a:latin typeface="Arial" panose="020B0604020202020204" pitchFamily="34" charset="0"/>
                <a:ea typeface="+mn-ea"/>
                <a:cs typeface="Arial" panose="020B0604020202020204" pitchFamily="34" charset="0"/>
              </a:endParaRPr>
            </a:p>
          </p:txBody>
        </p:sp>
        <p:grpSp>
          <p:nvGrpSpPr>
            <p:cNvPr id="345" name="Group 14">
              <a:extLst>
                <a:ext uri="{FF2B5EF4-FFF2-40B4-BE49-F238E27FC236}">
                  <a16:creationId xmlns:a16="http://schemas.microsoft.com/office/drawing/2014/main" id="{8804CCC5-C0BB-4C7A-944F-7B46E3CF6D09}"/>
                </a:ext>
              </a:extLst>
            </p:cNvPr>
            <p:cNvGrpSpPr>
              <a:grpSpLocks noChangeAspect="1"/>
            </p:cNvGrpSpPr>
            <p:nvPr userDrawn="1"/>
          </p:nvGrpSpPr>
          <p:grpSpPr>
            <a:xfrm>
              <a:off x="808239" y="449726"/>
              <a:ext cx="2232234" cy="467083"/>
              <a:chOff x="728664" y="4465638"/>
              <a:chExt cx="5354636" cy="1193800"/>
            </a:xfrm>
          </p:grpSpPr>
          <p:sp>
            <p:nvSpPr>
              <p:cNvPr id="346" name="Freeform 11">
                <a:extLst>
                  <a:ext uri="{FF2B5EF4-FFF2-40B4-BE49-F238E27FC236}">
                    <a16:creationId xmlns:a16="http://schemas.microsoft.com/office/drawing/2014/main" id="{7E293DEC-2EE9-4776-983B-95E9CC18F6A7}"/>
                  </a:ext>
                </a:extLst>
              </p:cNvPr>
              <p:cNvSpPr>
                <a:spLocks/>
              </p:cNvSpPr>
              <p:nvPr userDrawn="1"/>
            </p:nvSpPr>
            <p:spPr bwMode="auto">
              <a:xfrm>
                <a:off x="5464172" y="4830764"/>
                <a:ext cx="619125" cy="503237"/>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7" name="Freeform 12">
                <a:extLst>
                  <a:ext uri="{FF2B5EF4-FFF2-40B4-BE49-F238E27FC236}">
                    <a16:creationId xmlns:a16="http://schemas.microsoft.com/office/drawing/2014/main" id="{CC8E76F2-AF95-4E8A-9B7D-2E2D40FA0B59}"/>
                  </a:ext>
                </a:extLst>
              </p:cNvPr>
              <p:cNvSpPr>
                <a:spLocks noEditPoints="1"/>
              </p:cNvSpPr>
              <p:nvPr userDrawn="1"/>
            </p:nvSpPr>
            <p:spPr bwMode="auto">
              <a:xfrm>
                <a:off x="728664" y="4483100"/>
                <a:ext cx="4352922"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8" name="Freeform 13">
                <a:extLst>
                  <a:ext uri="{FF2B5EF4-FFF2-40B4-BE49-F238E27FC236}">
                    <a16:creationId xmlns:a16="http://schemas.microsoft.com/office/drawing/2014/main" id="{642252F0-9498-43C4-B745-83670FC3A4DB}"/>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9" name="Freeform 14">
                <a:extLst>
                  <a:ext uri="{FF2B5EF4-FFF2-40B4-BE49-F238E27FC236}">
                    <a16:creationId xmlns:a16="http://schemas.microsoft.com/office/drawing/2014/main" id="{BC00CFA8-FF63-431F-A14A-9A3396E89EAB}"/>
                  </a:ext>
                </a:extLst>
              </p:cNvPr>
              <p:cNvSpPr>
                <a:spLocks/>
              </p:cNvSpPr>
              <p:nvPr userDrawn="1"/>
            </p:nvSpPr>
            <p:spPr bwMode="auto">
              <a:xfrm>
                <a:off x="4870452" y="4564062"/>
                <a:ext cx="112712"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0" name="Freeform 15">
                <a:extLst>
                  <a:ext uri="{FF2B5EF4-FFF2-40B4-BE49-F238E27FC236}">
                    <a16:creationId xmlns:a16="http://schemas.microsoft.com/office/drawing/2014/main" id="{4D232815-A754-4BEC-A873-041D818C4498}"/>
                  </a:ext>
                </a:extLst>
              </p:cNvPr>
              <p:cNvSpPr>
                <a:spLocks/>
              </p:cNvSpPr>
              <p:nvPr userDrawn="1"/>
            </p:nvSpPr>
            <p:spPr bwMode="auto">
              <a:xfrm>
                <a:off x="5143499" y="4465638"/>
                <a:ext cx="939801"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9024395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D08F9-2E1E-4ECB-9A50-B76377C05E5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19FC1E3-DCDF-4FB5-AB5F-E06CFC01AEBC}"/>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4" name="Footer Placeholder 3">
            <a:extLst>
              <a:ext uri="{FF2B5EF4-FFF2-40B4-BE49-F238E27FC236}">
                <a16:creationId xmlns:a16="http://schemas.microsoft.com/office/drawing/2014/main" id="{7A9D55D5-C16A-417F-8A66-57C79C0804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08159C-387E-4209-A008-F3ED9375A0AE}"/>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28499765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D9EA23-5D9E-4BA5-9C6F-14DC67039998}"/>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3" name="Footer Placeholder 2">
            <a:extLst>
              <a:ext uri="{FF2B5EF4-FFF2-40B4-BE49-F238E27FC236}">
                <a16:creationId xmlns:a16="http://schemas.microsoft.com/office/drawing/2014/main" id="{7F4E67E7-CC70-4493-BE2B-505C39D132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99AB17-A23F-4255-ADE6-2DB4D4324E15}"/>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9470741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1725D-D741-44F9-9098-9B49F8F43E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8B13AB-FB71-4DF0-8196-D4397CD813F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FD15E32-42F2-460B-89AC-EBA21FA706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0EED0C2-01A2-412C-9541-0651DE800E81}"/>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6" name="Footer Placeholder 5">
            <a:extLst>
              <a:ext uri="{FF2B5EF4-FFF2-40B4-BE49-F238E27FC236}">
                <a16:creationId xmlns:a16="http://schemas.microsoft.com/office/drawing/2014/main" id="{5EA44D35-C15B-43CE-A73D-A8C4C301DB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2FF45B-9FA2-4E71-B00F-CFA0BD8077AB}"/>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39453121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46976-03E2-4FBE-B32E-70AEBDB07E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441AF31-D54B-49BD-83D4-8636D563F3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F0F87F-179B-481B-93E2-A7132984B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899EC3-6748-448F-BD3A-F7E0D63F10CA}"/>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6" name="Footer Placeholder 5">
            <a:extLst>
              <a:ext uri="{FF2B5EF4-FFF2-40B4-BE49-F238E27FC236}">
                <a16:creationId xmlns:a16="http://schemas.microsoft.com/office/drawing/2014/main" id="{F959C0BA-2C97-40FD-B448-58A581E75A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39CA6BE-C1F5-4364-BB4B-1CB5432E421A}"/>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37975120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4B408-0238-435F-978B-C68AE2D69C1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2F2BB2-156F-4BF1-99C0-C219D354EB8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F44865-27C7-49BD-BC33-B22758217020}"/>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5" name="Footer Placeholder 4">
            <a:extLst>
              <a:ext uri="{FF2B5EF4-FFF2-40B4-BE49-F238E27FC236}">
                <a16:creationId xmlns:a16="http://schemas.microsoft.com/office/drawing/2014/main" id="{17EDBECA-F7F4-4D84-A721-05DDE8FA74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0FA81E-72A0-4F2D-A81D-494EE222A956}"/>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39711401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450405A-0921-4C87-95B1-93D7336D5F6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4E9B6D8-62FD-4632-A3A6-12A3C360D76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B08651-1B90-4D32-841A-19B251E1DB3A}"/>
              </a:ext>
            </a:extLst>
          </p:cNvPr>
          <p:cNvSpPr>
            <a:spLocks noGrp="1"/>
          </p:cNvSpPr>
          <p:nvPr>
            <p:ph type="dt" sz="half" idx="10"/>
          </p:nvPr>
        </p:nvSpPr>
        <p:spPr/>
        <p:txBody>
          <a:bodyPr/>
          <a:lstStyle/>
          <a:p>
            <a:fld id="{399D5AC0-47B7-4188-B8C1-B446542BE319}" type="datetimeFigureOut">
              <a:rPr lang="en-US" smtClean="0"/>
              <a:t>2/11/2021</a:t>
            </a:fld>
            <a:endParaRPr lang="en-US"/>
          </a:p>
        </p:txBody>
      </p:sp>
      <p:sp>
        <p:nvSpPr>
          <p:cNvPr id="5" name="Footer Placeholder 4">
            <a:extLst>
              <a:ext uri="{FF2B5EF4-FFF2-40B4-BE49-F238E27FC236}">
                <a16:creationId xmlns:a16="http://schemas.microsoft.com/office/drawing/2014/main" id="{1CB4E299-BE28-47D7-9D67-43E5F9856E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647B07-D3FA-41EB-8701-C0E70ACF31F7}"/>
              </a:ext>
            </a:extLst>
          </p:cNvPr>
          <p:cNvSpPr>
            <a:spLocks noGrp="1"/>
          </p:cNvSpPr>
          <p:nvPr>
            <p:ph type="sldNum" sz="quarter" idx="12"/>
          </p:nvPr>
        </p:nvSpPr>
        <p:spPr/>
        <p:txBody>
          <a:bodyPr/>
          <a:lstStyle/>
          <a:p>
            <a:fld id="{8A9D5553-C5C3-4820-8B2E-8C358F1C80CD}" type="slidenum">
              <a:rPr lang="en-US" smtClean="0"/>
              <a:t>‹#›</a:t>
            </a:fld>
            <a:endParaRPr lang="en-US"/>
          </a:p>
        </p:txBody>
      </p:sp>
    </p:spTree>
    <p:extLst>
      <p:ext uri="{BB962C8B-B14F-4D97-AF65-F5344CB8AC3E}">
        <p14:creationId xmlns:p14="http://schemas.microsoft.com/office/powerpoint/2010/main" val="2187585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lvl1pPr marL="576263" indent="0">
              <a:defRPr/>
            </a:lvl1pPr>
          </a:lstStyle>
          <a:p>
            <a:r>
              <a:rPr lang="en-US"/>
              <a:t>Click to edit Master title style</a:t>
            </a:r>
          </a:p>
        </p:txBody>
      </p:sp>
    </p:spTree>
    <p:extLst>
      <p:ext uri="{BB962C8B-B14F-4D97-AF65-F5344CB8AC3E}">
        <p14:creationId xmlns:p14="http://schemas.microsoft.com/office/powerpoint/2010/main" val="1528752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3135150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9081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8064646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5307401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image" Target="../media/image3.e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oleObject" Target="../embeddings/oleObject4.bin"/><Relationship Id="rId2" Type="http://schemas.openxmlformats.org/officeDocument/2006/relationships/slideLayout" Target="../slideLayouts/slideLayout6.xml"/><Relationship Id="rId16" Type="http://schemas.openxmlformats.org/officeDocument/2006/relationships/tags" Target="../tags/tag5.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vmlDrawing" Target="../drawings/vmlDrawing5.v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0" y="9938"/>
            <a:ext cx="12192000" cy="1138627"/>
          </a:xfrm>
          <a:prstGeom prst="rect">
            <a:avLst/>
          </a:prstGeom>
        </p:spPr>
        <p:txBody>
          <a:bodyPr vert="horz" lIns="0" tIns="0" rIns="0" bIns="0" rtlCol="0" anchor="ctr">
            <a:normAutofit/>
          </a:bodyPr>
          <a:lstStyle/>
          <a:p>
            <a:r>
              <a:rPr lang="fr-FR"/>
              <a:t>Modifiez le style du titre</a:t>
            </a:r>
            <a:endParaRPr lang="pt-PT"/>
          </a:p>
        </p:txBody>
      </p:sp>
      <p:sp>
        <p:nvSpPr>
          <p:cNvPr id="5" name="Text Placeholder 4">
            <a:extLst>
              <a:ext uri="{FF2B5EF4-FFF2-40B4-BE49-F238E27FC236}">
                <a16:creationId xmlns:a16="http://schemas.microsoft.com/office/drawing/2014/main" id="{A4D17236-A440-4453-A69C-BE3728C11608}"/>
              </a:ext>
            </a:extLst>
          </p:cNvPr>
          <p:cNvSpPr>
            <a:spLocks noGrp="1"/>
          </p:cNvSpPr>
          <p:nvPr userDrawn="1">
            <p:ph type="body" idx="1"/>
          </p:nvPr>
        </p:nvSpPr>
        <p:spPr>
          <a:xfrm>
            <a:off x="407988" y="1412875"/>
            <a:ext cx="11376024" cy="476408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424131" y="218662"/>
            <a:ext cx="517975" cy="561024"/>
          </a:xfrm>
          <a:prstGeom prst="rect">
            <a:avLst/>
          </a:prstGeom>
        </p:spPr>
      </p:pic>
      <p:sp>
        <p:nvSpPr>
          <p:cNvPr id="6" name="Retângulo 43">
            <a:extLst>
              <a:ext uri="{FF2B5EF4-FFF2-40B4-BE49-F238E27FC236}">
                <a16:creationId xmlns:a16="http://schemas.microsoft.com/office/drawing/2014/main" id="{C0C38E9B-303A-43FA-8A04-F291D262BF28}"/>
              </a:ext>
            </a:extLst>
          </p:cNvPr>
          <p:cNvSpPr/>
          <p:nvPr userDrawn="1"/>
        </p:nvSpPr>
        <p:spPr>
          <a:xfrm>
            <a:off x="11885045" y="6652906"/>
            <a:ext cx="144270" cy="138499"/>
          </a:xfrm>
          <a:prstGeom prst="rect">
            <a:avLst/>
          </a:prstGeom>
        </p:spPr>
        <p:txBody>
          <a:bodyPr wrap="none" lIns="0" tIns="0" rIns="0" bIns="0" anchor="ctr" anchorCtr="0">
            <a:spAutoFit/>
          </a:bodyPr>
          <a:lstStyle/>
          <a:p>
            <a: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fld id="{0502E5A9-B53C-401E-A0E0-4A359BB0A9E5}" type="slidenum">
              <a:rPr lang="en-US" sz="900" kern="1200" smtClean="0">
                <a:solidFill>
                  <a:schemeClr val="bg1">
                    <a:lumMod val="65000"/>
                  </a:schemeClr>
                </a:solidFill>
                <a:latin typeface="Ubuntu" panose="020B0504030602030204" pitchFamily="34" charset="0"/>
                <a:ea typeface="+mn-ea"/>
                <a:cs typeface="+mn-cs"/>
              </a:rPr>
              <a: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t>‹#›</a:t>
            </a:fld>
            <a:endParaRPr lang="en-US" sz="900" kern="1200">
              <a:solidFill>
                <a:schemeClr val="bg1">
                  <a:lumMod val="65000"/>
                </a:schemeClr>
              </a:solidFill>
              <a:latin typeface="Ubuntu" panose="020B0504030602030204" pitchFamily="34" charset="0"/>
              <a:ea typeface="+mn-ea"/>
              <a:cs typeface="+mn-cs"/>
            </a:endParaRPr>
          </a:p>
        </p:txBody>
      </p:sp>
      <p:sp>
        <p:nvSpPr>
          <p:cNvPr id="3" name="Rectangle 2">
            <a:extLst>
              <a:ext uri="{FF2B5EF4-FFF2-40B4-BE49-F238E27FC236}">
                <a16:creationId xmlns:a16="http://schemas.microsoft.com/office/drawing/2014/main" id="{9E377F9D-6D45-4AF8-B35B-5CBD763970E6}"/>
              </a:ext>
            </a:extLst>
          </p:cNvPr>
          <p:cNvSpPr/>
          <p:nvPr userDrawn="1"/>
        </p:nvSpPr>
        <p:spPr>
          <a:xfrm>
            <a:off x="0" y="101180"/>
            <a:ext cx="407988" cy="8808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8" name="Text Placeholder 7">
            <a:extLst>
              <a:ext uri="{FF2B5EF4-FFF2-40B4-BE49-F238E27FC236}">
                <a16:creationId xmlns:a16="http://schemas.microsoft.com/office/drawing/2014/main" id="{B24F2832-4768-42AC-BB57-CE3D73728765}"/>
              </a:ext>
            </a:extLst>
          </p:cNvPr>
          <p:cNvSpPr txBox="1">
            <a:spLocks/>
          </p:cNvSpPr>
          <p:nvPr userDrawn="1"/>
        </p:nvSpPr>
        <p:spPr>
          <a:xfrm>
            <a:off x="179965" y="6607854"/>
            <a:ext cx="10244193" cy="18746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900">
                <a:solidFill>
                  <a:schemeClr val="bg1">
                    <a:lumMod val="65000"/>
                  </a:schemeClr>
                </a:solidFill>
                <a:latin typeface="Ubuntu" panose="020B0504030602030204" pitchFamily="34" charset="0"/>
              </a:rPr>
              <a:t>Risk Controls Automation Proposal</a:t>
            </a:r>
          </a:p>
        </p:txBody>
      </p:sp>
      <p:sp>
        <p:nvSpPr>
          <p:cNvPr id="19" name="Rectangle 18">
            <a:extLst>
              <a:ext uri="{FF2B5EF4-FFF2-40B4-BE49-F238E27FC236}">
                <a16:creationId xmlns:a16="http://schemas.microsoft.com/office/drawing/2014/main" id="{658B7BD6-5A85-4EDD-949A-47766A29D59C}"/>
              </a:ext>
            </a:extLst>
          </p:cNvPr>
          <p:cNvSpPr/>
          <p:nvPr userDrawn="1"/>
        </p:nvSpPr>
        <p:spPr>
          <a:xfrm>
            <a:off x="9579228" y="6607854"/>
            <a:ext cx="2307042" cy="230832"/>
          </a:xfrm>
          <a:prstGeom prst="rect">
            <a:avLst/>
          </a:prstGeom>
        </p:spPr>
        <p:txBody>
          <a:bodyPr wrap="none">
            <a:spAutoFit/>
          </a:bodyPr>
          <a:lstStyle/>
          <a:p>
            <a: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900" kern="1200">
                <a:solidFill>
                  <a:schemeClr val="bg1">
                    <a:lumMod val="65000"/>
                  </a:schemeClr>
                </a:solidFill>
                <a:latin typeface="Ubuntu" panose="020B0504030602030204" pitchFamily="34" charset="0"/>
                <a:ea typeface="+mn-ea"/>
                <a:cs typeface="+mn-cs"/>
              </a:rPr>
              <a:t>©Capgemini 2020. All rights reserved    | </a:t>
            </a:r>
          </a:p>
        </p:txBody>
      </p:sp>
    </p:spTree>
    <p:extLst>
      <p:ext uri="{BB962C8B-B14F-4D97-AF65-F5344CB8AC3E}">
        <p14:creationId xmlns:p14="http://schemas.microsoft.com/office/powerpoint/2010/main" val="1618979163"/>
      </p:ext>
    </p:extLst>
  </p:cSld>
  <p:clrMap bg1="lt1" tx1="dk1" bg2="lt2" tx2="dk2" accent1="accent1" accent2="accent2" accent3="accent3" accent4="accent4" accent5="accent5" accent6="accent6" hlink="hlink" folHlink="folHlink"/>
  <p:sldLayoutIdLst>
    <p:sldLayoutId id="2147483662" r:id="rId1"/>
    <p:sldLayoutId id="2147483668" r:id="rId2"/>
    <p:sldLayoutId id="2147483667" r:id="rId3"/>
    <p:sldLayoutId id="2147483666" r:id="rId4"/>
  </p:sldLayoutIdLst>
  <p:txStyles>
    <p:titleStyle>
      <a:lvl1pPr marL="576263" indent="0" algn="l" defTabSz="914400" rtl="0" eaLnBrk="1" latinLnBrk="0" hangingPunct="1">
        <a:lnSpc>
          <a:spcPts val="3000"/>
        </a:lnSpc>
        <a:spcBef>
          <a:spcPct val="0"/>
        </a:spcBef>
        <a:spcAft>
          <a:spcPts val="600"/>
        </a:spcAft>
        <a:buNone/>
        <a:defRPr lang="pt-PT" sz="2000" kern="1200" dirty="0">
          <a:solidFill>
            <a:schemeClr val="accent1"/>
          </a:solidFill>
          <a:latin typeface="+mj-lt"/>
          <a:ea typeface="Verdana" panose="020B0604030504040204" pitchFamily="34" charset="0"/>
          <a:cs typeface="Ubuntu" panose="020B050403060203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Verdana" panose="020B0604030504040204" pitchFamily="34" charset="0"/>
          <a:cs typeface="Ubuntu" panose="020B0504030602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Verdana" panose="020B0604030504040204" pitchFamily="34" charset="0"/>
          <a:cs typeface="Ubuntu" panose="020B0504030602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Verdana" panose="020B0604030504040204" pitchFamily="34" charset="0"/>
          <a:cs typeface="Ubuntu" panose="020B0504030602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j-lt"/>
          <a:ea typeface="Verdana" panose="020B0604030504040204" pitchFamily="34" charset="0"/>
          <a:cs typeface="Ubuntu" panose="020B0504030602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j-lt"/>
          <a:ea typeface="Verdana" panose="020B0604030504040204" pitchFamily="34" charset="0"/>
          <a:cs typeface="Ubuntu" panose="020B0504030602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0">
          <p15:clr>
            <a:srgbClr val="F26B43"/>
          </p15:clr>
        </p15:guide>
        <p15:guide id="2" pos="257">
          <p15:clr>
            <a:srgbClr val="F26B43"/>
          </p15:clr>
        </p15:guide>
        <p15:guide id="3" pos="7423">
          <p15:clr>
            <a:srgbClr val="F26B43"/>
          </p15:clr>
        </p15:guide>
        <p15:guide id="4" orient="horz" pos="255">
          <p15:clr>
            <a:srgbClr val="F26B43"/>
          </p15:clr>
        </p15:guide>
        <p15:guide id="5" orient="horz" pos="6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7" name="think-cell Slide" r:id="rId17" imgW="270" imgH="270" progId="TCLayout.ActiveDocument.1">
                  <p:embed/>
                </p:oleObj>
              </mc:Choice>
              <mc:Fallback>
                <p:oleObj name="think-cell Slide" r:id="rId17" imgW="270" imgH="270" progId="TCLayout.ActiveDocument.1">
                  <p:embed/>
                  <p:pic>
                    <p:nvPicPr>
                      <p:cNvPr id="21" name="Object 20"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333000"/>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65000"/>
                  </a:srgbClr>
                </a:solidFill>
                <a:cs typeface="Arial" panose="020B0604020202020204" pitchFamily="34" charset="0"/>
              </a:rPr>
              <a:pPr algn="r"/>
              <a:t>‹#›</a:t>
            </a:fld>
            <a:endParaRPr lang="en-US" sz="800">
              <a:solidFill>
                <a:srgbClr val="FFFFFF">
                  <a:lumMod val="65000"/>
                </a:srgb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a:solidFill>
                  <a:srgbClr val="FFFFFF">
                    <a:lumMod val="65000"/>
                  </a:srgbClr>
                </a:solidFill>
              </a:rPr>
              <a:t>© Capgemini 2020. All rights reserved  </a:t>
            </a:r>
            <a:r>
              <a:rPr lang="en-US">
                <a:solidFill>
                  <a:srgbClr val="12ABDB"/>
                </a:solidFill>
              </a:rPr>
              <a:t>|</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0" y="0"/>
            <a:ext cx="11352585" cy="11970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  Click to insert </a:t>
            </a:r>
            <a:r>
              <a:rPr lang="fr-FR" err="1"/>
              <a:t>title</a:t>
            </a:r>
            <a:endParaRPr lang="en-US"/>
          </a:p>
        </p:txBody>
      </p:sp>
      <p:sp>
        <p:nvSpPr>
          <p:cNvPr id="3" name="Rectangle 2"/>
          <p:cNvSpPr/>
          <p:nvPr userDrawn="1"/>
        </p:nvSpPr>
        <p:spPr>
          <a:xfrm>
            <a:off x="143435" y="6586422"/>
            <a:ext cx="6096000" cy="215444"/>
          </a:xfrm>
          <a:prstGeom prst="rect">
            <a:avLst/>
          </a:prstGeom>
        </p:spPr>
        <p:txBody>
          <a:bodyPr>
            <a:spAutoFit/>
          </a:bodyPr>
          <a:lstStyle/>
          <a:p>
            <a:r>
              <a:rPr lang="en-US" sz="800" kern="1200" err="1">
                <a:solidFill>
                  <a:srgbClr val="FFFFFF">
                    <a:lumMod val="65000"/>
                  </a:srgbClr>
                </a:solidFill>
                <a:latin typeface="+mn-lt"/>
                <a:ea typeface="+mn-ea"/>
                <a:cs typeface="+mn-cs"/>
              </a:rPr>
              <a:t>Capgemini’s</a:t>
            </a:r>
            <a:r>
              <a:rPr lang="en-US" sz="800" kern="1200">
                <a:solidFill>
                  <a:srgbClr val="FFFFFF">
                    <a:lumMod val="65000"/>
                  </a:srgbClr>
                </a:solidFill>
                <a:latin typeface="+mn-lt"/>
                <a:ea typeface="+mn-ea"/>
                <a:cs typeface="+mn-cs"/>
              </a:rPr>
              <a:t> Response to Wells Fargo – ATOM BLADE RFP| Oct 2020</a:t>
            </a:r>
          </a:p>
        </p:txBody>
      </p:sp>
    </p:spTree>
    <p:extLst>
      <p:ext uri="{BB962C8B-B14F-4D97-AF65-F5344CB8AC3E}">
        <p14:creationId xmlns:p14="http://schemas.microsoft.com/office/powerpoint/2010/main" val="341307074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72" r:id="rId13"/>
  </p:sldLayoutIdLst>
  <p:txStyles>
    <p:titleStyle>
      <a:lvl1pPr marL="45720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07989" y="103230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32" name="Title Placeholder 1">
            <a:extLst>
              <a:ext uri="{FF2B5EF4-FFF2-40B4-BE49-F238E27FC236}">
                <a16:creationId xmlns:a16="http://schemas.microsoft.com/office/drawing/2014/main" id="{7FC32837-8AFD-4906-BC8E-AC52E49AE1DC}"/>
              </a:ext>
            </a:extLst>
          </p:cNvPr>
          <p:cNvSpPr>
            <a:spLocks noGrp="1"/>
          </p:cNvSpPr>
          <p:nvPr>
            <p:ph type="title"/>
          </p:nvPr>
        </p:nvSpPr>
        <p:spPr>
          <a:xfrm>
            <a:off x="407988" y="133173"/>
            <a:ext cx="10534507" cy="660921"/>
          </a:xfrm>
          <a:prstGeom prst="rect">
            <a:avLst/>
          </a:prstGeom>
        </p:spPr>
        <p:txBody>
          <a:bodyPr vert="horz" lIns="91440" tIns="0" rIns="0" bIns="0" rtlCol="0" anchor="t" anchorCtr="0">
            <a:noAutofit/>
          </a:bodyPr>
          <a:lstStyle/>
          <a:p>
            <a:pPr lvl="0">
              <a:lnSpc>
                <a:spcPts val="2999"/>
              </a:lnSpc>
            </a:pPr>
            <a:r>
              <a:rPr lang="en-US"/>
              <a:t>Click to edit Master title style</a:t>
            </a:r>
            <a:endParaRPr lang="pt-PT"/>
          </a:p>
        </p:txBody>
      </p:sp>
      <p:sp>
        <p:nvSpPr>
          <p:cNvPr id="14" name="Retângulo 43">
            <a:extLst>
              <a:ext uri="{FF2B5EF4-FFF2-40B4-BE49-F238E27FC236}">
                <a16:creationId xmlns:a16="http://schemas.microsoft.com/office/drawing/2014/main" id="{06B51B84-697D-40BF-834F-F2B129C57FD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15" name="Text Placeholder 7">
            <a:extLst>
              <a:ext uri="{FF2B5EF4-FFF2-40B4-BE49-F238E27FC236}">
                <a16:creationId xmlns:a16="http://schemas.microsoft.com/office/drawing/2014/main" id="{0437B5F1-5C68-4287-B927-91E59BD6B5DD}"/>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9. All rights reserved  </a:t>
            </a:r>
            <a:r>
              <a:rPr lang="en-US">
                <a:solidFill>
                  <a:schemeClr val="accent2"/>
                </a:solidFill>
              </a:rPr>
              <a:t>|</a:t>
            </a:r>
          </a:p>
        </p:txBody>
      </p:sp>
      <p:grpSp>
        <p:nvGrpSpPr>
          <p:cNvPr id="6" name="Groupe 1">
            <a:extLst>
              <a:ext uri="{FF2B5EF4-FFF2-40B4-BE49-F238E27FC236}">
                <a16:creationId xmlns:a16="http://schemas.microsoft.com/office/drawing/2014/main" id="{A9D72BAF-1F77-4324-BBE4-A07EAD03E40B}"/>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67C1BDCE-836C-4342-BC08-D19BEF77212B}"/>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DF2E0D30-8977-41E0-8B22-5F9E3A95B57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2765725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7" r:id="rId14"/>
    <p:sldLayoutId id="2147483718" r:id="rId15"/>
    <p:sldLayoutId id="2147483719" r:id="rId16"/>
    <p:sldLayoutId id="2147483720" r:id="rId17"/>
  </p:sldLayoutIdLst>
  <p:hf sldNum="0" hdr="0" ftr="0" dt="0"/>
  <p:txStyles>
    <p:titleStyle>
      <a:lvl1pPr algn="l" defTabSz="914104" rtl="0" eaLnBrk="1" latinLnBrk="0" hangingPunct="1">
        <a:lnSpc>
          <a:spcPct val="90000"/>
        </a:lnSpc>
        <a:spcBef>
          <a:spcPct val="0"/>
        </a:spcBef>
        <a:buNone/>
        <a:defRPr lang="pt-PT" sz="2400" b="0" kern="1200" dirty="0">
          <a:solidFill>
            <a:schemeClr val="tx2"/>
          </a:solidFill>
          <a:latin typeface="+mj-lt"/>
          <a:ea typeface="Verdana" panose="020B0604030504040204" pitchFamily="34" charset="0"/>
          <a:cs typeface="Segoe UI Semibold" panose="020B0702040204020203" pitchFamily="34" charset="0"/>
        </a:defRPr>
      </a:lvl1pPr>
    </p:titleStyle>
    <p:bodyStyle>
      <a:lvl1pPr marL="0" indent="0" algn="l" defTabSz="914104" rtl="0" eaLnBrk="1" latinLnBrk="0" hangingPunct="1">
        <a:lnSpc>
          <a:spcPts val="2199"/>
        </a:lnSpc>
        <a:spcBef>
          <a:spcPts val="0"/>
        </a:spcBef>
        <a:spcAft>
          <a:spcPts val="600"/>
        </a:spcAft>
        <a:buFont typeface="Arial" panose="020B0604020202020204" pitchFamily="34" charset="0"/>
        <a:buNone/>
        <a:defRPr sz="1799" kern="1200">
          <a:solidFill>
            <a:schemeClr val="tx1"/>
          </a:solidFill>
          <a:latin typeface="+mn-lt"/>
          <a:ea typeface="+mn-ea"/>
          <a:cs typeface="+mn-cs"/>
        </a:defRPr>
      </a:lvl1pPr>
      <a:lvl2pPr marL="233288" indent="-228525" algn="l" defTabSz="914104" rtl="0" eaLnBrk="1" latinLnBrk="0" hangingPunct="1">
        <a:lnSpc>
          <a:spcPts val="1999"/>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051" indent="-223765" algn="l" defTabSz="914104"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339" indent="-233288" algn="l" defTabSz="914104"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731" indent="-228525" algn="l" defTabSz="91410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378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83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885"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938"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04" rtl="0" eaLnBrk="1" latinLnBrk="0" hangingPunct="1">
        <a:defRPr sz="1799" kern="1200">
          <a:solidFill>
            <a:schemeClr val="tx1"/>
          </a:solidFill>
          <a:latin typeface="+mn-lt"/>
          <a:ea typeface="+mn-ea"/>
          <a:cs typeface="+mn-cs"/>
        </a:defRPr>
      </a:lvl1pPr>
      <a:lvl2pPr marL="457051" algn="l" defTabSz="914104" rtl="0" eaLnBrk="1" latinLnBrk="0" hangingPunct="1">
        <a:defRPr sz="1799" kern="1200">
          <a:solidFill>
            <a:schemeClr val="tx1"/>
          </a:solidFill>
          <a:latin typeface="+mn-lt"/>
          <a:ea typeface="+mn-ea"/>
          <a:cs typeface="+mn-cs"/>
        </a:defRPr>
      </a:lvl2pPr>
      <a:lvl3pPr marL="914104" algn="l" defTabSz="914104" rtl="0" eaLnBrk="1" latinLnBrk="0" hangingPunct="1">
        <a:defRPr sz="1799" kern="1200">
          <a:solidFill>
            <a:schemeClr val="tx1"/>
          </a:solidFill>
          <a:latin typeface="+mn-lt"/>
          <a:ea typeface="+mn-ea"/>
          <a:cs typeface="+mn-cs"/>
        </a:defRPr>
      </a:lvl3pPr>
      <a:lvl4pPr marL="1371155" algn="l" defTabSz="914104" rtl="0" eaLnBrk="1" latinLnBrk="0" hangingPunct="1">
        <a:defRPr sz="1799" kern="1200">
          <a:solidFill>
            <a:schemeClr val="tx1"/>
          </a:solidFill>
          <a:latin typeface="+mn-lt"/>
          <a:ea typeface="+mn-ea"/>
          <a:cs typeface="+mn-cs"/>
        </a:defRPr>
      </a:lvl4pPr>
      <a:lvl5pPr marL="1828205" algn="l" defTabSz="914104" rtl="0" eaLnBrk="1" latinLnBrk="0" hangingPunct="1">
        <a:defRPr sz="1799" kern="1200">
          <a:solidFill>
            <a:schemeClr val="tx1"/>
          </a:solidFill>
          <a:latin typeface="+mn-lt"/>
          <a:ea typeface="+mn-ea"/>
          <a:cs typeface="+mn-cs"/>
        </a:defRPr>
      </a:lvl5pPr>
      <a:lvl6pPr marL="2285258" algn="l" defTabSz="914104" rtl="0" eaLnBrk="1" latinLnBrk="0" hangingPunct="1">
        <a:defRPr sz="1799" kern="1200">
          <a:solidFill>
            <a:schemeClr val="tx1"/>
          </a:solidFill>
          <a:latin typeface="+mn-lt"/>
          <a:ea typeface="+mn-ea"/>
          <a:cs typeface="+mn-cs"/>
        </a:defRPr>
      </a:lvl6pPr>
      <a:lvl7pPr marL="2742309" algn="l" defTabSz="914104" rtl="0" eaLnBrk="1" latinLnBrk="0" hangingPunct="1">
        <a:defRPr sz="1799" kern="1200">
          <a:solidFill>
            <a:schemeClr val="tx1"/>
          </a:solidFill>
          <a:latin typeface="+mn-lt"/>
          <a:ea typeface="+mn-ea"/>
          <a:cs typeface="+mn-cs"/>
        </a:defRPr>
      </a:lvl7pPr>
      <a:lvl8pPr marL="3199360" algn="l" defTabSz="914104" rtl="0" eaLnBrk="1" latinLnBrk="0" hangingPunct="1">
        <a:defRPr sz="1799" kern="1200">
          <a:solidFill>
            <a:schemeClr val="tx1"/>
          </a:solidFill>
          <a:latin typeface="+mn-lt"/>
          <a:ea typeface="+mn-ea"/>
          <a:cs typeface="+mn-cs"/>
        </a:defRPr>
      </a:lvl8pPr>
      <a:lvl9pPr marL="3656411" algn="l" defTabSz="91410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81D9D2-C8CF-432B-B67D-96C51A7536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6A11E1C-9CDE-498F-BBD6-7E8678434B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F6A0C3-7A8A-428A-AA32-C87C2BFF1F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9D5AC0-47B7-4188-B8C1-B446542BE319}" type="datetimeFigureOut">
              <a:rPr lang="en-US" smtClean="0"/>
              <a:t>2/11/2021</a:t>
            </a:fld>
            <a:endParaRPr lang="en-US"/>
          </a:p>
        </p:txBody>
      </p:sp>
      <p:sp>
        <p:nvSpPr>
          <p:cNvPr id="5" name="Footer Placeholder 4">
            <a:extLst>
              <a:ext uri="{FF2B5EF4-FFF2-40B4-BE49-F238E27FC236}">
                <a16:creationId xmlns:a16="http://schemas.microsoft.com/office/drawing/2014/main" id="{AF802CF6-624A-4FFB-A42A-5908A92C7F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8A5335-5ECA-4B89-8FD3-5B7FC35B7C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9D5553-C5C3-4820-8B2E-8C358F1C80CD}" type="slidenum">
              <a:rPr lang="en-US" smtClean="0"/>
              <a:t>‹#›</a:t>
            </a:fld>
            <a:endParaRPr lang="en-US"/>
          </a:p>
        </p:txBody>
      </p:sp>
    </p:spTree>
    <p:extLst>
      <p:ext uri="{BB962C8B-B14F-4D97-AF65-F5344CB8AC3E}">
        <p14:creationId xmlns:p14="http://schemas.microsoft.com/office/powerpoint/2010/main" val="260830540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7.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gif"/><Relationship Id="rId7" Type="http://schemas.openxmlformats.org/officeDocument/2006/relationships/image" Target="../media/image43.png"/><Relationship Id="rId12"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42.png"/><Relationship Id="rId11" Type="http://schemas.microsoft.com/office/2007/relationships/hdphoto" Target="../media/hdphoto3.wdp"/><Relationship Id="rId5" Type="http://schemas.openxmlformats.org/officeDocument/2006/relationships/image" Target="../media/image41.jpeg"/><Relationship Id="rId10" Type="http://schemas.openxmlformats.org/officeDocument/2006/relationships/image" Target="../media/image46.png"/><Relationship Id="rId4" Type="http://schemas.openxmlformats.org/officeDocument/2006/relationships/image" Target="../media/image40.jpeg"/><Relationship Id="rId9"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0DF89A-78B0-4117-B8CF-A7065F9F32F7}"/>
              </a:ext>
            </a:extLst>
          </p:cNvPr>
          <p:cNvSpPr/>
          <p:nvPr/>
        </p:nvSpPr>
        <p:spPr>
          <a:xfrm>
            <a:off x="4808" y="0"/>
            <a:ext cx="535966" cy="15633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D46638FE-E819-42BB-A757-BB6A8727508E}"/>
              </a:ext>
            </a:extLst>
          </p:cNvPr>
          <p:cNvGrpSpPr/>
          <p:nvPr/>
        </p:nvGrpSpPr>
        <p:grpSpPr>
          <a:xfrm>
            <a:off x="0" y="0"/>
            <a:ext cx="9154160" cy="6858000"/>
            <a:chOff x="0" y="2"/>
            <a:chExt cx="6983347" cy="7010489"/>
          </a:xfrm>
        </p:grpSpPr>
        <p:sp>
          <p:nvSpPr>
            <p:cNvPr id="4" name="Freeform: Shape 3">
              <a:extLst>
                <a:ext uri="{FF2B5EF4-FFF2-40B4-BE49-F238E27FC236}">
                  <a16:creationId xmlns:a16="http://schemas.microsoft.com/office/drawing/2014/main" id="{841BD7A6-5EDC-4594-BFF7-1CCC0BBC4C8F}"/>
                </a:ext>
              </a:extLst>
            </p:cNvPr>
            <p:cNvSpPr/>
            <p:nvPr/>
          </p:nvSpPr>
          <p:spPr>
            <a:xfrm>
              <a:off x="0" y="2"/>
              <a:ext cx="6983347" cy="7010489"/>
            </a:xfrm>
            <a:custGeom>
              <a:avLst/>
              <a:gdLst>
                <a:gd name="connsiteX0" fmla="*/ 0 w 6870603"/>
                <a:gd name="connsiteY0" fmla="*/ 0 h 6857999"/>
                <a:gd name="connsiteX1" fmla="*/ 6870603 w 6870603"/>
                <a:gd name="connsiteY1" fmla="*/ 0 h 6857999"/>
                <a:gd name="connsiteX2" fmla="*/ 3441606 w 6870603"/>
                <a:gd name="connsiteY2" fmla="*/ 6857999 h 6857999"/>
                <a:gd name="connsiteX3" fmla="*/ 0 w 687060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870603" h="6857999">
                  <a:moveTo>
                    <a:pt x="0" y="0"/>
                  </a:moveTo>
                  <a:lnTo>
                    <a:pt x="6870603" y="0"/>
                  </a:lnTo>
                  <a:lnTo>
                    <a:pt x="3441606" y="6857999"/>
                  </a:lnTo>
                  <a:lnTo>
                    <a:pt x="0" y="6857999"/>
                  </a:lnTo>
                  <a:close/>
                </a:path>
              </a:pathLst>
            </a:custGeom>
            <a:blipFill dpi="0" rotWithShape="1">
              <a:blip r:embed="rId2">
                <a:duotone>
                  <a:schemeClr val="accent4">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5" name="Title 6">
              <a:extLst>
                <a:ext uri="{FF2B5EF4-FFF2-40B4-BE49-F238E27FC236}">
                  <a16:creationId xmlns:a16="http://schemas.microsoft.com/office/drawing/2014/main" id="{872BB764-3B9B-499F-9E9B-0A4207804252}"/>
                </a:ext>
              </a:extLst>
            </p:cNvPr>
            <p:cNvSpPr txBox="1">
              <a:spLocks/>
            </p:cNvSpPr>
            <p:nvPr/>
          </p:nvSpPr>
          <p:spPr>
            <a:xfrm>
              <a:off x="415785" y="4545429"/>
              <a:ext cx="2039218" cy="799977"/>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a:ln>
                    <a:noFill/>
                  </a:ln>
                  <a:solidFill>
                    <a:schemeClr val="accent1"/>
                  </a:solidFill>
                  <a:effectLst/>
                  <a:uLnTx/>
                  <a:uFillTx/>
                  <a:latin typeface="+mj-lt"/>
                  <a:ea typeface="+mj-ea"/>
                  <a:cs typeface="+mj-cs"/>
                </a:defRPr>
              </a:lvl1pPr>
            </a:lstStyle>
            <a:p>
              <a:pPr lvl="0">
                <a:defRPr/>
              </a:pPr>
              <a:r>
                <a:rPr lang="en-US" b="1">
                  <a:solidFill>
                    <a:schemeClr val="tx1"/>
                  </a:solidFill>
                </a:rPr>
                <a:t>Agenda</a:t>
              </a:r>
              <a:endParaRPr kumimoji="0" lang="en-US" sz="3000" b="1" i="0" u="none" strike="noStrike" kern="1200" cap="none" spc="0" normalizeH="0" baseline="0" noProof="0">
                <a:ln>
                  <a:noFill/>
                </a:ln>
                <a:solidFill>
                  <a:schemeClr val="tx1"/>
                </a:solidFill>
                <a:effectLst/>
                <a:uLnTx/>
                <a:uFillTx/>
                <a:latin typeface="Verdana"/>
              </a:endParaRPr>
            </a:p>
          </p:txBody>
        </p:sp>
        <p:sp>
          <p:nvSpPr>
            <p:cNvPr id="6" name="Freeform: Shape 5">
              <a:extLst>
                <a:ext uri="{FF2B5EF4-FFF2-40B4-BE49-F238E27FC236}">
                  <a16:creationId xmlns:a16="http://schemas.microsoft.com/office/drawing/2014/main" id="{9201C38A-4951-4AD9-8939-CCA075D7CD9C}"/>
                </a:ext>
              </a:extLst>
            </p:cNvPr>
            <p:cNvSpPr/>
            <p:nvPr/>
          </p:nvSpPr>
          <p:spPr>
            <a:xfrm>
              <a:off x="3049011" y="3001892"/>
              <a:ext cx="2320719" cy="3856108"/>
            </a:xfrm>
            <a:custGeom>
              <a:avLst/>
              <a:gdLst>
                <a:gd name="connsiteX0" fmla="*/ 1928053 w 2320719"/>
                <a:gd name="connsiteY0" fmla="*/ 0 h 3856108"/>
                <a:gd name="connsiteX1" fmla="*/ 2320719 w 2320719"/>
                <a:gd name="connsiteY1" fmla="*/ 0 h 3856108"/>
                <a:gd name="connsiteX2" fmla="*/ 392666 w 2320719"/>
                <a:gd name="connsiteY2" fmla="*/ 3856108 h 3856108"/>
                <a:gd name="connsiteX3" fmla="*/ 0 w 2320719"/>
                <a:gd name="connsiteY3" fmla="*/ 3856108 h 3856108"/>
              </a:gdLst>
              <a:ahLst/>
              <a:cxnLst>
                <a:cxn ang="0">
                  <a:pos x="connsiteX0" y="connsiteY0"/>
                </a:cxn>
                <a:cxn ang="0">
                  <a:pos x="connsiteX1" y="connsiteY1"/>
                </a:cxn>
                <a:cxn ang="0">
                  <a:pos x="connsiteX2" y="connsiteY2"/>
                </a:cxn>
                <a:cxn ang="0">
                  <a:pos x="connsiteX3" y="connsiteY3"/>
                </a:cxn>
              </a:cxnLst>
              <a:rect l="l" t="t" r="r" b="b"/>
              <a:pathLst>
                <a:path w="2320719" h="3856108">
                  <a:moveTo>
                    <a:pt x="1928053" y="0"/>
                  </a:moveTo>
                  <a:lnTo>
                    <a:pt x="2320719" y="0"/>
                  </a:lnTo>
                  <a:lnTo>
                    <a:pt x="392666" y="3856108"/>
                  </a:lnTo>
                  <a:lnTo>
                    <a:pt x="0" y="3856108"/>
                  </a:lnTo>
                  <a:close/>
                </a:path>
              </a:pathLst>
            </a:custGeom>
            <a:gradFill>
              <a:gsLst>
                <a:gs pos="0">
                  <a:schemeClr val="accent1">
                    <a:alpha val="57000"/>
                  </a:schemeClr>
                </a:gs>
                <a:gs pos="90000">
                  <a:schemeClr val="accent4">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7" name="Group 6">
            <a:extLst>
              <a:ext uri="{FF2B5EF4-FFF2-40B4-BE49-F238E27FC236}">
                <a16:creationId xmlns:a16="http://schemas.microsoft.com/office/drawing/2014/main" id="{C78A22E5-2503-4DA0-99C5-F0C362DF0A48}"/>
              </a:ext>
            </a:extLst>
          </p:cNvPr>
          <p:cNvGrpSpPr/>
          <p:nvPr/>
        </p:nvGrpSpPr>
        <p:grpSpPr>
          <a:xfrm>
            <a:off x="4280392" y="1688207"/>
            <a:ext cx="7559646" cy="555448"/>
            <a:chOff x="4138711" y="1867113"/>
            <a:chExt cx="7559646" cy="555448"/>
          </a:xfrm>
        </p:grpSpPr>
        <p:sp>
          <p:nvSpPr>
            <p:cNvPr id="8" name="Text Placeholder 43">
              <a:extLst>
                <a:ext uri="{FF2B5EF4-FFF2-40B4-BE49-F238E27FC236}">
                  <a16:creationId xmlns:a16="http://schemas.microsoft.com/office/drawing/2014/main" id="{981D5D4A-66D5-436E-9685-0239B48C42C3}"/>
                </a:ext>
              </a:extLst>
            </p:cNvPr>
            <p:cNvSpPr txBox="1">
              <a:spLocks/>
            </p:cNvSpPr>
            <p:nvPr/>
          </p:nvSpPr>
          <p:spPr>
            <a:xfrm>
              <a:off x="4138711" y="1867113"/>
              <a:ext cx="7559646" cy="555448"/>
            </a:xfrm>
            <a:prstGeom prst="roundRect">
              <a:avLst>
                <a:gd name="adj" fmla="val 50000"/>
              </a:avLst>
            </a:prstGeom>
            <a:solidFill>
              <a:srgbClr val="FFFFFF"/>
            </a:solidFill>
            <a:ln w="9525">
              <a:solidFill>
                <a:srgbClr val="E6E7E7">
                  <a:lumMod val="50000"/>
                </a:srgbClr>
              </a:solidFill>
              <a:prstDash val="dash"/>
            </a:ln>
          </p:spPr>
          <p:txBody>
            <a:bodyPr anchor="ctr"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66738">
                <a:defRPr/>
              </a:pPr>
              <a:r>
                <a:rPr lang="en-US" sz="1600" b="1">
                  <a:solidFill>
                    <a:prstClr val="black"/>
                  </a:solidFill>
                </a:rPr>
                <a:t>Current State</a:t>
              </a:r>
              <a:endParaRPr lang="en-GB" sz="1600" b="1">
                <a:solidFill>
                  <a:prstClr val="black"/>
                </a:solidFill>
              </a:endParaRPr>
            </a:p>
          </p:txBody>
        </p:sp>
        <p:sp>
          <p:nvSpPr>
            <p:cNvPr id="9" name="Oval 8">
              <a:extLst>
                <a:ext uri="{FF2B5EF4-FFF2-40B4-BE49-F238E27FC236}">
                  <a16:creationId xmlns:a16="http://schemas.microsoft.com/office/drawing/2014/main" id="{B0418583-AE54-44DA-98A3-A61270A021B6}"/>
                </a:ext>
              </a:extLst>
            </p:cNvPr>
            <p:cNvSpPr>
              <a:spLocks/>
            </p:cNvSpPr>
            <p:nvPr/>
          </p:nvSpPr>
          <p:spPr>
            <a:xfrm>
              <a:off x="4139455" y="1867113"/>
              <a:ext cx="596190" cy="555012"/>
            </a:xfrm>
            <a:prstGeom prst="ellipse">
              <a:avLst/>
            </a:prstGeom>
            <a:solidFill>
              <a:srgbClr val="002060"/>
            </a:solidFill>
            <a:ln w="12700" cap="flat" cmpd="sng" algn="ctr">
              <a:solidFill>
                <a:schemeClr val="accent1"/>
              </a:solidFill>
              <a:prstDash val="solid"/>
              <a:miter lim="800000"/>
            </a:ln>
            <a:effectLst/>
          </p:spPr>
          <p:txBody>
            <a:bodyPr wrap="square" lIns="45720" r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chemeClr val="bg1"/>
                  </a:solidFill>
                  <a:effectLst/>
                  <a:uLnTx/>
                  <a:uFillTx/>
                  <a:latin typeface="Verdana"/>
                  <a:ea typeface="+mn-ea"/>
                  <a:cs typeface="Arial" panose="020B0604020202020204" pitchFamily="34" charset="0"/>
                </a:rPr>
                <a:t>01</a:t>
              </a:r>
            </a:p>
          </p:txBody>
        </p:sp>
      </p:grpSp>
      <p:grpSp>
        <p:nvGrpSpPr>
          <p:cNvPr id="10" name="Group 9">
            <a:extLst>
              <a:ext uri="{FF2B5EF4-FFF2-40B4-BE49-F238E27FC236}">
                <a16:creationId xmlns:a16="http://schemas.microsoft.com/office/drawing/2014/main" id="{BD68B76D-8B75-46C4-A524-1165D06C27C6}"/>
              </a:ext>
            </a:extLst>
          </p:cNvPr>
          <p:cNvGrpSpPr/>
          <p:nvPr/>
        </p:nvGrpSpPr>
        <p:grpSpPr>
          <a:xfrm>
            <a:off x="4280392" y="2348174"/>
            <a:ext cx="7559646" cy="555448"/>
            <a:chOff x="4138711" y="1867113"/>
            <a:chExt cx="7559646" cy="555448"/>
          </a:xfrm>
        </p:grpSpPr>
        <p:sp>
          <p:nvSpPr>
            <p:cNvPr id="11" name="Text Placeholder 43">
              <a:extLst>
                <a:ext uri="{FF2B5EF4-FFF2-40B4-BE49-F238E27FC236}">
                  <a16:creationId xmlns:a16="http://schemas.microsoft.com/office/drawing/2014/main" id="{4417E88F-1CA9-45D8-9C0E-84E1AE62EBD9}"/>
                </a:ext>
              </a:extLst>
            </p:cNvPr>
            <p:cNvSpPr txBox="1">
              <a:spLocks/>
            </p:cNvSpPr>
            <p:nvPr/>
          </p:nvSpPr>
          <p:spPr>
            <a:xfrm>
              <a:off x="4138711" y="1867113"/>
              <a:ext cx="7559646" cy="555448"/>
            </a:xfrm>
            <a:prstGeom prst="roundRect">
              <a:avLst>
                <a:gd name="adj" fmla="val 50000"/>
              </a:avLst>
            </a:prstGeom>
            <a:solidFill>
              <a:srgbClr val="FFFFFF"/>
            </a:solidFill>
            <a:ln w="9525">
              <a:solidFill>
                <a:srgbClr val="E6E7E7">
                  <a:lumMod val="50000"/>
                </a:srgbClr>
              </a:solidFill>
              <a:prstDash val="dash"/>
            </a:ln>
          </p:spPr>
          <p:txBody>
            <a:bodyPr anchor="ctr"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66738">
                <a:defRPr/>
              </a:pPr>
              <a:r>
                <a:rPr lang="en-US" sz="1600" b="1">
                  <a:solidFill>
                    <a:prstClr val="black"/>
                  </a:solidFill>
                </a:rPr>
                <a:t>Business Imperatives</a:t>
              </a:r>
            </a:p>
          </p:txBody>
        </p:sp>
        <p:sp>
          <p:nvSpPr>
            <p:cNvPr id="12" name="Oval 11">
              <a:extLst>
                <a:ext uri="{FF2B5EF4-FFF2-40B4-BE49-F238E27FC236}">
                  <a16:creationId xmlns:a16="http://schemas.microsoft.com/office/drawing/2014/main" id="{2C48480D-3A8E-4C52-BDC6-520497BE69F7}"/>
                </a:ext>
              </a:extLst>
            </p:cNvPr>
            <p:cNvSpPr>
              <a:spLocks/>
            </p:cNvSpPr>
            <p:nvPr/>
          </p:nvSpPr>
          <p:spPr>
            <a:xfrm>
              <a:off x="4139455" y="1867113"/>
              <a:ext cx="596190" cy="555012"/>
            </a:xfrm>
            <a:prstGeom prst="ellipse">
              <a:avLst/>
            </a:prstGeom>
            <a:solidFill>
              <a:schemeClr val="accent2"/>
            </a:solidFill>
            <a:ln w="12700" cap="flat" cmpd="sng" algn="ctr">
              <a:solidFill>
                <a:schemeClr val="accent2"/>
              </a:solidFill>
              <a:prstDash val="solid"/>
              <a:miter lim="800000"/>
            </a:ln>
            <a:effectLst/>
          </p:spPr>
          <p:txBody>
            <a:bodyPr wrap="square" lIns="45720" r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chemeClr val="bg1"/>
                  </a:solidFill>
                  <a:effectLst/>
                  <a:uLnTx/>
                  <a:uFillTx/>
                  <a:latin typeface="Verdana"/>
                  <a:ea typeface="+mn-ea"/>
                  <a:cs typeface="Arial" panose="020B0604020202020204" pitchFamily="34" charset="0"/>
                </a:rPr>
                <a:t>02</a:t>
              </a:r>
            </a:p>
          </p:txBody>
        </p:sp>
      </p:grpSp>
      <p:grpSp>
        <p:nvGrpSpPr>
          <p:cNvPr id="13" name="Group 12">
            <a:extLst>
              <a:ext uri="{FF2B5EF4-FFF2-40B4-BE49-F238E27FC236}">
                <a16:creationId xmlns:a16="http://schemas.microsoft.com/office/drawing/2014/main" id="{6D46D083-B4E4-42BE-B075-D75E034FC3E6}"/>
              </a:ext>
            </a:extLst>
          </p:cNvPr>
          <p:cNvGrpSpPr/>
          <p:nvPr/>
        </p:nvGrpSpPr>
        <p:grpSpPr>
          <a:xfrm>
            <a:off x="4280392" y="3008141"/>
            <a:ext cx="7559646" cy="555448"/>
            <a:chOff x="4138711" y="1867113"/>
            <a:chExt cx="7559646" cy="555448"/>
          </a:xfrm>
        </p:grpSpPr>
        <p:sp>
          <p:nvSpPr>
            <p:cNvPr id="14" name="Text Placeholder 43">
              <a:extLst>
                <a:ext uri="{FF2B5EF4-FFF2-40B4-BE49-F238E27FC236}">
                  <a16:creationId xmlns:a16="http://schemas.microsoft.com/office/drawing/2014/main" id="{DB268EEF-BD04-42CE-868C-9361930A6ADE}"/>
                </a:ext>
              </a:extLst>
            </p:cNvPr>
            <p:cNvSpPr txBox="1">
              <a:spLocks/>
            </p:cNvSpPr>
            <p:nvPr/>
          </p:nvSpPr>
          <p:spPr>
            <a:xfrm>
              <a:off x="4138711" y="1867113"/>
              <a:ext cx="7559646" cy="555448"/>
            </a:xfrm>
            <a:prstGeom prst="roundRect">
              <a:avLst>
                <a:gd name="adj" fmla="val 50000"/>
              </a:avLst>
            </a:prstGeom>
            <a:solidFill>
              <a:srgbClr val="FFFFFF"/>
            </a:solidFill>
            <a:ln w="9525">
              <a:solidFill>
                <a:srgbClr val="E6E7E7">
                  <a:lumMod val="50000"/>
                </a:srgbClr>
              </a:solidFill>
              <a:prstDash val="dash"/>
            </a:ln>
          </p:spPr>
          <p:txBody>
            <a:bodyPr anchor="ctr"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66738" lvl="0">
                <a:defRPr/>
              </a:pPr>
              <a:r>
                <a:rPr lang="en-US" sz="1600" b="1">
                  <a:solidFill>
                    <a:prstClr val="black"/>
                  </a:solidFill>
                </a:rPr>
                <a:t>Key Solution Characteristics</a:t>
              </a:r>
            </a:p>
          </p:txBody>
        </p:sp>
        <p:sp>
          <p:nvSpPr>
            <p:cNvPr id="15" name="Oval 14">
              <a:extLst>
                <a:ext uri="{FF2B5EF4-FFF2-40B4-BE49-F238E27FC236}">
                  <a16:creationId xmlns:a16="http://schemas.microsoft.com/office/drawing/2014/main" id="{A1FADAD4-46B7-4FA4-879C-665F9325691C}"/>
                </a:ext>
              </a:extLst>
            </p:cNvPr>
            <p:cNvSpPr>
              <a:spLocks/>
            </p:cNvSpPr>
            <p:nvPr/>
          </p:nvSpPr>
          <p:spPr>
            <a:xfrm>
              <a:off x="4139455" y="1867113"/>
              <a:ext cx="596190" cy="555012"/>
            </a:xfrm>
            <a:prstGeom prst="ellipse">
              <a:avLst/>
            </a:prstGeom>
            <a:solidFill>
              <a:schemeClr val="accent3">
                <a:lumMod val="75000"/>
                <a:lumOff val="25000"/>
              </a:schemeClr>
            </a:solidFill>
            <a:ln w="12700" cap="flat" cmpd="sng" algn="ctr">
              <a:solidFill>
                <a:schemeClr val="accent3">
                  <a:lumMod val="75000"/>
                  <a:lumOff val="25000"/>
                </a:schemeClr>
              </a:solidFill>
              <a:prstDash val="solid"/>
              <a:miter lim="800000"/>
            </a:ln>
            <a:effectLst/>
          </p:spPr>
          <p:txBody>
            <a:bodyPr wrap="square" lIns="45720" r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chemeClr val="bg1"/>
                  </a:solidFill>
                  <a:effectLst/>
                  <a:uLnTx/>
                  <a:uFillTx/>
                  <a:latin typeface="Verdana"/>
                  <a:ea typeface="+mn-ea"/>
                  <a:cs typeface="Arial" panose="020B0604020202020204" pitchFamily="34" charset="0"/>
                </a:rPr>
                <a:t>03</a:t>
              </a:r>
            </a:p>
          </p:txBody>
        </p:sp>
      </p:grpSp>
      <p:grpSp>
        <p:nvGrpSpPr>
          <p:cNvPr id="16" name="Group 15">
            <a:extLst>
              <a:ext uri="{FF2B5EF4-FFF2-40B4-BE49-F238E27FC236}">
                <a16:creationId xmlns:a16="http://schemas.microsoft.com/office/drawing/2014/main" id="{9875DC84-5177-4611-8666-C8DA5359FBF8}"/>
              </a:ext>
            </a:extLst>
          </p:cNvPr>
          <p:cNvGrpSpPr/>
          <p:nvPr/>
        </p:nvGrpSpPr>
        <p:grpSpPr>
          <a:xfrm>
            <a:off x="4280392" y="3668108"/>
            <a:ext cx="7559646" cy="555448"/>
            <a:chOff x="4138711" y="1867113"/>
            <a:chExt cx="7559646" cy="555448"/>
          </a:xfrm>
        </p:grpSpPr>
        <p:sp>
          <p:nvSpPr>
            <p:cNvPr id="17" name="Text Placeholder 43">
              <a:extLst>
                <a:ext uri="{FF2B5EF4-FFF2-40B4-BE49-F238E27FC236}">
                  <a16:creationId xmlns:a16="http://schemas.microsoft.com/office/drawing/2014/main" id="{CB55FC94-01DE-4BC9-A749-CF59040349C1}"/>
                </a:ext>
              </a:extLst>
            </p:cNvPr>
            <p:cNvSpPr txBox="1">
              <a:spLocks/>
            </p:cNvSpPr>
            <p:nvPr/>
          </p:nvSpPr>
          <p:spPr>
            <a:xfrm>
              <a:off x="4138711" y="1867113"/>
              <a:ext cx="7559646" cy="555448"/>
            </a:xfrm>
            <a:prstGeom prst="roundRect">
              <a:avLst>
                <a:gd name="adj" fmla="val 50000"/>
              </a:avLst>
            </a:prstGeom>
            <a:solidFill>
              <a:srgbClr val="FFFFFF"/>
            </a:solidFill>
            <a:ln w="9525">
              <a:solidFill>
                <a:srgbClr val="E6E7E7">
                  <a:lumMod val="50000"/>
                </a:srgbClr>
              </a:solidFill>
              <a:prstDash val="dash"/>
            </a:ln>
          </p:spPr>
          <p:txBody>
            <a:bodyPr anchor="ctr"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66738" lvl="0">
                <a:defRPr/>
              </a:pPr>
              <a:r>
                <a:rPr lang="en-US" sz="1600" b="1">
                  <a:solidFill>
                    <a:prstClr val="black"/>
                  </a:solidFill>
                </a:rPr>
                <a:t>Conceptual Solution Architecture</a:t>
              </a:r>
            </a:p>
          </p:txBody>
        </p:sp>
        <p:sp>
          <p:nvSpPr>
            <p:cNvPr id="18" name="Oval 17">
              <a:extLst>
                <a:ext uri="{FF2B5EF4-FFF2-40B4-BE49-F238E27FC236}">
                  <a16:creationId xmlns:a16="http://schemas.microsoft.com/office/drawing/2014/main" id="{F04C39B2-AE67-4980-B546-1FE5ACC4F428}"/>
                </a:ext>
              </a:extLst>
            </p:cNvPr>
            <p:cNvSpPr>
              <a:spLocks/>
            </p:cNvSpPr>
            <p:nvPr/>
          </p:nvSpPr>
          <p:spPr>
            <a:xfrm>
              <a:off x="4139455" y="1867113"/>
              <a:ext cx="596190" cy="555012"/>
            </a:xfrm>
            <a:prstGeom prst="ellipse">
              <a:avLst/>
            </a:prstGeom>
            <a:solidFill>
              <a:srgbClr val="BA20BC"/>
            </a:solidFill>
            <a:ln w="12700" cap="flat" cmpd="sng" algn="ctr">
              <a:solidFill>
                <a:srgbClr val="BA20BC"/>
              </a:solidFill>
              <a:prstDash val="solid"/>
              <a:miter lim="800000"/>
            </a:ln>
            <a:effectLst/>
          </p:spPr>
          <p:txBody>
            <a:bodyPr wrap="square" lIns="45720" r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1"/>
                  </a:solidFill>
                  <a:effectLst/>
                  <a:uLnTx/>
                  <a:uFillTx/>
                  <a:latin typeface="Verdana"/>
                  <a:ea typeface="+mn-ea"/>
                  <a:cs typeface="Arial" panose="020B0604020202020204" pitchFamily="34" charset="0"/>
                </a:rPr>
                <a:t>04</a:t>
              </a:r>
            </a:p>
          </p:txBody>
        </p:sp>
      </p:grpSp>
    </p:spTree>
    <p:extLst>
      <p:ext uri="{BB962C8B-B14F-4D97-AF65-F5344CB8AC3E}">
        <p14:creationId xmlns:p14="http://schemas.microsoft.com/office/powerpoint/2010/main" val="4126289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352585" cy="537006"/>
          </a:xfrm>
        </p:spPr>
        <p:txBody>
          <a:bodyPr/>
          <a:lstStyle/>
          <a:p>
            <a:r>
              <a:rPr lang="en-US" sz="2000"/>
              <a:t>Out Understanding – Current State</a:t>
            </a:r>
          </a:p>
        </p:txBody>
      </p:sp>
      <p:sp>
        <p:nvSpPr>
          <p:cNvPr id="36" name="Rectangle 6"/>
          <p:cNvSpPr>
            <a:spLocks noChangeArrowheads="1"/>
          </p:cNvSpPr>
          <p:nvPr/>
        </p:nvSpPr>
        <p:spPr bwMode="gray">
          <a:xfrm>
            <a:off x="1102904" y="1139384"/>
            <a:ext cx="2407708" cy="4754880"/>
          </a:xfrm>
          <a:prstGeom prst="rect">
            <a:avLst/>
          </a:prstGeom>
          <a:gradFill flip="none" rotWithShape="1">
            <a:gsLst>
              <a:gs pos="29000">
                <a:srgbClr val="4F81BD">
                  <a:shade val="30000"/>
                  <a:satMod val="115000"/>
                </a:srgbClr>
              </a:gs>
              <a:gs pos="63000">
                <a:srgbClr val="4F81BD">
                  <a:shade val="67500"/>
                  <a:satMod val="115000"/>
                </a:srgbClr>
              </a:gs>
              <a:gs pos="100000">
                <a:srgbClr val="4F81BD">
                  <a:shade val="100000"/>
                  <a:satMod val="115000"/>
                </a:srgbClr>
              </a:gs>
            </a:gsLst>
            <a:lin ang="10800000" scaled="1"/>
            <a:tileRect/>
          </a:gradFill>
          <a:ln w="76200" algn="ctr">
            <a:noFill/>
            <a:miter lim="800000"/>
            <a:headEnd/>
            <a:tailEnd/>
          </a:ln>
          <a:effectLst>
            <a:outerShdw blurRad="50800" dist="38100" dir="8100000" algn="tr" rotWithShape="0">
              <a:prstClr val="black">
                <a:alpha val="40000"/>
              </a:prstClr>
            </a:outerShdw>
          </a:effectLst>
        </p:spPr>
        <p:txBody>
          <a:bodyPr anchorCtr="1"/>
          <a:lstStyle/>
          <a:p>
            <a:pPr marL="1588" lvl="1" indent="112713" eaLnBrk="0" hangingPunct="0">
              <a:spcBef>
                <a:spcPct val="50000"/>
              </a:spcBef>
              <a:spcAft>
                <a:spcPct val="50000"/>
              </a:spcAft>
              <a:buClr>
                <a:srgbClr val="C0504D"/>
              </a:buClr>
              <a:defRPr/>
            </a:pPr>
            <a:endParaRPr lang="en-US" sz="1400" b="1" kern="0">
              <a:solidFill>
                <a:sysClr val="window" lastClr="FFFFFF"/>
              </a:solidFill>
            </a:endParaRPr>
          </a:p>
        </p:txBody>
      </p:sp>
      <p:sp>
        <p:nvSpPr>
          <p:cNvPr id="37" name="AutoShape 9"/>
          <p:cNvSpPr>
            <a:spLocks noChangeArrowheads="1"/>
          </p:cNvSpPr>
          <p:nvPr/>
        </p:nvSpPr>
        <p:spPr bwMode="gray">
          <a:xfrm>
            <a:off x="1324013" y="1408837"/>
            <a:ext cx="2575560" cy="914400"/>
          </a:xfrm>
          <a:prstGeom prst="homePlate">
            <a:avLst>
              <a:gd name="adj" fmla="val 43782"/>
            </a:avLst>
          </a:prstGeom>
          <a:solidFill>
            <a:srgbClr val="1F497D">
              <a:lumMod val="75000"/>
            </a:srgbClr>
          </a:solidFill>
          <a:ln w="76200" algn="ctr">
            <a:solidFill>
              <a:srgbClr val="1F497D">
                <a:lumMod val="75000"/>
              </a:srgbClr>
            </a:solidFill>
            <a:miter lim="800000"/>
            <a:headEnd/>
            <a:tailEnd/>
          </a:ln>
          <a:effectLst>
            <a:outerShdw blurRad="50800" dist="38100" dir="5400000" algn="t" rotWithShape="0">
              <a:prstClr val="black">
                <a:alpha val="40000"/>
              </a:prstClr>
            </a:outerShdw>
            <a:reflection blurRad="6350" stA="52000" endA="300" endPos="35000" dir="5400000" sy="-100000" algn="bl" rotWithShape="0"/>
          </a:effectLst>
        </p:spPr>
        <p:txBody>
          <a:bodyPr anchor="ctr"/>
          <a:lstStyle/>
          <a:p>
            <a:pPr algn="r" eaLnBrk="0" hangingPunct="0">
              <a:spcAft>
                <a:spcPct val="10000"/>
              </a:spcAft>
              <a:buClr>
                <a:srgbClr val="C0504D"/>
              </a:buClr>
              <a:defRPr/>
            </a:pPr>
            <a:endParaRPr lang="en-US" kern="0">
              <a:solidFill>
                <a:srgbClr val="1F497D">
                  <a:lumMod val="20000"/>
                  <a:lumOff val="80000"/>
                </a:srgbClr>
              </a:solidFill>
              <a:latin typeface="Calibri" pitchFamily="34" charset="0"/>
            </a:endParaRPr>
          </a:p>
        </p:txBody>
      </p:sp>
      <p:sp>
        <p:nvSpPr>
          <p:cNvPr id="39" name="AutoShape 10"/>
          <p:cNvSpPr>
            <a:spLocks noChangeArrowheads="1"/>
          </p:cNvSpPr>
          <p:nvPr/>
        </p:nvSpPr>
        <p:spPr bwMode="gray">
          <a:xfrm>
            <a:off x="1345771" y="3061736"/>
            <a:ext cx="2575560" cy="914400"/>
          </a:xfrm>
          <a:prstGeom prst="homePlate">
            <a:avLst>
              <a:gd name="adj" fmla="val 41924"/>
            </a:avLst>
          </a:prstGeom>
          <a:solidFill>
            <a:srgbClr val="1F497D">
              <a:lumMod val="75000"/>
            </a:srgbClr>
          </a:solidFill>
          <a:ln w="76200" algn="ctr">
            <a:solidFill>
              <a:srgbClr val="1F497D">
                <a:lumMod val="75000"/>
              </a:srgbClr>
            </a:solidFill>
            <a:miter lim="800000"/>
            <a:headEnd/>
            <a:tailEnd/>
          </a:ln>
          <a:effectLst>
            <a:outerShdw blurRad="50800" dist="38100" dir="5400000" algn="t" rotWithShape="0">
              <a:prstClr val="black">
                <a:alpha val="40000"/>
              </a:prstClr>
            </a:outerShdw>
          </a:effectLst>
        </p:spPr>
        <p:txBody>
          <a:bodyPr anchor="ctr"/>
          <a:lstStyle/>
          <a:p>
            <a:pPr algn="r" eaLnBrk="0" hangingPunct="0">
              <a:spcAft>
                <a:spcPct val="10000"/>
              </a:spcAft>
              <a:buClr>
                <a:srgbClr val="C0504D"/>
              </a:buClr>
              <a:defRPr/>
            </a:pPr>
            <a:endParaRPr lang="en-US" kern="0">
              <a:solidFill>
                <a:srgbClr val="1F497D">
                  <a:lumMod val="20000"/>
                  <a:lumOff val="80000"/>
                </a:srgbClr>
              </a:solidFill>
              <a:latin typeface="Calibri" pitchFamily="34" charset="0"/>
            </a:endParaRPr>
          </a:p>
        </p:txBody>
      </p:sp>
      <p:sp>
        <p:nvSpPr>
          <p:cNvPr id="41" name="AutoShape 12"/>
          <p:cNvSpPr>
            <a:spLocks noChangeArrowheads="1"/>
          </p:cNvSpPr>
          <p:nvPr/>
        </p:nvSpPr>
        <p:spPr bwMode="gray">
          <a:xfrm>
            <a:off x="1390031" y="4498960"/>
            <a:ext cx="2575560" cy="914400"/>
          </a:xfrm>
          <a:prstGeom prst="homePlate">
            <a:avLst>
              <a:gd name="adj" fmla="val 43686"/>
            </a:avLst>
          </a:prstGeom>
          <a:solidFill>
            <a:srgbClr val="1F497D">
              <a:lumMod val="75000"/>
            </a:srgbClr>
          </a:solidFill>
          <a:ln w="76200" algn="ctr">
            <a:solidFill>
              <a:srgbClr val="1F497D">
                <a:lumMod val="75000"/>
              </a:srgbClr>
            </a:solidFill>
            <a:miter lim="800000"/>
            <a:headEnd/>
            <a:tailEnd/>
          </a:ln>
          <a:effectLst>
            <a:outerShdw blurRad="50800" dist="38100" dir="5400000" algn="t" rotWithShape="0">
              <a:prstClr val="black">
                <a:alpha val="40000"/>
              </a:prstClr>
            </a:outerShdw>
          </a:effectLst>
        </p:spPr>
        <p:txBody>
          <a:bodyPr anchor="ctr"/>
          <a:lstStyle/>
          <a:p>
            <a:pPr algn="r" eaLnBrk="0" hangingPunct="0">
              <a:spcAft>
                <a:spcPct val="10000"/>
              </a:spcAft>
              <a:buClr>
                <a:srgbClr val="C0504D"/>
              </a:buClr>
              <a:defRPr/>
            </a:pPr>
            <a:endParaRPr lang="en-US" kern="0">
              <a:solidFill>
                <a:srgbClr val="1F497D">
                  <a:lumMod val="20000"/>
                  <a:lumOff val="80000"/>
                </a:srgbClr>
              </a:solidFill>
              <a:latin typeface="Calibri" pitchFamily="34" charset="0"/>
            </a:endParaRPr>
          </a:p>
        </p:txBody>
      </p:sp>
      <p:sp>
        <p:nvSpPr>
          <p:cNvPr id="42" name="Rectangle 41"/>
          <p:cNvSpPr/>
          <p:nvPr/>
        </p:nvSpPr>
        <p:spPr>
          <a:xfrm>
            <a:off x="1390031" y="2922442"/>
            <a:ext cx="963083" cy="1015663"/>
          </a:xfrm>
          <a:prstGeom prst="rect">
            <a:avLst/>
          </a:prstGeom>
          <a:effectLst>
            <a:glow rad="63500">
              <a:srgbClr val="4F81BD">
                <a:satMod val="175000"/>
                <a:alpha val="40000"/>
              </a:srgbClr>
            </a:glow>
            <a:reflection blurRad="6350" stA="52000" endA="300" endPos="35000" dir="5400000" sy="-100000" algn="bl" rotWithShape="0"/>
          </a:effectLst>
        </p:spPr>
        <p:txBody>
          <a:bodyPr wrap="square">
            <a:spAutoFit/>
          </a:bodyPr>
          <a:lstStyle/>
          <a:p>
            <a:pPr>
              <a:defRPr/>
            </a:pPr>
            <a:r>
              <a:rPr lang="en-US" sz="6000" kern="0">
                <a:solidFill>
                  <a:srgbClr val="1F497D">
                    <a:lumMod val="20000"/>
                    <a:lumOff val="80000"/>
                  </a:srgbClr>
                </a:solidFill>
                <a:effectLst>
                  <a:outerShdw blurRad="38100" dist="38100" dir="2700000" algn="tl">
                    <a:srgbClr val="000000">
                      <a:alpha val="43137"/>
                    </a:srgbClr>
                  </a:outerShdw>
                </a:effectLst>
                <a:latin typeface="Webdings" pitchFamily="18" charset="2"/>
              </a:rPr>
              <a:t></a:t>
            </a:r>
          </a:p>
        </p:txBody>
      </p:sp>
      <p:sp>
        <p:nvSpPr>
          <p:cNvPr id="43" name="Rectangle 42"/>
          <p:cNvSpPr/>
          <p:nvPr/>
        </p:nvSpPr>
        <p:spPr>
          <a:xfrm>
            <a:off x="1694495" y="1681371"/>
            <a:ext cx="2228850" cy="369332"/>
          </a:xfrm>
          <a:prstGeom prst="rect">
            <a:avLst/>
          </a:prstGeom>
        </p:spPr>
        <p:txBody>
          <a:bodyPr wrap="square">
            <a:spAutoFit/>
          </a:bodyPr>
          <a:lstStyle/>
          <a:p>
            <a:pPr algn="ctr" eaLnBrk="0" hangingPunct="0">
              <a:spcAft>
                <a:spcPct val="10000"/>
              </a:spcAft>
              <a:buClr>
                <a:srgbClr val="C0504D"/>
              </a:buClr>
              <a:defRPr/>
            </a:pPr>
            <a:r>
              <a:rPr lang="en-US" kern="0">
                <a:solidFill>
                  <a:schemeClr val="bg1"/>
                </a:solidFill>
                <a:latin typeface="Calibri" pitchFamily="34" charset="0"/>
              </a:rPr>
              <a:t>Use Cases</a:t>
            </a:r>
          </a:p>
        </p:txBody>
      </p:sp>
      <p:sp>
        <p:nvSpPr>
          <p:cNvPr id="44" name="Rectangle 43"/>
          <p:cNvSpPr/>
          <p:nvPr/>
        </p:nvSpPr>
        <p:spPr>
          <a:xfrm>
            <a:off x="2080027" y="3306424"/>
            <a:ext cx="1690527" cy="369332"/>
          </a:xfrm>
          <a:prstGeom prst="rect">
            <a:avLst/>
          </a:prstGeom>
        </p:spPr>
        <p:txBody>
          <a:bodyPr wrap="square">
            <a:spAutoFit/>
          </a:bodyPr>
          <a:lstStyle/>
          <a:p>
            <a:pPr algn="ctr" eaLnBrk="0" hangingPunct="0">
              <a:spcAft>
                <a:spcPct val="10000"/>
              </a:spcAft>
              <a:buClr>
                <a:srgbClr val="C0504D"/>
              </a:buClr>
              <a:defRPr/>
            </a:pPr>
            <a:r>
              <a:rPr lang="en-US" kern="0">
                <a:solidFill>
                  <a:schemeClr val="bg1"/>
                </a:solidFill>
                <a:latin typeface="Calibri" pitchFamily="34" charset="0"/>
              </a:rPr>
              <a:t>Current Status</a:t>
            </a:r>
          </a:p>
        </p:txBody>
      </p:sp>
      <p:sp>
        <p:nvSpPr>
          <p:cNvPr id="45" name="Rectangle 44"/>
          <p:cNvSpPr/>
          <p:nvPr/>
        </p:nvSpPr>
        <p:spPr>
          <a:xfrm>
            <a:off x="1885331" y="4630208"/>
            <a:ext cx="2228850" cy="674031"/>
          </a:xfrm>
          <a:prstGeom prst="rect">
            <a:avLst/>
          </a:prstGeom>
        </p:spPr>
        <p:txBody>
          <a:bodyPr wrap="square">
            <a:spAutoFit/>
          </a:bodyPr>
          <a:lstStyle/>
          <a:p>
            <a:pPr algn="ctr" eaLnBrk="0" hangingPunct="0">
              <a:spcAft>
                <a:spcPct val="10000"/>
              </a:spcAft>
              <a:buClr>
                <a:srgbClr val="C0504D"/>
              </a:buClr>
              <a:defRPr/>
            </a:pPr>
            <a:r>
              <a:rPr lang="en-US" kern="0">
                <a:solidFill>
                  <a:schemeClr val="bg1"/>
                </a:solidFill>
                <a:latin typeface="Calibri" pitchFamily="34" charset="0"/>
              </a:rPr>
              <a:t>Technology </a:t>
            </a:r>
          </a:p>
          <a:p>
            <a:pPr algn="ctr" eaLnBrk="0" hangingPunct="0">
              <a:spcAft>
                <a:spcPct val="10000"/>
              </a:spcAft>
              <a:buClr>
                <a:srgbClr val="C0504D"/>
              </a:buClr>
              <a:defRPr/>
            </a:pPr>
            <a:r>
              <a:rPr lang="en-US" kern="0">
                <a:solidFill>
                  <a:schemeClr val="bg1"/>
                </a:solidFill>
                <a:latin typeface="Calibri" pitchFamily="34" charset="0"/>
              </a:rPr>
              <a:t>Stack</a:t>
            </a:r>
          </a:p>
        </p:txBody>
      </p:sp>
      <p:sp>
        <p:nvSpPr>
          <p:cNvPr id="346114" name="AutoShape 2" descr="Image result for objective icons"/>
          <p:cNvSpPr>
            <a:spLocks noChangeAspect="1" noChangeArrowheads="1"/>
          </p:cNvSpPr>
          <p:nvPr/>
        </p:nvSpPr>
        <p:spPr bwMode="auto">
          <a:xfrm>
            <a:off x="1311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46116" name="Picture 1" descr="http://4vector.com/i/free-vector-target-with-arrow-clip-art_117562_Target_With_Arrow_clip_art_hight.png"/>
          <p:cNvPicPr>
            <a:picLocks noChangeAspect="1" noChangeArrowheads="1"/>
          </p:cNvPicPr>
          <p:nvPr/>
        </p:nvPicPr>
        <p:blipFill>
          <a:blip r:embed="rId2" cstate="print"/>
          <a:srcRect/>
          <a:stretch>
            <a:fillRect/>
          </a:stretch>
        </p:blipFill>
        <p:spPr bwMode="auto">
          <a:xfrm>
            <a:off x="1502970" y="1592931"/>
            <a:ext cx="791050" cy="674031"/>
          </a:xfrm>
          <a:prstGeom prst="rect">
            <a:avLst/>
          </a:prstGeom>
          <a:noFill/>
          <a:ln w="9525">
            <a:noFill/>
            <a:miter lim="800000"/>
            <a:headEnd/>
            <a:tailEnd/>
          </a:ln>
        </p:spPr>
      </p:pic>
      <p:sp>
        <p:nvSpPr>
          <p:cNvPr id="48" name="Rectangle 47"/>
          <p:cNvSpPr/>
          <p:nvPr/>
        </p:nvSpPr>
        <p:spPr>
          <a:xfrm>
            <a:off x="4536412" y="1393280"/>
            <a:ext cx="6361135" cy="1384995"/>
          </a:xfrm>
          <a:prstGeom prst="rect">
            <a:avLst/>
          </a:prstGeom>
        </p:spPr>
        <p:txBody>
          <a:bodyPr wrap="square" numCol="2">
            <a:spAutoFit/>
          </a:bodyPr>
          <a:lstStyle/>
          <a:p>
            <a:pPr marL="171450" indent="-171450" defTabSz="1218987">
              <a:buFont typeface="Wingdings" panose="05000000000000000000" pitchFamily="2" charset="2"/>
              <a:buChar char="ü"/>
            </a:pPr>
            <a:r>
              <a:rPr lang="en-US" sz="1200" dirty="0">
                <a:latin typeface="Verdana (Body)"/>
              </a:rPr>
              <a:t>CCODS currently being built for</a:t>
            </a:r>
          </a:p>
          <a:p>
            <a:pPr marL="628650" lvl="2" indent="-171450" defTabSz="1218987">
              <a:buFont typeface="Arial" panose="020B0604020202020204" pitchFamily="34" charset="0"/>
              <a:buChar char="•"/>
            </a:pPr>
            <a:r>
              <a:rPr lang="en-US" sz="1200" dirty="0">
                <a:latin typeface="Verdana (Body)"/>
              </a:rPr>
              <a:t>Statements Efficiency</a:t>
            </a:r>
          </a:p>
          <a:p>
            <a:pPr marL="628650" lvl="2" indent="-171450" defTabSz="1218987">
              <a:buFont typeface="Arial" panose="020B0604020202020204" pitchFamily="34" charset="0"/>
              <a:buChar char="•"/>
            </a:pPr>
            <a:r>
              <a:rPr lang="en-US" sz="1200" dirty="0">
                <a:latin typeface="Verdana (Body)"/>
              </a:rPr>
              <a:t>Card auto activation </a:t>
            </a:r>
          </a:p>
          <a:p>
            <a:pPr marL="628650" lvl="2" indent="-171450" defTabSz="1218987">
              <a:buFont typeface="Arial" panose="020B0604020202020204" pitchFamily="34" charset="0"/>
              <a:buChar char="•"/>
            </a:pPr>
            <a:r>
              <a:rPr lang="en-US" sz="1200" dirty="0">
                <a:latin typeface="Verdana (Body)"/>
              </a:rPr>
              <a:t>Extension of promo rates</a:t>
            </a:r>
          </a:p>
          <a:p>
            <a:pPr marL="171450" indent="-171450">
              <a:buFont typeface="Wingdings" panose="05000000000000000000" pitchFamily="2" charset="2"/>
              <a:buChar char="ü"/>
            </a:pPr>
            <a:endParaRPr lang="en-US" sz="1200" dirty="0"/>
          </a:p>
          <a:p>
            <a:pPr marL="171450" indent="-171450">
              <a:buFont typeface="Wingdings" panose="05000000000000000000" pitchFamily="2" charset="2"/>
              <a:buChar char="ü"/>
            </a:pPr>
            <a:endParaRPr lang="en-US" sz="1200" dirty="0"/>
          </a:p>
          <a:p>
            <a:pPr marL="171450" indent="-171450">
              <a:buFont typeface="Wingdings" panose="05000000000000000000" pitchFamily="2" charset="2"/>
              <a:buChar char="ü"/>
            </a:pPr>
            <a:endParaRPr lang="en-US" sz="1200" dirty="0"/>
          </a:p>
          <a:p>
            <a:pPr marL="171450" indent="-171450">
              <a:buFont typeface="Wingdings" panose="05000000000000000000" pitchFamily="2" charset="2"/>
              <a:buChar char="ü"/>
            </a:pPr>
            <a:r>
              <a:rPr lang="en-US" sz="1200" dirty="0"/>
              <a:t>Current and future use cases primarily revolve around</a:t>
            </a:r>
          </a:p>
          <a:p>
            <a:pPr marL="742950" lvl="1" indent="-285750">
              <a:buFont typeface="Arial" panose="020B0604020202020204" pitchFamily="34" charset="0"/>
              <a:buChar char="•"/>
            </a:pPr>
            <a:r>
              <a:rPr lang="en-US" sz="1200" dirty="0"/>
              <a:t>Integration of insights into customer interactions via digital channels</a:t>
            </a:r>
          </a:p>
          <a:p>
            <a:pPr marL="742950" lvl="1" indent="-285750">
              <a:buFont typeface="Arial" panose="020B0604020202020204" pitchFamily="34" charset="0"/>
              <a:buChar char="•"/>
            </a:pPr>
            <a:r>
              <a:rPr lang="en-US" sz="1200" dirty="0"/>
              <a:t>Operational data access</a:t>
            </a:r>
          </a:p>
        </p:txBody>
      </p:sp>
      <p:sp>
        <p:nvSpPr>
          <p:cNvPr id="49" name="Rectangle 48"/>
          <p:cNvSpPr/>
          <p:nvPr/>
        </p:nvSpPr>
        <p:spPr>
          <a:xfrm>
            <a:off x="4537769" y="2949006"/>
            <a:ext cx="3916275" cy="1384995"/>
          </a:xfrm>
          <a:prstGeom prst="rect">
            <a:avLst/>
          </a:prstGeom>
        </p:spPr>
        <p:txBody>
          <a:bodyPr wrap="square" numCol="2">
            <a:spAutoFit/>
          </a:bodyPr>
          <a:lstStyle/>
          <a:p>
            <a:pPr marL="171450" indent="-171450" defTabSz="1218987">
              <a:buFont typeface="Wingdings" panose="05000000000000000000" pitchFamily="2" charset="2"/>
              <a:buChar char="ü"/>
            </a:pPr>
            <a:r>
              <a:rPr lang="en-US" sz="1200">
                <a:latin typeface="Verdana (Body)"/>
              </a:rPr>
              <a:t>Statements Efficiency use case nearing end of development</a:t>
            </a:r>
          </a:p>
          <a:p>
            <a:pPr defTabSz="1218987"/>
            <a:endParaRPr lang="en-US" sz="1200">
              <a:latin typeface="Verdana (Body)"/>
            </a:endParaRPr>
          </a:p>
          <a:p>
            <a:pPr marL="171450" indent="-171450" defTabSz="1218987">
              <a:buFont typeface="Wingdings" panose="05000000000000000000" pitchFamily="2" charset="2"/>
              <a:buChar char="ü"/>
            </a:pPr>
            <a:r>
              <a:rPr lang="en-US" sz="1200">
                <a:latin typeface="Verdana (Body)"/>
              </a:rPr>
              <a:t>Patterns and technology stack have been proven out</a:t>
            </a:r>
            <a:br>
              <a:rPr lang="en-US" sz="1200">
                <a:latin typeface="Verdana (Body)"/>
              </a:rPr>
            </a:br>
            <a:endParaRPr lang="en-US" sz="1200">
              <a:latin typeface="Verdana (Body)"/>
            </a:endParaRPr>
          </a:p>
          <a:p>
            <a:pPr marL="171450" indent="-171450" defTabSz="1218987">
              <a:buFont typeface="Wingdings" panose="05000000000000000000" pitchFamily="2" charset="2"/>
              <a:buChar char="ü"/>
            </a:pPr>
            <a:endParaRPr lang="en-US" sz="1200">
              <a:latin typeface="Verdana (Body)"/>
            </a:endParaRPr>
          </a:p>
          <a:p>
            <a:pPr marL="171450" indent="-171450" defTabSz="1218987">
              <a:buFont typeface="Wingdings" panose="05000000000000000000" pitchFamily="2" charset="2"/>
              <a:buChar char="ü"/>
            </a:pPr>
            <a:endParaRPr lang="en-US" sz="1200">
              <a:latin typeface="Verdana (Body)"/>
            </a:endParaRPr>
          </a:p>
          <a:p>
            <a:pPr defTabSz="1218987"/>
            <a:endParaRPr lang="en-US" sz="1200">
              <a:latin typeface="Verdana (Body)"/>
            </a:endParaRPr>
          </a:p>
        </p:txBody>
      </p:sp>
      <p:sp>
        <p:nvSpPr>
          <p:cNvPr id="50" name="Rectangle 49"/>
          <p:cNvSpPr/>
          <p:nvPr/>
        </p:nvSpPr>
        <p:spPr>
          <a:xfrm>
            <a:off x="4520185" y="4566957"/>
            <a:ext cx="6361135" cy="1200329"/>
          </a:xfrm>
          <a:prstGeom prst="rect">
            <a:avLst/>
          </a:prstGeom>
        </p:spPr>
        <p:txBody>
          <a:bodyPr wrap="square">
            <a:spAutoFit/>
          </a:bodyPr>
          <a:lstStyle/>
          <a:p>
            <a:pPr marL="171450" lvl="0" indent="-171450">
              <a:buFont typeface="Wingdings" panose="05000000000000000000" pitchFamily="2" charset="2"/>
              <a:buChar char="ü"/>
              <a:defRPr/>
            </a:pPr>
            <a:r>
              <a:rPr lang="en-US" sz="1200"/>
              <a:t>Pivotal Cloud Foundry</a:t>
            </a:r>
          </a:p>
          <a:p>
            <a:pPr marL="171450" lvl="0" indent="-171450">
              <a:buFont typeface="Wingdings" panose="05000000000000000000" pitchFamily="2" charset="2"/>
              <a:buChar char="ü"/>
              <a:defRPr/>
            </a:pPr>
            <a:r>
              <a:rPr lang="en-US" sz="1200"/>
              <a:t>Spring Boot based Microservices</a:t>
            </a:r>
          </a:p>
          <a:p>
            <a:pPr marL="171450" lvl="0" indent="-171450">
              <a:buFont typeface="Wingdings" panose="05000000000000000000" pitchFamily="2" charset="2"/>
              <a:buChar char="ü"/>
              <a:defRPr/>
            </a:pPr>
            <a:r>
              <a:rPr lang="en-US" sz="1200"/>
              <a:t>Spring Batch</a:t>
            </a:r>
          </a:p>
          <a:p>
            <a:pPr marL="171450" lvl="0" indent="-171450">
              <a:buFont typeface="Wingdings" panose="05000000000000000000" pitchFamily="2" charset="2"/>
              <a:buChar char="ü"/>
              <a:defRPr/>
            </a:pPr>
            <a:r>
              <a:rPr lang="en-US" sz="1200"/>
              <a:t>MongoDB</a:t>
            </a:r>
          </a:p>
          <a:p>
            <a:pPr marL="171450" lvl="0" indent="-171450">
              <a:buFont typeface="Wingdings" panose="05000000000000000000" pitchFamily="2" charset="2"/>
              <a:buChar char="ü"/>
              <a:defRPr/>
            </a:pPr>
            <a:r>
              <a:rPr lang="en-US" sz="1200" err="1"/>
              <a:t>GraphQL</a:t>
            </a:r>
            <a:endParaRPr lang="en-US" sz="1200"/>
          </a:p>
          <a:p>
            <a:pPr lvl="0">
              <a:defRPr/>
            </a:pPr>
            <a:endParaRPr lang="en-US" sz="1200"/>
          </a:p>
        </p:txBody>
      </p:sp>
      <p:sp>
        <p:nvSpPr>
          <p:cNvPr id="17" name="Freeform 308">
            <a:extLst>
              <a:ext uri="{FF2B5EF4-FFF2-40B4-BE49-F238E27FC236}">
                <a16:creationId xmlns:a16="http://schemas.microsoft.com/office/drawing/2014/main" id="{AB46C142-F33B-45CE-8E65-E6C745F3C581}"/>
              </a:ext>
            </a:extLst>
          </p:cNvPr>
          <p:cNvSpPr/>
          <p:nvPr/>
        </p:nvSpPr>
        <p:spPr>
          <a:xfrm rot="1320000">
            <a:off x="1562264" y="4734313"/>
            <a:ext cx="530098" cy="465818"/>
          </a:xfrm>
          <a:custGeom>
            <a:avLst/>
            <a:gdLst>
              <a:gd name="connsiteX0" fmla="*/ 567747 w 1135494"/>
              <a:gd name="connsiteY0" fmla="*/ 441747 h 1135494"/>
              <a:gd name="connsiteX1" fmla="*/ 441747 w 1135494"/>
              <a:gd name="connsiteY1" fmla="*/ 567747 h 1135494"/>
              <a:gd name="connsiteX2" fmla="*/ 567747 w 1135494"/>
              <a:gd name="connsiteY2" fmla="*/ 693747 h 1135494"/>
              <a:gd name="connsiteX3" fmla="*/ 693747 w 1135494"/>
              <a:gd name="connsiteY3" fmla="*/ 567747 h 1135494"/>
              <a:gd name="connsiteX4" fmla="*/ 567747 w 1135494"/>
              <a:gd name="connsiteY4" fmla="*/ 441747 h 1135494"/>
              <a:gd name="connsiteX5" fmla="*/ 567747 w 1135494"/>
              <a:gd name="connsiteY5" fmla="*/ 315747 h 1135494"/>
              <a:gd name="connsiteX6" fmla="*/ 819747 w 1135494"/>
              <a:gd name="connsiteY6" fmla="*/ 567747 h 1135494"/>
              <a:gd name="connsiteX7" fmla="*/ 567747 w 1135494"/>
              <a:gd name="connsiteY7" fmla="*/ 819747 h 1135494"/>
              <a:gd name="connsiteX8" fmla="*/ 315747 w 1135494"/>
              <a:gd name="connsiteY8" fmla="*/ 567747 h 1135494"/>
              <a:gd name="connsiteX9" fmla="*/ 567747 w 1135494"/>
              <a:gd name="connsiteY9" fmla="*/ 315747 h 1135494"/>
              <a:gd name="connsiteX10" fmla="*/ 567747 w 1135494"/>
              <a:gd name="connsiteY10" fmla="*/ 261747 h 1135494"/>
              <a:gd name="connsiteX11" fmla="*/ 261747 w 1135494"/>
              <a:gd name="connsiteY11" fmla="*/ 567747 h 1135494"/>
              <a:gd name="connsiteX12" fmla="*/ 567747 w 1135494"/>
              <a:gd name="connsiteY12" fmla="*/ 873747 h 1135494"/>
              <a:gd name="connsiteX13" fmla="*/ 873747 w 1135494"/>
              <a:gd name="connsiteY13" fmla="*/ 567747 h 1135494"/>
              <a:gd name="connsiteX14" fmla="*/ 567747 w 1135494"/>
              <a:gd name="connsiteY14" fmla="*/ 261747 h 1135494"/>
              <a:gd name="connsiteX15" fmla="*/ 450569 w 1135494"/>
              <a:gd name="connsiteY15" fmla="*/ 0 h 1135494"/>
              <a:gd name="connsiteX16" fmla="*/ 458011 w 1135494"/>
              <a:gd name="connsiteY16" fmla="*/ 63229 h 1135494"/>
              <a:gd name="connsiteX17" fmla="*/ 458067 w 1135494"/>
              <a:gd name="connsiteY17" fmla="*/ 64321 h 1135494"/>
              <a:gd name="connsiteX18" fmla="*/ 458388 w 1135494"/>
              <a:gd name="connsiteY18" fmla="*/ 66424 h 1135494"/>
              <a:gd name="connsiteX19" fmla="*/ 459052 w 1135494"/>
              <a:gd name="connsiteY19" fmla="*/ 72072 h 1135494"/>
              <a:gd name="connsiteX20" fmla="*/ 459249 w 1135494"/>
              <a:gd name="connsiteY20" fmla="*/ 72072 h 1135494"/>
              <a:gd name="connsiteX21" fmla="*/ 459737 w 1135494"/>
              <a:gd name="connsiteY21" fmla="*/ 75268 h 1135494"/>
              <a:gd name="connsiteX22" fmla="*/ 567747 w 1135494"/>
              <a:gd name="connsiteY22" fmla="*/ 163298 h 1135494"/>
              <a:gd name="connsiteX23" fmla="*/ 675756 w 1135494"/>
              <a:gd name="connsiteY23" fmla="*/ 75268 h 1135494"/>
              <a:gd name="connsiteX24" fmla="*/ 676244 w 1135494"/>
              <a:gd name="connsiteY24" fmla="*/ 72072 h 1135494"/>
              <a:gd name="connsiteX25" fmla="*/ 676441 w 1135494"/>
              <a:gd name="connsiteY25" fmla="*/ 72072 h 1135494"/>
              <a:gd name="connsiteX26" fmla="*/ 677106 w 1135494"/>
              <a:gd name="connsiteY26" fmla="*/ 66424 h 1135494"/>
              <a:gd name="connsiteX27" fmla="*/ 677427 w 1135494"/>
              <a:gd name="connsiteY27" fmla="*/ 64322 h 1135494"/>
              <a:gd name="connsiteX28" fmla="*/ 677482 w 1135494"/>
              <a:gd name="connsiteY28" fmla="*/ 63229 h 1135494"/>
              <a:gd name="connsiteX29" fmla="*/ 684925 w 1135494"/>
              <a:gd name="connsiteY29" fmla="*/ 0 h 1135494"/>
              <a:gd name="connsiteX30" fmla="*/ 793367 w 1135494"/>
              <a:gd name="connsiteY30" fmla="*/ 33663 h 1135494"/>
              <a:gd name="connsiteX31" fmla="*/ 885964 w 1135494"/>
              <a:gd name="connsiteY31" fmla="*/ 83922 h 1135494"/>
              <a:gd name="connsiteX32" fmla="*/ 846904 w 1135494"/>
              <a:gd name="connsiteY32" fmla="*/ 133404 h 1135494"/>
              <a:gd name="connsiteX33" fmla="*/ 846171 w 1135494"/>
              <a:gd name="connsiteY33" fmla="*/ 134215 h 1135494"/>
              <a:gd name="connsiteX34" fmla="*/ 844909 w 1135494"/>
              <a:gd name="connsiteY34" fmla="*/ 135929 h 1135494"/>
              <a:gd name="connsiteX35" fmla="*/ 841387 w 1135494"/>
              <a:gd name="connsiteY35" fmla="*/ 140393 h 1135494"/>
              <a:gd name="connsiteX36" fmla="*/ 841526 w 1135494"/>
              <a:gd name="connsiteY36" fmla="*/ 140532 h 1135494"/>
              <a:gd name="connsiteX37" fmla="*/ 839610 w 1135494"/>
              <a:gd name="connsiteY37" fmla="*/ 143138 h 1135494"/>
              <a:gd name="connsiteX38" fmla="*/ 853739 w 1135494"/>
              <a:gd name="connsiteY38" fmla="*/ 281758 h 1135494"/>
              <a:gd name="connsiteX39" fmla="*/ 992359 w 1135494"/>
              <a:gd name="connsiteY39" fmla="*/ 295887 h 1135494"/>
              <a:gd name="connsiteX40" fmla="*/ 994965 w 1135494"/>
              <a:gd name="connsiteY40" fmla="*/ 293971 h 1135494"/>
              <a:gd name="connsiteX41" fmla="*/ 995104 w 1135494"/>
              <a:gd name="connsiteY41" fmla="*/ 294111 h 1135494"/>
              <a:gd name="connsiteX42" fmla="*/ 999568 w 1135494"/>
              <a:gd name="connsiteY42" fmla="*/ 290588 h 1135494"/>
              <a:gd name="connsiteX43" fmla="*/ 1001282 w 1135494"/>
              <a:gd name="connsiteY43" fmla="*/ 289328 h 1135494"/>
              <a:gd name="connsiteX44" fmla="*/ 1002093 w 1135494"/>
              <a:gd name="connsiteY44" fmla="*/ 288594 h 1135494"/>
              <a:gd name="connsiteX45" fmla="*/ 1051575 w 1135494"/>
              <a:gd name="connsiteY45" fmla="*/ 249535 h 1135494"/>
              <a:gd name="connsiteX46" fmla="*/ 1101831 w 1135494"/>
              <a:gd name="connsiteY46" fmla="*/ 342127 h 1135494"/>
              <a:gd name="connsiteX47" fmla="*/ 1135494 w 1135494"/>
              <a:gd name="connsiteY47" fmla="*/ 450570 h 1135494"/>
              <a:gd name="connsiteX48" fmla="*/ 1072267 w 1135494"/>
              <a:gd name="connsiteY48" fmla="*/ 458012 h 1135494"/>
              <a:gd name="connsiteX49" fmla="*/ 1071174 w 1135494"/>
              <a:gd name="connsiteY49" fmla="*/ 458067 h 1135494"/>
              <a:gd name="connsiteX50" fmla="*/ 1069071 w 1135494"/>
              <a:gd name="connsiteY50" fmla="*/ 458388 h 1135494"/>
              <a:gd name="connsiteX51" fmla="*/ 1063422 w 1135494"/>
              <a:gd name="connsiteY51" fmla="*/ 459053 h 1135494"/>
              <a:gd name="connsiteX52" fmla="*/ 1063422 w 1135494"/>
              <a:gd name="connsiteY52" fmla="*/ 459251 h 1135494"/>
              <a:gd name="connsiteX53" fmla="*/ 1060228 w 1135494"/>
              <a:gd name="connsiteY53" fmla="*/ 459738 h 1135494"/>
              <a:gd name="connsiteX54" fmla="*/ 972197 w 1135494"/>
              <a:gd name="connsiteY54" fmla="*/ 567748 h 1135494"/>
              <a:gd name="connsiteX55" fmla="*/ 1060228 w 1135494"/>
              <a:gd name="connsiteY55" fmla="*/ 675757 h 1135494"/>
              <a:gd name="connsiteX56" fmla="*/ 1063423 w 1135494"/>
              <a:gd name="connsiteY56" fmla="*/ 676246 h 1135494"/>
              <a:gd name="connsiteX57" fmla="*/ 1063422 w 1135494"/>
              <a:gd name="connsiteY57" fmla="*/ 676443 h 1135494"/>
              <a:gd name="connsiteX58" fmla="*/ 1069071 w 1135494"/>
              <a:gd name="connsiteY58" fmla="*/ 677108 h 1135494"/>
              <a:gd name="connsiteX59" fmla="*/ 1071174 w 1135494"/>
              <a:gd name="connsiteY59" fmla="*/ 677429 h 1135494"/>
              <a:gd name="connsiteX60" fmla="*/ 1072267 w 1135494"/>
              <a:gd name="connsiteY60" fmla="*/ 677484 h 1135494"/>
              <a:gd name="connsiteX61" fmla="*/ 1135494 w 1135494"/>
              <a:gd name="connsiteY61" fmla="*/ 684926 h 1135494"/>
              <a:gd name="connsiteX62" fmla="*/ 1101831 w 1135494"/>
              <a:gd name="connsiteY62" fmla="*/ 793367 h 1135494"/>
              <a:gd name="connsiteX63" fmla="*/ 1051574 w 1135494"/>
              <a:gd name="connsiteY63" fmla="*/ 885962 h 1135494"/>
              <a:gd name="connsiteX64" fmla="*/ 1002092 w 1135494"/>
              <a:gd name="connsiteY64" fmla="*/ 846902 h 1135494"/>
              <a:gd name="connsiteX65" fmla="*/ 1001280 w 1135494"/>
              <a:gd name="connsiteY65" fmla="*/ 846168 h 1135494"/>
              <a:gd name="connsiteX66" fmla="*/ 999566 w 1135494"/>
              <a:gd name="connsiteY66" fmla="*/ 844908 h 1135494"/>
              <a:gd name="connsiteX67" fmla="*/ 995102 w 1135494"/>
              <a:gd name="connsiteY67" fmla="*/ 841384 h 1135494"/>
              <a:gd name="connsiteX68" fmla="*/ 994963 w 1135494"/>
              <a:gd name="connsiteY68" fmla="*/ 841524 h 1135494"/>
              <a:gd name="connsiteX69" fmla="*/ 992358 w 1135494"/>
              <a:gd name="connsiteY69" fmla="*/ 839609 h 1135494"/>
              <a:gd name="connsiteX70" fmla="*/ 921128 w 1135494"/>
              <a:gd name="connsiteY70" fmla="*/ 821950 h 1135494"/>
              <a:gd name="connsiteX71" fmla="*/ 853737 w 1135494"/>
              <a:gd name="connsiteY71" fmla="*/ 853737 h 1135494"/>
              <a:gd name="connsiteX72" fmla="*/ 839609 w 1135494"/>
              <a:gd name="connsiteY72" fmla="*/ 992358 h 1135494"/>
              <a:gd name="connsiteX73" fmla="*/ 841525 w 1135494"/>
              <a:gd name="connsiteY73" fmla="*/ 994962 h 1135494"/>
              <a:gd name="connsiteX74" fmla="*/ 841385 w 1135494"/>
              <a:gd name="connsiteY74" fmla="*/ 995102 h 1135494"/>
              <a:gd name="connsiteX75" fmla="*/ 844909 w 1135494"/>
              <a:gd name="connsiteY75" fmla="*/ 999566 h 1135494"/>
              <a:gd name="connsiteX76" fmla="*/ 846170 w 1135494"/>
              <a:gd name="connsiteY76" fmla="*/ 1001280 h 1135494"/>
              <a:gd name="connsiteX77" fmla="*/ 846902 w 1135494"/>
              <a:gd name="connsiteY77" fmla="*/ 1002092 h 1135494"/>
              <a:gd name="connsiteX78" fmla="*/ 885962 w 1135494"/>
              <a:gd name="connsiteY78" fmla="*/ 1051574 h 1135494"/>
              <a:gd name="connsiteX79" fmla="*/ 793367 w 1135494"/>
              <a:gd name="connsiteY79" fmla="*/ 1101831 h 1135494"/>
              <a:gd name="connsiteX80" fmla="*/ 684926 w 1135494"/>
              <a:gd name="connsiteY80" fmla="*/ 1135494 h 1135494"/>
              <a:gd name="connsiteX81" fmla="*/ 677483 w 1135494"/>
              <a:gd name="connsiteY81" fmla="*/ 1072267 h 1135494"/>
              <a:gd name="connsiteX82" fmla="*/ 677428 w 1135494"/>
              <a:gd name="connsiteY82" fmla="*/ 1071174 h 1135494"/>
              <a:gd name="connsiteX83" fmla="*/ 677107 w 1135494"/>
              <a:gd name="connsiteY83" fmla="*/ 1069071 h 1135494"/>
              <a:gd name="connsiteX84" fmla="*/ 676442 w 1135494"/>
              <a:gd name="connsiteY84" fmla="*/ 1063423 h 1135494"/>
              <a:gd name="connsiteX85" fmla="*/ 676245 w 1135494"/>
              <a:gd name="connsiteY85" fmla="*/ 1063423 h 1135494"/>
              <a:gd name="connsiteX86" fmla="*/ 675757 w 1135494"/>
              <a:gd name="connsiteY86" fmla="*/ 1060228 h 1135494"/>
              <a:gd name="connsiteX87" fmla="*/ 567747 w 1135494"/>
              <a:gd name="connsiteY87" fmla="*/ 972197 h 1135494"/>
              <a:gd name="connsiteX88" fmla="*/ 459737 w 1135494"/>
              <a:gd name="connsiteY88" fmla="*/ 1060228 h 1135494"/>
              <a:gd name="connsiteX89" fmla="*/ 459249 w 1135494"/>
              <a:gd name="connsiteY89" fmla="*/ 1063423 h 1135494"/>
              <a:gd name="connsiteX90" fmla="*/ 459053 w 1135494"/>
              <a:gd name="connsiteY90" fmla="*/ 1063423 h 1135494"/>
              <a:gd name="connsiteX91" fmla="*/ 458388 w 1135494"/>
              <a:gd name="connsiteY91" fmla="*/ 1069071 h 1135494"/>
              <a:gd name="connsiteX92" fmla="*/ 458067 w 1135494"/>
              <a:gd name="connsiteY92" fmla="*/ 1071174 h 1135494"/>
              <a:gd name="connsiteX93" fmla="*/ 458012 w 1135494"/>
              <a:gd name="connsiteY93" fmla="*/ 1072267 h 1135494"/>
              <a:gd name="connsiteX94" fmla="*/ 450569 w 1135494"/>
              <a:gd name="connsiteY94" fmla="*/ 1135494 h 1135494"/>
              <a:gd name="connsiteX95" fmla="*/ 342127 w 1135494"/>
              <a:gd name="connsiteY95" fmla="*/ 1101831 h 1135494"/>
              <a:gd name="connsiteX96" fmla="*/ 249535 w 1135494"/>
              <a:gd name="connsiteY96" fmla="*/ 1051575 h 1135494"/>
              <a:gd name="connsiteX97" fmla="*/ 288594 w 1135494"/>
              <a:gd name="connsiteY97" fmla="*/ 1002093 h 1135494"/>
              <a:gd name="connsiteX98" fmla="*/ 289328 w 1135494"/>
              <a:gd name="connsiteY98" fmla="*/ 1001281 h 1135494"/>
              <a:gd name="connsiteX99" fmla="*/ 290588 w 1135494"/>
              <a:gd name="connsiteY99" fmla="*/ 999567 h 1135494"/>
              <a:gd name="connsiteX100" fmla="*/ 294112 w 1135494"/>
              <a:gd name="connsiteY100" fmla="*/ 995103 h 1135494"/>
              <a:gd name="connsiteX101" fmla="*/ 293972 w 1135494"/>
              <a:gd name="connsiteY101" fmla="*/ 994964 h 1135494"/>
              <a:gd name="connsiteX102" fmla="*/ 295887 w 1135494"/>
              <a:gd name="connsiteY102" fmla="*/ 992359 h 1135494"/>
              <a:gd name="connsiteX103" fmla="*/ 281760 w 1135494"/>
              <a:gd name="connsiteY103" fmla="*/ 853739 h 1135494"/>
              <a:gd name="connsiteX104" fmla="*/ 214369 w 1135494"/>
              <a:gd name="connsiteY104" fmla="*/ 821951 h 1135494"/>
              <a:gd name="connsiteX105" fmla="*/ 143138 w 1135494"/>
              <a:gd name="connsiteY105" fmla="*/ 839610 h 1135494"/>
              <a:gd name="connsiteX106" fmla="*/ 140534 w 1135494"/>
              <a:gd name="connsiteY106" fmla="*/ 841526 h 1135494"/>
              <a:gd name="connsiteX107" fmla="*/ 140394 w 1135494"/>
              <a:gd name="connsiteY107" fmla="*/ 841386 h 1135494"/>
              <a:gd name="connsiteX108" fmla="*/ 135930 w 1135494"/>
              <a:gd name="connsiteY108" fmla="*/ 844909 h 1135494"/>
              <a:gd name="connsiteX109" fmla="*/ 134216 w 1135494"/>
              <a:gd name="connsiteY109" fmla="*/ 846169 h 1135494"/>
              <a:gd name="connsiteX110" fmla="*/ 133405 w 1135494"/>
              <a:gd name="connsiteY110" fmla="*/ 846903 h 1135494"/>
              <a:gd name="connsiteX111" fmla="*/ 83922 w 1135494"/>
              <a:gd name="connsiteY111" fmla="*/ 885964 h 1135494"/>
              <a:gd name="connsiteX112" fmla="*/ 33663 w 1135494"/>
              <a:gd name="connsiteY112" fmla="*/ 793367 h 1135494"/>
              <a:gd name="connsiteX113" fmla="*/ 1 w 1135494"/>
              <a:gd name="connsiteY113" fmla="*/ 684926 h 1135494"/>
              <a:gd name="connsiteX114" fmla="*/ 63228 w 1135494"/>
              <a:gd name="connsiteY114" fmla="*/ 677484 h 1135494"/>
              <a:gd name="connsiteX115" fmla="*/ 64320 w 1135494"/>
              <a:gd name="connsiteY115" fmla="*/ 677429 h 1135494"/>
              <a:gd name="connsiteX116" fmla="*/ 66423 w 1135494"/>
              <a:gd name="connsiteY116" fmla="*/ 677108 h 1135494"/>
              <a:gd name="connsiteX117" fmla="*/ 72071 w 1135494"/>
              <a:gd name="connsiteY117" fmla="*/ 676443 h 1135494"/>
              <a:gd name="connsiteX118" fmla="*/ 72072 w 1135494"/>
              <a:gd name="connsiteY118" fmla="*/ 676246 h 1135494"/>
              <a:gd name="connsiteX119" fmla="*/ 75268 w 1135494"/>
              <a:gd name="connsiteY119" fmla="*/ 675758 h 1135494"/>
              <a:gd name="connsiteX120" fmla="*/ 163298 w 1135494"/>
              <a:gd name="connsiteY120" fmla="*/ 567748 h 1135494"/>
              <a:gd name="connsiteX121" fmla="*/ 75267 w 1135494"/>
              <a:gd name="connsiteY121" fmla="*/ 459737 h 1135494"/>
              <a:gd name="connsiteX122" fmla="*/ 72071 w 1135494"/>
              <a:gd name="connsiteY122" fmla="*/ 459251 h 1135494"/>
              <a:gd name="connsiteX123" fmla="*/ 72071 w 1135494"/>
              <a:gd name="connsiteY123" fmla="*/ 459053 h 1135494"/>
              <a:gd name="connsiteX124" fmla="*/ 66423 w 1135494"/>
              <a:gd name="connsiteY124" fmla="*/ 458389 h 1135494"/>
              <a:gd name="connsiteX125" fmla="*/ 64320 w 1135494"/>
              <a:gd name="connsiteY125" fmla="*/ 458068 h 1135494"/>
              <a:gd name="connsiteX126" fmla="*/ 63229 w 1135494"/>
              <a:gd name="connsiteY126" fmla="*/ 458011 h 1135494"/>
              <a:gd name="connsiteX127" fmla="*/ 0 w 1135494"/>
              <a:gd name="connsiteY127" fmla="*/ 450569 h 1135494"/>
              <a:gd name="connsiteX128" fmla="*/ 33663 w 1135494"/>
              <a:gd name="connsiteY128" fmla="*/ 342127 h 1135494"/>
              <a:gd name="connsiteX129" fmla="*/ 83922 w 1135494"/>
              <a:gd name="connsiteY129" fmla="*/ 249531 h 1135494"/>
              <a:gd name="connsiteX130" fmla="*/ 133407 w 1135494"/>
              <a:gd name="connsiteY130" fmla="*/ 288593 h 1135494"/>
              <a:gd name="connsiteX131" fmla="*/ 134217 w 1135494"/>
              <a:gd name="connsiteY131" fmla="*/ 289327 h 1135494"/>
              <a:gd name="connsiteX132" fmla="*/ 135931 w 1135494"/>
              <a:gd name="connsiteY132" fmla="*/ 290587 h 1135494"/>
              <a:gd name="connsiteX133" fmla="*/ 140395 w 1135494"/>
              <a:gd name="connsiteY133" fmla="*/ 294110 h 1135494"/>
              <a:gd name="connsiteX134" fmla="*/ 140535 w 1135494"/>
              <a:gd name="connsiteY134" fmla="*/ 293970 h 1135494"/>
              <a:gd name="connsiteX135" fmla="*/ 143139 w 1135494"/>
              <a:gd name="connsiteY135" fmla="*/ 295886 h 1135494"/>
              <a:gd name="connsiteX136" fmla="*/ 281761 w 1135494"/>
              <a:gd name="connsiteY136" fmla="*/ 281757 h 1135494"/>
              <a:gd name="connsiteX137" fmla="*/ 295889 w 1135494"/>
              <a:gd name="connsiteY137" fmla="*/ 143137 h 1135494"/>
              <a:gd name="connsiteX138" fmla="*/ 293974 w 1135494"/>
              <a:gd name="connsiteY138" fmla="*/ 140532 h 1135494"/>
              <a:gd name="connsiteX139" fmla="*/ 294113 w 1135494"/>
              <a:gd name="connsiteY139" fmla="*/ 140392 h 1135494"/>
              <a:gd name="connsiteX140" fmla="*/ 290590 w 1135494"/>
              <a:gd name="connsiteY140" fmla="*/ 135928 h 1135494"/>
              <a:gd name="connsiteX141" fmla="*/ 289330 w 1135494"/>
              <a:gd name="connsiteY141" fmla="*/ 134214 h 1135494"/>
              <a:gd name="connsiteX142" fmla="*/ 288596 w 1135494"/>
              <a:gd name="connsiteY142" fmla="*/ 133404 h 1135494"/>
              <a:gd name="connsiteX143" fmla="*/ 249535 w 1135494"/>
              <a:gd name="connsiteY143" fmla="*/ 83919 h 1135494"/>
              <a:gd name="connsiteX144" fmla="*/ 342127 w 1135494"/>
              <a:gd name="connsiteY144" fmla="*/ 33663 h 113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135494" h="1135494">
                <a:moveTo>
                  <a:pt x="567747" y="441747"/>
                </a:moveTo>
                <a:cubicBezTo>
                  <a:pt x="498159" y="441747"/>
                  <a:pt x="441747" y="498159"/>
                  <a:pt x="441747" y="567747"/>
                </a:cubicBezTo>
                <a:cubicBezTo>
                  <a:pt x="441747" y="637335"/>
                  <a:pt x="498159" y="693747"/>
                  <a:pt x="567747" y="693747"/>
                </a:cubicBezTo>
                <a:cubicBezTo>
                  <a:pt x="637335" y="693747"/>
                  <a:pt x="693747" y="637335"/>
                  <a:pt x="693747" y="567747"/>
                </a:cubicBezTo>
                <a:cubicBezTo>
                  <a:pt x="693747" y="498159"/>
                  <a:pt x="637335" y="441747"/>
                  <a:pt x="567747" y="441747"/>
                </a:cubicBezTo>
                <a:close/>
                <a:moveTo>
                  <a:pt x="567747" y="315747"/>
                </a:moveTo>
                <a:cubicBezTo>
                  <a:pt x="706923" y="315747"/>
                  <a:pt x="819747" y="428571"/>
                  <a:pt x="819747" y="567747"/>
                </a:cubicBezTo>
                <a:cubicBezTo>
                  <a:pt x="819747" y="706923"/>
                  <a:pt x="706923" y="819747"/>
                  <a:pt x="567747" y="819747"/>
                </a:cubicBezTo>
                <a:cubicBezTo>
                  <a:pt x="428571" y="819747"/>
                  <a:pt x="315747" y="706923"/>
                  <a:pt x="315747" y="567747"/>
                </a:cubicBezTo>
                <a:cubicBezTo>
                  <a:pt x="315747" y="428571"/>
                  <a:pt x="428571" y="315747"/>
                  <a:pt x="567747" y="315747"/>
                </a:cubicBezTo>
                <a:close/>
                <a:moveTo>
                  <a:pt x="567747" y="261747"/>
                </a:moveTo>
                <a:cubicBezTo>
                  <a:pt x="398748" y="261747"/>
                  <a:pt x="261747" y="398748"/>
                  <a:pt x="261747" y="567747"/>
                </a:cubicBezTo>
                <a:cubicBezTo>
                  <a:pt x="261747" y="736746"/>
                  <a:pt x="398748" y="873747"/>
                  <a:pt x="567747" y="873747"/>
                </a:cubicBezTo>
                <a:cubicBezTo>
                  <a:pt x="736746" y="873747"/>
                  <a:pt x="873747" y="736746"/>
                  <a:pt x="873747" y="567747"/>
                </a:cubicBezTo>
                <a:cubicBezTo>
                  <a:pt x="873747" y="398748"/>
                  <a:pt x="736746" y="261747"/>
                  <a:pt x="567747" y="261747"/>
                </a:cubicBezTo>
                <a:close/>
                <a:moveTo>
                  <a:pt x="450569" y="0"/>
                </a:moveTo>
                <a:lnTo>
                  <a:pt x="458011" y="63229"/>
                </a:lnTo>
                <a:lnTo>
                  <a:pt x="458067" y="64321"/>
                </a:lnTo>
                <a:lnTo>
                  <a:pt x="458388" y="66424"/>
                </a:lnTo>
                <a:lnTo>
                  <a:pt x="459052" y="72072"/>
                </a:lnTo>
                <a:lnTo>
                  <a:pt x="459249" y="72072"/>
                </a:lnTo>
                <a:lnTo>
                  <a:pt x="459737" y="75268"/>
                </a:lnTo>
                <a:cubicBezTo>
                  <a:pt x="470017" y="125507"/>
                  <a:pt x="514469" y="163298"/>
                  <a:pt x="567747" y="163298"/>
                </a:cubicBezTo>
                <a:cubicBezTo>
                  <a:pt x="621024" y="163298"/>
                  <a:pt x="665477" y="125507"/>
                  <a:pt x="675756" y="75268"/>
                </a:cubicBezTo>
                <a:lnTo>
                  <a:pt x="676244" y="72072"/>
                </a:lnTo>
                <a:lnTo>
                  <a:pt x="676441" y="72072"/>
                </a:lnTo>
                <a:lnTo>
                  <a:pt x="677106" y="66424"/>
                </a:lnTo>
                <a:lnTo>
                  <a:pt x="677427" y="64322"/>
                </a:lnTo>
                <a:lnTo>
                  <a:pt x="677482" y="63229"/>
                </a:lnTo>
                <a:lnTo>
                  <a:pt x="684925" y="0"/>
                </a:lnTo>
                <a:lnTo>
                  <a:pt x="793367" y="33663"/>
                </a:lnTo>
                <a:lnTo>
                  <a:pt x="885964" y="83922"/>
                </a:lnTo>
                <a:lnTo>
                  <a:pt x="846904" y="133404"/>
                </a:lnTo>
                <a:lnTo>
                  <a:pt x="846171" y="134215"/>
                </a:lnTo>
                <a:lnTo>
                  <a:pt x="844909" y="135929"/>
                </a:lnTo>
                <a:lnTo>
                  <a:pt x="841387" y="140393"/>
                </a:lnTo>
                <a:lnTo>
                  <a:pt x="841526" y="140532"/>
                </a:lnTo>
                <a:lnTo>
                  <a:pt x="839610" y="143138"/>
                </a:lnTo>
                <a:cubicBezTo>
                  <a:pt x="811357" y="185932"/>
                  <a:pt x="816066" y="244086"/>
                  <a:pt x="853739" y="281758"/>
                </a:cubicBezTo>
                <a:cubicBezTo>
                  <a:pt x="891412" y="319433"/>
                  <a:pt x="949567" y="324141"/>
                  <a:pt x="992359" y="295887"/>
                </a:cubicBezTo>
                <a:lnTo>
                  <a:pt x="994965" y="293971"/>
                </a:lnTo>
                <a:lnTo>
                  <a:pt x="995104" y="294111"/>
                </a:lnTo>
                <a:lnTo>
                  <a:pt x="999568" y="290588"/>
                </a:lnTo>
                <a:lnTo>
                  <a:pt x="1001282" y="289328"/>
                </a:lnTo>
                <a:lnTo>
                  <a:pt x="1002093" y="288594"/>
                </a:lnTo>
                <a:lnTo>
                  <a:pt x="1051575" y="249535"/>
                </a:lnTo>
                <a:lnTo>
                  <a:pt x="1101831" y="342127"/>
                </a:lnTo>
                <a:lnTo>
                  <a:pt x="1135494" y="450570"/>
                </a:lnTo>
                <a:lnTo>
                  <a:pt x="1072267" y="458012"/>
                </a:lnTo>
                <a:lnTo>
                  <a:pt x="1071174" y="458067"/>
                </a:lnTo>
                <a:lnTo>
                  <a:pt x="1069071" y="458388"/>
                </a:lnTo>
                <a:lnTo>
                  <a:pt x="1063422" y="459053"/>
                </a:lnTo>
                <a:lnTo>
                  <a:pt x="1063422" y="459251"/>
                </a:lnTo>
                <a:lnTo>
                  <a:pt x="1060228" y="459738"/>
                </a:lnTo>
                <a:cubicBezTo>
                  <a:pt x="1009989" y="470019"/>
                  <a:pt x="972196" y="514470"/>
                  <a:pt x="972197" y="567748"/>
                </a:cubicBezTo>
                <a:cubicBezTo>
                  <a:pt x="972197" y="621026"/>
                  <a:pt x="1009988" y="665478"/>
                  <a:pt x="1060228" y="675757"/>
                </a:cubicBezTo>
                <a:lnTo>
                  <a:pt x="1063423" y="676246"/>
                </a:lnTo>
                <a:lnTo>
                  <a:pt x="1063422" y="676443"/>
                </a:lnTo>
                <a:lnTo>
                  <a:pt x="1069071" y="677108"/>
                </a:lnTo>
                <a:lnTo>
                  <a:pt x="1071174" y="677429"/>
                </a:lnTo>
                <a:lnTo>
                  <a:pt x="1072267" y="677484"/>
                </a:lnTo>
                <a:lnTo>
                  <a:pt x="1135494" y="684926"/>
                </a:lnTo>
                <a:lnTo>
                  <a:pt x="1101831" y="793367"/>
                </a:lnTo>
                <a:lnTo>
                  <a:pt x="1051574" y="885962"/>
                </a:lnTo>
                <a:lnTo>
                  <a:pt x="1002092" y="846902"/>
                </a:lnTo>
                <a:lnTo>
                  <a:pt x="1001280" y="846168"/>
                </a:lnTo>
                <a:lnTo>
                  <a:pt x="999566" y="844908"/>
                </a:lnTo>
                <a:lnTo>
                  <a:pt x="995102" y="841384"/>
                </a:lnTo>
                <a:lnTo>
                  <a:pt x="994963" y="841524"/>
                </a:lnTo>
                <a:lnTo>
                  <a:pt x="992358" y="839609"/>
                </a:lnTo>
                <a:cubicBezTo>
                  <a:pt x="970962" y="825482"/>
                  <a:pt x="945725" y="819596"/>
                  <a:pt x="921128" y="821950"/>
                </a:cubicBezTo>
                <a:cubicBezTo>
                  <a:pt x="896531" y="824304"/>
                  <a:pt x="872574" y="834900"/>
                  <a:pt x="853737" y="853737"/>
                </a:cubicBezTo>
                <a:cubicBezTo>
                  <a:pt x="816064" y="891409"/>
                  <a:pt x="811355" y="949565"/>
                  <a:pt x="839609" y="992358"/>
                </a:cubicBezTo>
                <a:lnTo>
                  <a:pt x="841525" y="994962"/>
                </a:lnTo>
                <a:lnTo>
                  <a:pt x="841385" y="995102"/>
                </a:lnTo>
                <a:lnTo>
                  <a:pt x="844909" y="999566"/>
                </a:lnTo>
                <a:lnTo>
                  <a:pt x="846170" y="1001280"/>
                </a:lnTo>
                <a:lnTo>
                  <a:pt x="846902" y="1002092"/>
                </a:lnTo>
                <a:lnTo>
                  <a:pt x="885962" y="1051574"/>
                </a:lnTo>
                <a:lnTo>
                  <a:pt x="793367" y="1101831"/>
                </a:lnTo>
                <a:lnTo>
                  <a:pt x="684926" y="1135494"/>
                </a:lnTo>
                <a:lnTo>
                  <a:pt x="677483" y="1072267"/>
                </a:lnTo>
                <a:lnTo>
                  <a:pt x="677428" y="1071174"/>
                </a:lnTo>
                <a:lnTo>
                  <a:pt x="677107" y="1069071"/>
                </a:lnTo>
                <a:lnTo>
                  <a:pt x="676442" y="1063423"/>
                </a:lnTo>
                <a:lnTo>
                  <a:pt x="676245" y="1063423"/>
                </a:lnTo>
                <a:lnTo>
                  <a:pt x="675757" y="1060228"/>
                </a:lnTo>
                <a:cubicBezTo>
                  <a:pt x="665477" y="1009988"/>
                  <a:pt x="621025" y="972197"/>
                  <a:pt x="567747" y="972197"/>
                </a:cubicBezTo>
                <a:cubicBezTo>
                  <a:pt x="514470" y="972197"/>
                  <a:pt x="470018" y="1009989"/>
                  <a:pt x="459737" y="1060228"/>
                </a:cubicBezTo>
                <a:lnTo>
                  <a:pt x="459249" y="1063423"/>
                </a:lnTo>
                <a:lnTo>
                  <a:pt x="459053" y="1063423"/>
                </a:lnTo>
                <a:lnTo>
                  <a:pt x="458388" y="1069071"/>
                </a:lnTo>
                <a:lnTo>
                  <a:pt x="458067" y="1071174"/>
                </a:lnTo>
                <a:lnTo>
                  <a:pt x="458012" y="1072267"/>
                </a:lnTo>
                <a:lnTo>
                  <a:pt x="450569" y="1135494"/>
                </a:lnTo>
                <a:lnTo>
                  <a:pt x="342127" y="1101831"/>
                </a:lnTo>
                <a:lnTo>
                  <a:pt x="249535" y="1051575"/>
                </a:lnTo>
                <a:lnTo>
                  <a:pt x="288594" y="1002093"/>
                </a:lnTo>
                <a:lnTo>
                  <a:pt x="289328" y="1001281"/>
                </a:lnTo>
                <a:lnTo>
                  <a:pt x="290588" y="999567"/>
                </a:lnTo>
                <a:lnTo>
                  <a:pt x="294112" y="995103"/>
                </a:lnTo>
                <a:lnTo>
                  <a:pt x="293972" y="994964"/>
                </a:lnTo>
                <a:lnTo>
                  <a:pt x="295887" y="992359"/>
                </a:lnTo>
                <a:cubicBezTo>
                  <a:pt x="324142" y="949567"/>
                  <a:pt x="319432" y="891411"/>
                  <a:pt x="281760" y="853739"/>
                </a:cubicBezTo>
                <a:cubicBezTo>
                  <a:pt x="262923" y="834901"/>
                  <a:pt x="238966" y="824306"/>
                  <a:pt x="214369" y="821951"/>
                </a:cubicBezTo>
                <a:cubicBezTo>
                  <a:pt x="189772" y="819596"/>
                  <a:pt x="164535" y="825482"/>
                  <a:pt x="143138" y="839610"/>
                </a:cubicBezTo>
                <a:lnTo>
                  <a:pt x="140534" y="841526"/>
                </a:lnTo>
                <a:lnTo>
                  <a:pt x="140394" y="841386"/>
                </a:lnTo>
                <a:lnTo>
                  <a:pt x="135930" y="844909"/>
                </a:lnTo>
                <a:lnTo>
                  <a:pt x="134216" y="846169"/>
                </a:lnTo>
                <a:lnTo>
                  <a:pt x="133405" y="846903"/>
                </a:lnTo>
                <a:lnTo>
                  <a:pt x="83922" y="885964"/>
                </a:lnTo>
                <a:lnTo>
                  <a:pt x="33663" y="793367"/>
                </a:lnTo>
                <a:lnTo>
                  <a:pt x="1" y="684926"/>
                </a:lnTo>
                <a:lnTo>
                  <a:pt x="63228" y="677484"/>
                </a:lnTo>
                <a:lnTo>
                  <a:pt x="64320" y="677429"/>
                </a:lnTo>
                <a:lnTo>
                  <a:pt x="66423" y="677108"/>
                </a:lnTo>
                <a:lnTo>
                  <a:pt x="72071" y="676443"/>
                </a:lnTo>
                <a:lnTo>
                  <a:pt x="72072" y="676246"/>
                </a:lnTo>
                <a:lnTo>
                  <a:pt x="75268" y="675758"/>
                </a:lnTo>
                <a:cubicBezTo>
                  <a:pt x="125506" y="665478"/>
                  <a:pt x="163298" y="621026"/>
                  <a:pt x="163298" y="567748"/>
                </a:cubicBezTo>
                <a:cubicBezTo>
                  <a:pt x="163297" y="514470"/>
                  <a:pt x="125506" y="470018"/>
                  <a:pt x="75267" y="459737"/>
                </a:cubicBezTo>
                <a:lnTo>
                  <a:pt x="72071" y="459251"/>
                </a:lnTo>
                <a:lnTo>
                  <a:pt x="72071" y="459053"/>
                </a:lnTo>
                <a:lnTo>
                  <a:pt x="66423" y="458389"/>
                </a:lnTo>
                <a:lnTo>
                  <a:pt x="64320" y="458068"/>
                </a:lnTo>
                <a:lnTo>
                  <a:pt x="63229" y="458011"/>
                </a:lnTo>
                <a:lnTo>
                  <a:pt x="0" y="450569"/>
                </a:lnTo>
                <a:lnTo>
                  <a:pt x="33663" y="342127"/>
                </a:lnTo>
                <a:lnTo>
                  <a:pt x="83922" y="249531"/>
                </a:lnTo>
                <a:lnTo>
                  <a:pt x="133407" y="288593"/>
                </a:lnTo>
                <a:lnTo>
                  <a:pt x="134217" y="289327"/>
                </a:lnTo>
                <a:lnTo>
                  <a:pt x="135931" y="290587"/>
                </a:lnTo>
                <a:lnTo>
                  <a:pt x="140395" y="294110"/>
                </a:lnTo>
                <a:lnTo>
                  <a:pt x="140535" y="293970"/>
                </a:lnTo>
                <a:lnTo>
                  <a:pt x="143139" y="295886"/>
                </a:lnTo>
                <a:cubicBezTo>
                  <a:pt x="185934" y="324140"/>
                  <a:pt x="244087" y="319431"/>
                  <a:pt x="281761" y="281757"/>
                </a:cubicBezTo>
                <a:cubicBezTo>
                  <a:pt x="319434" y="244085"/>
                  <a:pt x="324143" y="185929"/>
                  <a:pt x="295889" y="143137"/>
                </a:cubicBezTo>
                <a:lnTo>
                  <a:pt x="293974" y="140532"/>
                </a:lnTo>
                <a:lnTo>
                  <a:pt x="294113" y="140392"/>
                </a:lnTo>
                <a:lnTo>
                  <a:pt x="290590" y="135928"/>
                </a:lnTo>
                <a:lnTo>
                  <a:pt x="289330" y="134214"/>
                </a:lnTo>
                <a:lnTo>
                  <a:pt x="288596" y="133404"/>
                </a:lnTo>
                <a:lnTo>
                  <a:pt x="249535" y="83919"/>
                </a:lnTo>
                <a:lnTo>
                  <a:pt x="342127" y="336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Century Gothic"/>
              <a:ea typeface="+mn-ea"/>
              <a:cs typeface="+mn-cs"/>
            </a:endParaRPr>
          </a:p>
        </p:txBody>
      </p:sp>
      <p:cxnSp>
        <p:nvCxnSpPr>
          <p:cNvPr id="18" name="Straight Connector 17">
            <a:extLst>
              <a:ext uri="{FF2B5EF4-FFF2-40B4-BE49-F238E27FC236}">
                <a16:creationId xmlns:a16="http://schemas.microsoft.com/office/drawing/2014/main" id="{2CD8CE1A-3FB2-467B-AFF9-CE187B8530D5}"/>
              </a:ext>
            </a:extLst>
          </p:cNvPr>
          <p:cNvCxnSpPr>
            <a:cxnSpLocks/>
          </p:cNvCxnSpPr>
          <p:nvPr/>
        </p:nvCxnSpPr>
        <p:spPr>
          <a:xfrm flipH="1">
            <a:off x="4373968" y="2875047"/>
            <a:ext cx="7390684" cy="0"/>
          </a:xfrm>
          <a:prstGeom prst="line">
            <a:avLst/>
          </a:prstGeom>
          <a:noFill/>
          <a:ln w="9525" cap="flat" cmpd="sng" algn="ctr">
            <a:solidFill>
              <a:schemeClr val="bg1">
                <a:lumMod val="50000"/>
              </a:schemeClr>
            </a:solidFill>
            <a:prstDash val="dash"/>
            <a:miter lim="800000"/>
          </a:ln>
          <a:effectLst/>
        </p:spPr>
      </p:cxnSp>
      <p:cxnSp>
        <p:nvCxnSpPr>
          <p:cNvPr id="19" name="Straight Connector 18">
            <a:extLst>
              <a:ext uri="{FF2B5EF4-FFF2-40B4-BE49-F238E27FC236}">
                <a16:creationId xmlns:a16="http://schemas.microsoft.com/office/drawing/2014/main" id="{79DD59C4-C81C-489F-B875-9142FA10617A}"/>
              </a:ext>
            </a:extLst>
          </p:cNvPr>
          <p:cNvCxnSpPr>
            <a:cxnSpLocks/>
          </p:cNvCxnSpPr>
          <p:nvPr/>
        </p:nvCxnSpPr>
        <p:spPr>
          <a:xfrm flipH="1">
            <a:off x="4373969" y="4498960"/>
            <a:ext cx="7390683" cy="1"/>
          </a:xfrm>
          <a:prstGeom prst="line">
            <a:avLst/>
          </a:prstGeom>
          <a:noFill/>
          <a:ln w="9525" cap="flat" cmpd="sng" algn="ctr">
            <a:solidFill>
              <a:schemeClr val="bg1">
                <a:lumMod val="50000"/>
              </a:schemeClr>
            </a:solidFill>
            <a:prstDash val="dash"/>
            <a:miter lim="800000"/>
          </a:ln>
          <a:effectLst/>
        </p:spPr>
      </p:cxnSp>
      <p:sp>
        <p:nvSpPr>
          <p:cNvPr id="20" name="Rectangle 19">
            <a:extLst>
              <a:ext uri="{FF2B5EF4-FFF2-40B4-BE49-F238E27FC236}">
                <a16:creationId xmlns:a16="http://schemas.microsoft.com/office/drawing/2014/main" id="{20085F08-28A7-456E-AC00-2C16802D22CC}"/>
              </a:ext>
            </a:extLst>
          </p:cNvPr>
          <p:cNvSpPr/>
          <p:nvPr/>
        </p:nvSpPr>
        <p:spPr>
          <a:xfrm>
            <a:off x="7616249" y="2952116"/>
            <a:ext cx="3916275" cy="1384995"/>
          </a:xfrm>
          <a:prstGeom prst="rect">
            <a:avLst/>
          </a:prstGeom>
        </p:spPr>
        <p:txBody>
          <a:bodyPr wrap="square" numCol="2">
            <a:spAutoFit/>
          </a:bodyPr>
          <a:lstStyle/>
          <a:p>
            <a:pPr marL="171450" indent="-171450" defTabSz="1218987">
              <a:buFont typeface="Wingdings" panose="05000000000000000000" pitchFamily="2" charset="2"/>
              <a:buChar char="ü"/>
            </a:pPr>
            <a:r>
              <a:rPr lang="en-US" sz="1200">
                <a:latin typeface="Verdana (Body)"/>
              </a:rPr>
              <a:t>Beginning work on integration with BRE for Auto Card Activation and Promo rate extension use cases</a:t>
            </a:r>
          </a:p>
          <a:p>
            <a:pPr defTabSz="1218987"/>
            <a:endParaRPr lang="en-US" sz="1200">
              <a:latin typeface="Verdana (Body)"/>
            </a:endParaRPr>
          </a:p>
          <a:p>
            <a:pPr marL="171450" indent="-171450" defTabSz="1218987">
              <a:buFont typeface="Wingdings" panose="05000000000000000000" pitchFamily="2" charset="2"/>
              <a:buChar char="ü"/>
            </a:pPr>
            <a:endParaRPr lang="en-US" sz="1200">
              <a:latin typeface="Verdana (Body)"/>
            </a:endParaRPr>
          </a:p>
          <a:p>
            <a:pPr defTabSz="1218987"/>
            <a:endParaRPr lang="en-US" sz="1200">
              <a:latin typeface="Verdana (Body)"/>
            </a:endParaRPr>
          </a:p>
        </p:txBody>
      </p:sp>
    </p:spTree>
    <p:extLst>
      <p:ext uri="{BB962C8B-B14F-4D97-AF65-F5344CB8AC3E}">
        <p14:creationId xmlns:p14="http://schemas.microsoft.com/office/powerpoint/2010/main" val="361093865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 name="Picture 96">
            <a:extLst>
              <a:ext uri="{FF2B5EF4-FFF2-40B4-BE49-F238E27FC236}">
                <a16:creationId xmlns:a16="http://schemas.microsoft.com/office/drawing/2014/main" id="{667C4C33-DA15-46C8-8F36-5984448213FE}"/>
              </a:ext>
            </a:extLst>
          </p:cNvPr>
          <p:cNvPicPr>
            <a:picLocks noChangeAspect="1"/>
          </p:cNvPicPr>
          <p:nvPr/>
        </p:nvPicPr>
        <p:blipFill>
          <a:blip r:embed="rId2"/>
          <a:stretch>
            <a:fillRect/>
          </a:stretch>
        </p:blipFill>
        <p:spPr>
          <a:xfrm>
            <a:off x="0" y="3889329"/>
            <a:ext cx="12192000" cy="2389632"/>
          </a:xfrm>
          <a:prstGeom prst="rect">
            <a:avLst/>
          </a:prstGeom>
        </p:spPr>
      </p:pic>
      <p:grpSp>
        <p:nvGrpSpPr>
          <p:cNvPr id="112" name="Group 111">
            <a:extLst>
              <a:ext uri="{FF2B5EF4-FFF2-40B4-BE49-F238E27FC236}">
                <a16:creationId xmlns:a16="http://schemas.microsoft.com/office/drawing/2014/main" id="{99BC032F-9C51-440D-B7ED-7B14EEEB436E}"/>
              </a:ext>
            </a:extLst>
          </p:cNvPr>
          <p:cNvGrpSpPr/>
          <p:nvPr/>
        </p:nvGrpSpPr>
        <p:grpSpPr>
          <a:xfrm>
            <a:off x="2047413" y="1323386"/>
            <a:ext cx="176295" cy="2386759"/>
            <a:chOff x="2047413" y="1412776"/>
            <a:chExt cx="176295" cy="2386759"/>
          </a:xfrm>
        </p:grpSpPr>
        <p:sp>
          <p:nvSpPr>
            <p:cNvPr id="98" name="Oval 97">
              <a:extLst>
                <a:ext uri="{FF2B5EF4-FFF2-40B4-BE49-F238E27FC236}">
                  <a16:creationId xmlns:a16="http://schemas.microsoft.com/office/drawing/2014/main" id="{256AE4F9-D509-424F-8993-831B0F840BFE}"/>
                </a:ext>
              </a:extLst>
            </p:cNvPr>
            <p:cNvSpPr/>
            <p:nvPr/>
          </p:nvSpPr>
          <p:spPr>
            <a:xfrm>
              <a:off x="2047413" y="3623240"/>
              <a:ext cx="176295" cy="176295"/>
            </a:xfrm>
            <a:prstGeom prst="ellipse">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Roboto"/>
                <a:ea typeface="+mn-ea"/>
                <a:cs typeface="+mn-cs"/>
              </a:endParaRPr>
            </a:p>
          </p:txBody>
        </p:sp>
        <p:cxnSp>
          <p:nvCxnSpPr>
            <p:cNvPr id="99" name="Straight Arrow Connector 98">
              <a:extLst>
                <a:ext uri="{FF2B5EF4-FFF2-40B4-BE49-F238E27FC236}">
                  <a16:creationId xmlns:a16="http://schemas.microsoft.com/office/drawing/2014/main" id="{2E9E3CE8-05CA-4A73-86F5-0EB9445D2763}"/>
                </a:ext>
              </a:extLst>
            </p:cNvPr>
            <p:cNvCxnSpPr>
              <a:cxnSpLocks/>
            </p:cNvCxnSpPr>
            <p:nvPr/>
          </p:nvCxnSpPr>
          <p:spPr>
            <a:xfrm>
              <a:off x="2135560" y="1412776"/>
              <a:ext cx="0" cy="2299854"/>
            </a:xfrm>
            <a:prstGeom prst="straightConnector1">
              <a:avLst/>
            </a:prstGeom>
            <a:ln>
              <a:solidFill>
                <a:schemeClr val="tx1">
                  <a:lumMod val="75000"/>
                  <a:lumOff val="25000"/>
                </a:schemeClr>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EF46796B-5C9A-4959-AB29-2199C41ECE1D}"/>
              </a:ext>
            </a:extLst>
          </p:cNvPr>
          <p:cNvGrpSpPr/>
          <p:nvPr/>
        </p:nvGrpSpPr>
        <p:grpSpPr>
          <a:xfrm>
            <a:off x="4319700" y="1323386"/>
            <a:ext cx="176295" cy="2386759"/>
            <a:chOff x="3271549" y="1456431"/>
            <a:chExt cx="176295" cy="2386759"/>
          </a:xfrm>
        </p:grpSpPr>
        <p:sp>
          <p:nvSpPr>
            <p:cNvPr id="100" name="Oval 99">
              <a:extLst>
                <a:ext uri="{FF2B5EF4-FFF2-40B4-BE49-F238E27FC236}">
                  <a16:creationId xmlns:a16="http://schemas.microsoft.com/office/drawing/2014/main" id="{37E87C79-A205-48D3-BFC9-78C32301E6AA}"/>
                </a:ext>
              </a:extLst>
            </p:cNvPr>
            <p:cNvSpPr/>
            <p:nvPr/>
          </p:nvSpPr>
          <p:spPr>
            <a:xfrm>
              <a:off x="3271549" y="3666895"/>
              <a:ext cx="176295" cy="176295"/>
            </a:xfrm>
            <a:prstGeom prst="ellipse">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Roboto"/>
                <a:ea typeface="+mn-ea"/>
                <a:cs typeface="+mn-cs"/>
              </a:endParaRPr>
            </a:p>
          </p:txBody>
        </p:sp>
        <p:cxnSp>
          <p:nvCxnSpPr>
            <p:cNvPr id="101" name="Straight Arrow Connector 100">
              <a:extLst>
                <a:ext uri="{FF2B5EF4-FFF2-40B4-BE49-F238E27FC236}">
                  <a16:creationId xmlns:a16="http://schemas.microsoft.com/office/drawing/2014/main" id="{56C58A4C-AE74-4684-B5CD-9CAA94A9F725}"/>
                </a:ext>
              </a:extLst>
            </p:cNvPr>
            <p:cNvCxnSpPr>
              <a:cxnSpLocks/>
            </p:cNvCxnSpPr>
            <p:nvPr/>
          </p:nvCxnSpPr>
          <p:spPr>
            <a:xfrm>
              <a:off x="3359696" y="1456431"/>
              <a:ext cx="0" cy="2299854"/>
            </a:xfrm>
            <a:prstGeom prst="straightConnector1">
              <a:avLst/>
            </a:prstGeom>
            <a:ln>
              <a:solidFill>
                <a:schemeClr val="tx1">
                  <a:lumMod val="75000"/>
                  <a:lumOff val="25000"/>
                </a:schemeClr>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22FE448D-53AA-4CCC-A091-B63A57727054}"/>
              </a:ext>
            </a:extLst>
          </p:cNvPr>
          <p:cNvGrpSpPr/>
          <p:nvPr/>
        </p:nvGrpSpPr>
        <p:grpSpPr>
          <a:xfrm>
            <a:off x="6591987" y="1323386"/>
            <a:ext cx="176295" cy="2386759"/>
            <a:chOff x="4583832" y="1323386"/>
            <a:chExt cx="176295" cy="2386759"/>
          </a:xfrm>
        </p:grpSpPr>
        <p:sp>
          <p:nvSpPr>
            <p:cNvPr id="102" name="Oval 101">
              <a:extLst>
                <a:ext uri="{FF2B5EF4-FFF2-40B4-BE49-F238E27FC236}">
                  <a16:creationId xmlns:a16="http://schemas.microsoft.com/office/drawing/2014/main" id="{0C96707C-3C03-443C-AD52-705B7C176DD2}"/>
                </a:ext>
              </a:extLst>
            </p:cNvPr>
            <p:cNvSpPr/>
            <p:nvPr/>
          </p:nvSpPr>
          <p:spPr>
            <a:xfrm>
              <a:off x="4583832" y="3533850"/>
              <a:ext cx="176295" cy="176295"/>
            </a:xfrm>
            <a:prstGeom prst="ellipse">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Roboto"/>
                <a:ea typeface="+mn-ea"/>
                <a:cs typeface="+mn-cs"/>
              </a:endParaRPr>
            </a:p>
          </p:txBody>
        </p:sp>
        <p:cxnSp>
          <p:nvCxnSpPr>
            <p:cNvPr id="103" name="Straight Arrow Connector 102">
              <a:extLst>
                <a:ext uri="{FF2B5EF4-FFF2-40B4-BE49-F238E27FC236}">
                  <a16:creationId xmlns:a16="http://schemas.microsoft.com/office/drawing/2014/main" id="{448BA135-3627-49B9-8A2F-3ED1709F7E9D}"/>
                </a:ext>
              </a:extLst>
            </p:cNvPr>
            <p:cNvCxnSpPr>
              <a:cxnSpLocks/>
            </p:cNvCxnSpPr>
            <p:nvPr/>
          </p:nvCxnSpPr>
          <p:spPr>
            <a:xfrm>
              <a:off x="4671979" y="1323386"/>
              <a:ext cx="0" cy="2299854"/>
            </a:xfrm>
            <a:prstGeom prst="straightConnector1">
              <a:avLst/>
            </a:prstGeom>
            <a:ln>
              <a:solidFill>
                <a:schemeClr val="tx1">
                  <a:lumMod val="75000"/>
                  <a:lumOff val="25000"/>
                </a:schemeClr>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7CC8F700-3FD5-4F01-869E-48F1BCF2CCD6}"/>
              </a:ext>
            </a:extLst>
          </p:cNvPr>
          <p:cNvGrpSpPr/>
          <p:nvPr/>
        </p:nvGrpSpPr>
        <p:grpSpPr>
          <a:xfrm>
            <a:off x="8864274" y="1323386"/>
            <a:ext cx="176295" cy="2386759"/>
            <a:chOff x="7087973" y="1818744"/>
            <a:chExt cx="176295" cy="2386759"/>
          </a:xfrm>
        </p:grpSpPr>
        <p:sp>
          <p:nvSpPr>
            <p:cNvPr id="104" name="Oval 103">
              <a:extLst>
                <a:ext uri="{FF2B5EF4-FFF2-40B4-BE49-F238E27FC236}">
                  <a16:creationId xmlns:a16="http://schemas.microsoft.com/office/drawing/2014/main" id="{2ECE4445-E95F-44B8-A85D-CABEAF731F4E}"/>
                </a:ext>
              </a:extLst>
            </p:cNvPr>
            <p:cNvSpPr/>
            <p:nvPr/>
          </p:nvSpPr>
          <p:spPr>
            <a:xfrm>
              <a:off x="7087973" y="4029208"/>
              <a:ext cx="176295" cy="176295"/>
            </a:xfrm>
            <a:prstGeom prst="ellipse">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Roboto"/>
                <a:ea typeface="+mn-ea"/>
                <a:cs typeface="+mn-cs"/>
              </a:endParaRPr>
            </a:p>
          </p:txBody>
        </p:sp>
        <p:cxnSp>
          <p:nvCxnSpPr>
            <p:cNvPr id="105" name="Straight Arrow Connector 104">
              <a:extLst>
                <a:ext uri="{FF2B5EF4-FFF2-40B4-BE49-F238E27FC236}">
                  <a16:creationId xmlns:a16="http://schemas.microsoft.com/office/drawing/2014/main" id="{FF579B9F-7A7D-4F00-9486-9A742135FF99}"/>
                </a:ext>
              </a:extLst>
            </p:cNvPr>
            <p:cNvCxnSpPr>
              <a:cxnSpLocks/>
            </p:cNvCxnSpPr>
            <p:nvPr/>
          </p:nvCxnSpPr>
          <p:spPr>
            <a:xfrm>
              <a:off x="7176120" y="1818744"/>
              <a:ext cx="0" cy="2299854"/>
            </a:xfrm>
            <a:prstGeom prst="straightConnector1">
              <a:avLst/>
            </a:prstGeom>
            <a:ln>
              <a:solidFill>
                <a:schemeClr val="tx1">
                  <a:lumMod val="75000"/>
                  <a:lumOff val="25000"/>
                </a:schemeClr>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57644EC8-33AA-4656-AE20-602AB5BAD809}"/>
              </a:ext>
            </a:extLst>
          </p:cNvPr>
          <p:cNvGrpSpPr/>
          <p:nvPr/>
        </p:nvGrpSpPr>
        <p:grpSpPr>
          <a:xfrm>
            <a:off x="11136560" y="1323386"/>
            <a:ext cx="176295" cy="2386759"/>
            <a:chOff x="10918134" y="1427310"/>
            <a:chExt cx="176295" cy="2386759"/>
          </a:xfrm>
        </p:grpSpPr>
        <p:sp>
          <p:nvSpPr>
            <p:cNvPr id="106" name="Oval 105">
              <a:extLst>
                <a:ext uri="{FF2B5EF4-FFF2-40B4-BE49-F238E27FC236}">
                  <a16:creationId xmlns:a16="http://schemas.microsoft.com/office/drawing/2014/main" id="{BFCDF63A-2708-413E-A835-3607C745DAF0}"/>
                </a:ext>
              </a:extLst>
            </p:cNvPr>
            <p:cNvSpPr/>
            <p:nvPr/>
          </p:nvSpPr>
          <p:spPr>
            <a:xfrm>
              <a:off x="10918134" y="3637774"/>
              <a:ext cx="176295" cy="176295"/>
            </a:xfrm>
            <a:prstGeom prst="ellipse">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Roboto"/>
                <a:ea typeface="+mn-ea"/>
                <a:cs typeface="+mn-cs"/>
              </a:endParaRPr>
            </a:p>
          </p:txBody>
        </p:sp>
        <p:cxnSp>
          <p:nvCxnSpPr>
            <p:cNvPr id="107" name="Straight Arrow Connector 106">
              <a:extLst>
                <a:ext uri="{FF2B5EF4-FFF2-40B4-BE49-F238E27FC236}">
                  <a16:creationId xmlns:a16="http://schemas.microsoft.com/office/drawing/2014/main" id="{FE5635D4-E7DA-445F-BEDE-7A53D02BDAF0}"/>
                </a:ext>
              </a:extLst>
            </p:cNvPr>
            <p:cNvCxnSpPr>
              <a:cxnSpLocks/>
            </p:cNvCxnSpPr>
            <p:nvPr/>
          </p:nvCxnSpPr>
          <p:spPr>
            <a:xfrm>
              <a:off x="11006281" y="1427310"/>
              <a:ext cx="0" cy="2299854"/>
            </a:xfrm>
            <a:prstGeom prst="straightConnector1">
              <a:avLst/>
            </a:prstGeom>
            <a:ln>
              <a:solidFill>
                <a:schemeClr val="tx1">
                  <a:lumMod val="75000"/>
                  <a:lumOff val="25000"/>
                </a:schemeClr>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1C837E96-ABC7-4F5E-8004-6581F6631F17}"/>
              </a:ext>
            </a:extLst>
          </p:cNvPr>
          <p:cNvSpPr txBox="1"/>
          <p:nvPr/>
        </p:nvSpPr>
        <p:spPr>
          <a:xfrm>
            <a:off x="4651961" y="1725766"/>
            <a:ext cx="1784060" cy="1896231"/>
          </a:xfrm>
          <a:prstGeom prst="rect">
            <a:avLst/>
          </a:prstGeom>
          <a:noFill/>
          <a:ln>
            <a:noFill/>
          </a:ln>
        </p:spPr>
        <p:txBody>
          <a:bodyPr wrap="square" rtlCol="0">
            <a:noAutofit/>
          </a:bodyPr>
          <a:lstStyle/>
          <a:p>
            <a:pPr>
              <a:defRPr/>
            </a:pPr>
            <a:r>
              <a:rPr lang="en-US" sz="1100" b="1" dirty="0">
                <a:solidFill>
                  <a:srgbClr val="000000"/>
                </a:solidFill>
              </a:rPr>
              <a:t>Inaccessible Data</a:t>
            </a:r>
            <a:endParaRPr lang="en-US" sz="1100" dirty="0">
              <a:solidFill>
                <a:srgbClr val="000000"/>
              </a:solidFill>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entury Gothic"/>
                <a:ea typeface="+mn-ea"/>
                <a:cs typeface="+mn-cs"/>
              </a:rPr>
              <a:t>80%</a:t>
            </a:r>
            <a:r>
              <a:rPr kumimoji="0" lang="en-US" sz="1100" b="0" i="0" u="none" strike="noStrike" kern="1200" cap="none" spc="0" normalizeH="0" baseline="0" noProof="0" dirty="0">
                <a:ln>
                  <a:noFill/>
                </a:ln>
                <a:solidFill>
                  <a:srgbClr val="000000"/>
                </a:solidFill>
                <a:effectLst/>
                <a:uLnTx/>
                <a:uFillTx/>
                <a:latin typeface="Century Gothic"/>
                <a:ea typeface="+mn-ea"/>
                <a:cs typeface="+mn-cs"/>
              </a:rPr>
              <a:t> of Data from Fiserv </a:t>
            </a:r>
            <a:r>
              <a:rPr lang="en-US" sz="1100" dirty="0">
                <a:solidFill>
                  <a:srgbClr val="000000"/>
                </a:solidFill>
                <a:latin typeface="Century Gothic"/>
              </a:rPr>
              <a:t>is</a:t>
            </a:r>
            <a:r>
              <a:rPr kumimoji="0" lang="en-US" sz="1100" b="0" i="0" u="none" strike="noStrike" kern="1200" cap="none" spc="0" normalizeH="0" baseline="0" noProof="0" dirty="0">
                <a:ln>
                  <a:noFill/>
                </a:ln>
                <a:solidFill>
                  <a:srgbClr val="000000"/>
                </a:solidFill>
                <a:effectLst/>
                <a:uLnTx/>
                <a:uFillTx/>
                <a:latin typeface="Century Gothic"/>
                <a:ea typeface="+mn-ea"/>
                <a:cs typeface="+mn-cs"/>
              </a:rPr>
              <a:t> locked away in </a:t>
            </a:r>
            <a:r>
              <a:rPr kumimoji="0" lang="en-US" sz="1100" b="1" i="0" u="none" strike="noStrike" kern="1200" cap="none" spc="0" normalizeH="0" baseline="0" noProof="0" dirty="0">
                <a:ln>
                  <a:noFill/>
                </a:ln>
                <a:solidFill>
                  <a:srgbClr val="000000"/>
                </a:solidFill>
                <a:effectLst/>
                <a:uLnTx/>
                <a:uFillTx/>
                <a:latin typeface="Century Gothic"/>
                <a:ea typeface="+mn-ea"/>
                <a:cs typeface="+mn-cs"/>
              </a:rPr>
              <a:t>CCHUB in EBCDIC </a:t>
            </a:r>
            <a:r>
              <a:rPr kumimoji="0" lang="en-US" sz="1100" i="0" u="none" strike="noStrike" kern="1200" cap="none" spc="0" normalizeH="0" baseline="0" noProof="0" dirty="0">
                <a:ln>
                  <a:noFill/>
                </a:ln>
                <a:solidFill>
                  <a:srgbClr val="000000"/>
                </a:solidFill>
                <a:effectLst/>
                <a:uLnTx/>
                <a:uFillTx/>
                <a:latin typeface="Century Gothic"/>
                <a:ea typeface="+mn-ea"/>
                <a:cs typeface="+mn-cs"/>
              </a:rPr>
              <a:t>format</a:t>
            </a:r>
            <a:r>
              <a:rPr kumimoji="0" lang="en-US" sz="1100" b="1" i="0" u="none" strike="noStrike" kern="1200" cap="none" spc="0" normalizeH="0" baseline="0" noProof="0" dirty="0">
                <a:ln>
                  <a:noFill/>
                </a:ln>
                <a:solidFill>
                  <a:srgbClr val="000000"/>
                </a:solidFill>
                <a:effectLst/>
                <a:uLnTx/>
                <a:uFillTx/>
                <a:latin typeface="Century Gothic"/>
                <a:ea typeface="+mn-ea"/>
                <a:cs typeface="+mn-cs"/>
              </a:rPr>
              <a:t>. </a:t>
            </a:r>
            <a:r>
              <a:rPr kumimoji="0" lang="en-US" sz="1100" i="0" u="none" strike="noStrike" kern="1200" cap="none" spc="0" normalizeH="0" baseline="0" noProof="0" dirty="0">
                <a:ln>
                  <a:noFill/>
                </a:ln>
                <a:solidFill>
                  <a:srgbClr val="000000"/>
                </a:solidFill>
                <a:effectLst/>
                <a:uLnTx/>
                <a:uFillTx/>
                <a:latin typeface="Century Gothic"/>
                <a:ea typeface="+mn-ea"/>
                <a:cs typeface="+mn-cs"/>
              </a:rPr>
              <a:t>This makes the data</a:t>
            </a:r>
            <a:r>
              <a:rPr kumimoji="0" lang="en-US" sz="1100" b="1" i="0" u="none" strike="noStrike" kern="1200" cap="none" spc="0" normalizeH="0" baseline="0" noProof="0" dirty="0">
                <a:ln>
                  <a:noFill/>
                </a:ln>
                <a:solidFill>
                  <a:srgbClr val="000000"/>
                </a:solidFill>
                <a:effectLst/>
                <a:uLnTx/>
                <a:uFillTx/>
                <a:latin typeface="Century Gothic"/>
                <a:ea typeface="+mn-ea"/>
                <a:cs typeface="+mn-cs"/>
              </a:rPr>
              <a:t> </a:t>
            </a:r>
            <a:r>
              <a:rPr kumimoji="0" lang="en-US" sz="1100" i="0" u="none" strike="noStrike" kern="1200" cap="none" spc="0" normalizeH="0" baseline="0" noProof="0" dirty="0">
                <a:ln>
                  <a:noFill/>
                </a:ln>
                <a:solidFill>
                  <a:srgbClr val="000000"/>
                </a:solidFill>
                <a:effectLst/>
                <a:uLnTx/>
                <a:uFillTx/>
                <a:latin typeface="Century Gothic"/>
                <a:ea typeface="+mn-ea"/>
                <a:cs typeface="+mn-cs"/>
              </a:rPr>
              <a:t>hard to access and analyze preventing the generation of operational and analytical insights. </a:t>
            </a:r>
          </a:p>
        </p:txBody>
      </p:sp>
      <p:sp>
        <p:nvSpPr>
          <p:cNvPr id="115" name="TextBox 114">
            <a:extLst>
              <a:ext uri="{FF2B5EF4-FFF2-40B4-BE49-F238E27FC236}">
                <a16:creationId xmlns:a16="http://schemas.microsoft.com/office/drawing/2014/main" id="{078582B0-3DF0-4396-859C-975604B24201}"/>
              </a:ext>
            </a:extLst>
          </p:cNvPr>
          <p:cNvSpPr txBox="1"/>
          <p:nvPr/>
        </p:nvSpPr>
        <p:spPr>
          <a:xfrm>
            <a:off x="6924248" y="1725766"/>
            <a:ext cx="1784060" cy="2663485"/>
          </a:xfrm>
          <a:prstGeom prst="rect">
            <a:avLst/>
          </a:prstGeom>
          <a:noFill/>
          <a:ln>
            <a:noFill/>
          </a:ln>
        </p:spPr>
        <p:txBody>
          <a:bodyPr wrap="square" rtlCol="0">
            <a:noAutofit/>
          </a:bodyPr>
          <a:lstStyle/>
          <a:p>
            <a:r>
              <a:rPr lang="en-US" sz="1100" b="1">
                <a:solidFill>
                  <a:srgbClr val="000000"/>
                </a:solidFill>
              </a:rPr>
              <a:t>Data Latency</a:t>
            </a:r>
            <a:endParaRPr lang="en-US" sz="1100">
              <a:solidFill>
                <a:srgbClr val="000000"/>
              </a:solidFill>
            </a:endParaRPr>
          </a:p>
          <a:p>
            <a:r>
              <a:rPr lang="en-US" sz="1100">
                <a:solidFill>
                  <a:srgbClr val="000000"/>
                </a:solidFill>
                <a:latin typeface="Century Gothic"/>
              </a:rPr>
              <a:t>Lack of real-time data feeds from Fiserv make certain operational and analytical use cases hard to implement</a:t>
            </a:r>
          </a:p>
        </p:txBody>
      </p:sp>
      <p:sp>
        <p:nvSpPr>
          <p:cNvPr id="116" name="TextBox 115">
            <a:extLst>
              <a:ext uri="{FF2B5EF4-FFF2-40B4-BE49-F238E27FC236}">
                <a16:creationId xmlns:a16="http://schemas.microsoft.com/office/drawing/2014/main" id="{5A0B4513-1AB2-4832-AD41-A8762F73C8D0}"/>
              </a:ext>
            </a:extLst>
          </p:cNvPr>
          <p:cNvSpPr txBox="1"/>
          <p:nvPr/>
        </p:nvSpPr>
        <p:spPr>
          <a:xfrm>
            <a:off x="155075" y="1725766"/>
            <a:ext cx="1784060" cy="2663485"/>
          </a:xfrm>
          <a:prstGeom prst="rect">
            <a:avLst/>
          </a:prstGeom>
          <a:noFill/>
          <a:ln>
            <a:noFill/>
          </a:ln>
        </p:spPr>
        <p:txBody>
          <a:bodyPr wrap="square" rtlCol="0">
            <a:noAutofit/>
          </a:bodyPr>
          <a:lstStyle/>
          <a:p>
            <a:r>
              <a:rPr lang="en-US" sz="1100" b="1">
                <a:solidFill>
                  <a:srgbClr val="000000"/>
                </a:solidFill>
                <a:latin typeface="Century Gothic"/>
              </a:rPr>
              <a:t>Time to Market</a:t>
            </a:r>
            <a:r>
              <a:rPr lang="en-US" sz="1100">
                <a:solidFill>
                  <a:srgbClr val="000000"/>
                </a:solidFill>
                <a:latin typeface="Century Gothic"/>
              </a:rPr>
              <a:t> Onboarding new datasets onto the ODS still requires long lead times</a:t>
            </a:r>
          </a:p>
        </p:txBody>
      </p:sp>
      <p:sp>
        <p:nvSpPr>
          <p:cNvPr id="117" name="TextBox 116">
            <a:extLst>
              <a:ext uri="{FF2B5EF4-FFF2-40B4-BE49-F238E27FC236}">
                <a16:creationId xmlns:a16="http://schemas.microsoft.com/office/drawing/2014/main" id="{FF299215-4B5A-43FE-AB69-1584D8E39452}"/>
              </a:ext>
            </a:extLst>
          </p:cNvPr>
          <p:cNvSpPr txBox="1"/>
          <p:nvPr/>
        </p:nvSpPr>
        <p:spPr>
          <a:xfrm>
            <a:off x="2379674" y="1725766"/>
            <a:ext cx="1784060" cy="2663485"/>
          </a:xfrm>
          <a:prstGeom prst="rect">
            <a:avLst/>
          </a:prstGeom>
          <a:noFill/>
          <a:ln>
            <a:noFill/>
          </a:ln>
        </p:spPr>
        <p:txBody>
          <a:bodyPr wrap="square" rtlCol="0">
            <a:noAutofit/>
          </a:bodyPr>
          <a:lstStyle/>
          <a:p>
            <a:r>
              <a:rPr lang="en-US" sz="1100" b="1">
                <a:solidFill>
                  <a:srgbClr val="000000"/>
                </a:solidFill>
              </a:rPr>
              <a:t>Vendor Dependency</a:t>
            </a:r>
            <a:endParaRPr lang="en-US" sz="1100">
              <a:solidFill>
                <a:srgbClr val="000000"/>
              </a:solidFill>
              <a:latin typeface="Century Gothic"/>
            </a:endParaRPr>
          </a:p>
          <a:p>
            <a:r>
              <a:rPr lang="en-US" sz="1100">
                <a:solidFill>
                  <a:srgbClr val="000000"/>
                </a:solidFill>
                <a:latin typeface="Century Gothic"/>
              </a:rPr>
              <a:t>Reliance on Fiserv to meet data needs prevents the business from operating with speed and agility</a:t>
            </a:r>
          </a:p>
        </p:txBody>
      </p:sp>
      <p:sp>
        <p:nvSpPr>
          <p:cNvPr id="118" name="TextBox 117">
            <a:extLst>
              <a:ext uri="{FF2B5EF4-FFF2-40B4-BE49-F238E27FC236}">
                <a16:creationId xmlns:a16="http://schemas.microsoft.com/office/drawing/2014/main" id="{13BC6EDF-E410-4303-A8E8-56AFF378C2F7}"/>
              </a:ext>
            </a:extLst>
          </p:cNvPr>
          <p:cNvSpPr txBox="1"/>
          <p:nvPr/>
        </p:nvSpPr>
        <p:spPr>
          <a:xfrm>
            <a:off x="9126222" y="1725766"/>
            <a:ext cx="1924684" cy="2663485"/>
          </a:xfrm>
          <a:prstGeom prst="rect">
            <a:avLst/>
          </a:prstGeom>
          <a:noFill/>
          <a:ln>
            <a:noFill/>
          </a:ln>
        </p:spPr>
        <p:txBody>
          <a:bodyPr wrap="square" rtlCol="0">
            <a:noAutofit/>
          </a:bodyPr>
          <a:lstStyle/>
          <a:p>
            <a:r>
              <a:rPr lang="en-US" sz="1100" b="1">
                <a:solidFill>
                  <a:srgbClr val="000000"/>
                </a:solidFill>
              </a:rPr>
              <a:t>AI/ML Capabilities</a:t>
            </a:r>
            <a:endParaRPr lang="en-US" sz="1100">
              <a:solidFill>
                <a:srgbClr val="000000"/>
              </a:solidFill>
            </a:endParaRPr>
          </a:p>
          <a:p>
            <a:r>
              <a:rPr lang="en-US" sz="1100">
                <a:solidFill>
                  <a:srgbClr val="000000"/>
                </a:solidFill>
                <a:latin typeface="Century Gothic"/>
              </a:rPr>
              <a:t>No provision  for incorporating home-grown or COTS </a:t>
            </a:r>
            <a:r>
              <a:rPr lang="en-US" sz="1100" b="1">
                <a:solidFill>
                  <a:srgbClr val="000000"/>
                </a:solidFill>
                <a:latin typeface="Century Gothic"/>
              </a:rPr>
              <a:t>analytical</a:t>
            </a:r>
            <a:r>
              <a:rPr lang="en-US" sz="1100">
                <a:solidFill>
                  <a:srgbClr val="000000"/>
                </a:solidFill>
                <a:latin typeface="Century Gothic"/>
              </a:rPr>
              <a:t> </a:t>
            </a:r>
            <a:r>
              <a:rPr lang="en-US" sz="1100" b="1">
                <a:solidFill>
                  <a:srgbClr val="000000"/>
                </a:solidFill>
                <a:latin typeface="Century Gothic"/>
              </a:rPr>
              <a:t>models</a:t>
            </a:r>
            <a:r>
              <a:rPr lang="en-US" sz="1100">
                <a:solidFill>
                  <a:srgbClr val="000000"/>
                </a:solidFill>
                <a:latin typeface="Century Gothic"/>
              </a:rPr>
              <a:t> to augment deterministic rules engine to generate data driven insights – these capabilities are needed to remain competitive.</a:t>
            </a:r>
          </a:p>
        </p:txBody>
      </p:sp>
      <p:sp>
        <p:nvSpPr>
          <p:cNvPr id="121" name="TextBox 120">
            <a:extLst>
              <a:ext uri="{FF2B5EF4-FFF2-40B4-BE49-F238E27FC236}">
                <a16:creationId xmlns:a16="http://schemas.microsoft.com/office/drawing/2014/main" id="{248F3609-E826-4B06-899D-6D477CD9E397}"/>
              </a:ext>
            </a:extLst>
          </p:cNvPr>
          <p:cNvSpPr txBox="1"/>
          <p:nvPr/>
        </p:nvSpPr>
        <p:spPr>
          <a:xfrm>
            <a:off x="536589" y="5878523"/>
            <a:ext cx="194421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entury Gothic"/>
                <a:ea typeface="+mn-ea"/>
                <a:cs typeface="+mn-cs"/>
              </a:rPr>
              <a:t>Time To Market</a:t>
            </a:r>
          </a:p>
        </p:txBody>
      </p:sp>
      <p:sp>
        <p:nvSpPr>
          <p:cNvPr id="122" name="TextBox 121">
            <a:extLst>
              <a:ext uri="{FF2B5EF4-FFF2-40B4-BE49-F238E27FC236}">
                <a16:creationId xmlns:a16="http://schemas.microsoft.com/office/drawing/2014/main" id="{B69FFA9C-5B7F-4178-96F2-0867CE5BAF14}"/>
              </a:ext>
            </a:extLst>
          </p:cNvPr>
          <p:cNvSpPr txBox="1"/>
          <p:nvPr/>
        </p:nvSpPr>
        <p:spPr>
          <a:xfrm>
            <a:off x="7363797" y="5920846"/>
            <a:ext cx="154622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entury Gothic"/>
                <a:ea typeface="+mn-ea"/>
                <a:cs typeface="+mn-cs"/>
              </a:rPr>
              <a:t>Data Latency</a:t>
            </a:r>
          </a:p>
        </p:txBody>
      </p:sp>
      <p:sp>
        <p:nvSpPr>
          <p:cNvPr id="123" name="TextBox 122">
            <a:extLst>
              <a:ext uri="{FF2B5EF4-FFF2-40B4-BE49-F238E27FC236}">
                <a16:creationId xmlns:a16="http://schemas.microsoft.com/office/drawing/2014/main" id="{7CA503F7-1845-41D1-A601-DD8D2A594EFB}"/>
              </a:ext>
            </a:extLst>
          </p:cNvPr>
          <p:cNvSpPr txBox="1"/>
          <p:nvPr/>
        </p:nvSpPr>
        <p:spPr>
          <a:xfrm>
            <a:off x="5439785" y="5886695"/>
            <a:ext cx="1487958" cy="261610"/>
          </a:xfrm>
          <a:prstGeom prst="rect">
            <a:avLst/>
          </a:prstGeom>
          <a:noFill/>
        </p:spPr>
        <p:txBody>
          <a:bodyPr wrap="square" rtlCol="0">
            <a:spAutoFit/>
          </a:bodyPr>
          <a:lstStyle/>
          <a:p>
            <a:pPr>
              <a:defRPr/>
            </a:pPr>
            <a:r>
              <a:rPr lang="en-US" sz="1100" b="1">
                <a:solidFill>
                  <a:prstClr val="white"/>
                </a:solidFill>
              </a:rPr>
              <a:t>Inaccessible Data</a:t>
            </a:r>
          </a:p>
        </p:txBody>
      </p:sp>
      <p:sp>
        <p:nvSpPr>
          <p:cNvPr id="124" name="TextBox 123">
            <a:extLst>
              <a:ext uri="{FF2B5EF4-FFF2-40B4-BE49-F238E27FC236}">
                <a16:creationId xmlns:a16="http://schemas.microsoft.com/office/drawing/2014/main" id="{4B0AFE7B-0CD6-4C9E-AB40-9B50A5D43643}"/>
              </a:ext>
            </a:extLst>
          </p:cNvPr>
          <p:cNvSpPr txBox="1"/>
          <p:nvPr/>
        </p:nvSpPr>
        <p:spPr>
          <a:xfrm>
            <a:off x="9713467" y="5920609"/>
            <a:ext cx="2380614" cy="261610"/>
          </a:xfrm>
          <a:prstGeom prst="rect">
            <a:avLst/>
          </a:prstGeom>
          <a:noFill/>
        </p:spPr>
        <p:txBody>
          <a:bodyPr wrap="square" rtlCol="0">
            <a:spAutoFit/>
          </a:bodyPr>
          <a:lstStyle/>
          <a:p>
            <a:pPr lvl="0">
              <a:defRPr/>
            </a:pPr>
            <a:r>
              <a:rPr lang="en-US" sz="1100" b="1">
                <a:solidFill>
                  <a:prstClr val="white"/>
                </a:solidFill>
                <a:latin typeface="Century Gothic"/>
              </a:rPr>
              <a:t>AI/ML Capabilities</a:t>
            </a:r>
          </a:p>
        </p:txBody>
      </p:sp>
      <p:sp>
        <p:nvSpPr>
          <p:cNvPr id="125" name="TextBox 124">
            <a:extLst>
              <a:ext uri="{FF2B5EF4-FFF2-40B4-BE49-F238E27FC236}">
                <a16:creationId xmlns:a16="http://schemas.microsoft.com/office/drawing/2014/main" id="{3F1CC714-4A72-4534-9CB9-987943F37716}"/>
              </a:ext>
            </a:extLst>
          </p:cNvPr>
          <p:cNvSpPr txBox="1"/>
          <p:nvPr/>
        </p:nvSpPr>
        <p:spPr>
          <a:xfrm>
            <a:off x="2797314" y="5903694"/>
            <a:ext cx="2380614" cy="261610"/>
          </a:xfrm>
          <a:prstGeom prst="rect">
            <a:avLst/>
          </a:prstGeom>
          <a:noFill/>
        </p:spPr>
        <p:txBody>
          <a:bodyPr wrap="square" rtlCol="0">
            <a:spAutoFit/>
          </a:bodyPr>
          <a:lstStyle/>
          <a:p>
            <a:pPr lvl="0">
              <a:defRPr/>
            </a:pPr>
            <a:r>
              <a:rPr lang="en-US" sz="1100" b="1">
                <a:solidFill>
                  <a:prstClr val="white"/>
                </a:solidFill>
              </a:rPr>
              <a:t>Vendor Dependency</a:t>
            </a:r>
          </a:p>
        </p:txBody>
      </p:sp>
      <p:sp>
        <p:nvSpPr>
          <p:cNvPr id="30" name="TextBox 29">
            <a:extLst>
              <a:ext uri="{FF2B5EF4-FFF2-40B4-BE49-F238E27FC236}">
                <a16:creationId xmlns:a16="http://schemas.microsoft.com/office/drawing/2014/main" id="{E05B9CC8-FBA1-4FA8-BF2A-F25EABEEC48F}"/>
              </a:ext>
            </a:extLst>
          </p:cNvPr>
          <p:cNvSpPr txBox="1"/>
          <p:nvPr/>
        </p:nvSpPr>
        <p:spPr>
          <a:xfrm>
            <a:off x="946588" y="935118"/>
            <a:ext cx="715798" cy="648072"/>
          </a:xfrm>
          <a:prstGeom prst="rect">
            <a:avLst/>
          </a:prstGeom>
          <a:noFill/>
          <a:ln>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326581">
                    <a:lumMod val="75000"/>
                  </a:srgbClr>
                </a:solidFill>
                <a:effectLst/>
                <a:uLnTx/>
                <a:uFillTx/>
                <a:latin typeface="Roboto"/>
                <a:ea typeface="+mn-ea"/>
                <a:cs typeface="+mn-cs"/>
              </a:rPr>
              <a:t>1</a:t>
            </a: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31" name="TextBox 30">
            <a:extLst>
              <a:ext uri="{FF2B5EF4-FFF2-40B4-BE49-F238E27FC236}">
                <a16:creationId xmlns:a16="http://schemas.microsoft.com/office/drawing/2014/main" id="{101AEFF0-A7FA-4430-AEBC-5EDCD4A90AE8}"/>
              </a:ext>
            </a:extLst>
          </p:cNvPr>
          <p:cNvSpPr txBox="1"/>
          <p:nvPr/>
        </p:nvSpPr>
        <p:spPr>
          <a:xfrm>
            <a:off x="2994508" y="935118"/>
            <a:ext cx="715798" cy="648072"/>
          </a:xfrm>
          <a:prstGeom prst="rect">
            <a:avLst/>
          </a:prstGeom>
          <a:noFill/>
          <a:ln>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326581">
                    <a:lumMod val="75000"/>
                  </a:srgbClr>
                </a:solidFill>
                <a:effectLst/>
                <a:uLnTx/>
                <a:uFillTx/>
                <a:latin typeface="Roboto"/>
                <a:ea typeface="+mn-ea"/>
                <a:cs typeface="+mn-cs"/>
              </a:rPr>
              <a:t>2</a:t>
            </a: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32" name="TextBox 31">
            <a:extLst>
              <a:ext uri="{FF2B5EF4-FFF2-40B4-BE49-F238E27FC236}">
                <a16:creationId xmlns:a16="http://schemas.microsoft.com/office/drawing/2014/main" id="{692A02DE-FFD2-416A-8BBB-F262EADC5901}"/>
              </a:ext>
            </a:extLst>
          </p:cNvPr>
          <p:cNvSpPr txBox="1"/>
          <p:nvPr/>
        </p:nvSpPr>
        <p:spPr>
          <a:xfrm>
            <a:off x="5272927" y="935118"/>
            <a:ext cx="715798" cy="648072"/>
          </a:xfrm>
          <a:prstGeom prst="rect">
            <a:avLst/>
          </a:prstGeom>
          <a:noFill/>
          <a:ln>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326581">
                    <a:lumMod val="75000"/>
                  </a:srgbClr>
                </a:solidFill>
                <a:effectLst/>
                <a:uLnTx/>
                <a:uFillTx/>
                <a:latin typeface="Roboto"/>
                <a:ea typeface="+mn-ea"/>
                <a:cs typeface="+mn-cs"/>
              </a:rPr>
              <a:t>3</a:t>
            </a: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33" name="TextBox 32">
            <a:extLst>
              <a:ext uri="{FF2B5EF4-FFF2-40B4-BE49-F238E27FC236}">
                <a16:creationId xmlns:a16="http://schemas.microsoft.com/office/drawing/2014/main" id="{D1B60395-CC2E-4A5F-8C82-9721AA178E18}"/>
              </a:ext>
            </a:extLst>
          </p:cNvPr>
          <p:cNvSpPr txBox="1"/>
          <p:nvPr/>
        </p:nvSpPr>
        <p:spPr>
          <a:xfrm>
            <a:off x="7556594" y="935118"/>
            <a:ext cx="715798" cy="648072"/>
          </a:xfrm>
          <a:prstGeom prst="rect">
            <a:avLst/>
          </a:prstGeom>
          <a:noFill/>
          <a:ln>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326581">
                    <a:lumMod val="75000"/>
                  </a:srgbClr>
                </a:solidFill>
                <a:latin typeface="Roboto"/>
              </a:rPr>
              <a:t>4</a:t>
            </a: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34" name="TextBox 33">
            <a:extLst>
              <a:ext uri="{FF2B5EF4-FFF2-40B4-BE49-F238E27FC236}">
                <a16:creationId xmlns:a16="http://schemas.microsoft.com/office/drawing/2014/main" id="{3D0B043F-D029-48C2-89B8-D3F8EA08FBD4}"/>
              </a:ext>
            </a:extLst>
          </p:cNvPr>
          <p:cNvSpPr txBox="1"/>
          <p:nvPr/>
        </p:nvSpPr>
        <p:spPr>
          <a:xfrm>
            <a:off x="9870503" y="935118"/>
            <a:ext cx="715798" cy="648072"/>
          </a:xfrm>
          <a:prstGeom prst="rect">
            <a:avLst/>
          </a:prstGeom>
          <a:noFill/>
          <a:ln>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326581">
                    <a:lumMod val="75000"/>
                  </a:srgbClr>
                </a:solidFill>
                <a:effectLst/>
                <a:uLnTx/>
                <a:uFillTx/>
                <a:latin typeface="Roboto"/>
                <a:ea typeface="+mn-ea"/>
                <a:cs typeface="+mn-cs"/>
              </a:rPr>
              <a:t>5</a:t>
            </a: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4" name="Title 3">
            <a:extLst>
              <a:ext uri="{FF2B5EF4-FFF2-40B4-BE49-F238E27FC236}">
                <a16:creationId xmlns:a16="http://schemas.microsoft.com/office/drawing/2014/main" id="{8CCD45E1-BC0E-4641-8BD2-4172E29636AF}"/>
              </a:ext>
            </a:extLst>
          </p:cNvPr>
          <p:cNvSpPr>
            <a:spLocks noGrp="1"/>
          </p:cNvSpPr>
          <p:nvPr>
            <p:ph type="title"/>
          </p:nvPr>
        </p:nvSpPr>
        <p:spPr>
          <a:xfrm>
            <a:off x="0" y="15812"/>
            <a:ext cx="12192000" cy="897460"/>
          </a:xfrm>
        </p:spPr>
        <p:txBody>
          <a:bodyPr/>
          <a:lstStyle/>
          <a:p>
            <a:r>
              <a:rPr lang="en-US"/>
              <a:t>Additional business imperatives that need to be addressed as we move forward…</a:t>
            </a:r>
          </a:p>
        </p:txBody>
      </p:sp>
    </p:spTree>
    <p:extLst>
      <p:ext uri="{BB962C8B-B14F-4D97-AF65-F5344CB8AC3E}">
        <p14:creationId xmlns:p14="http://schemas.microsoft.com/office/powerpoint/2010/main" val="20190790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6F18C0-8AE2-4138-8900-EE543C1113B0}"/>
              </a:ext>
            </a:extLst>
          </p:cNvPr>
          <p:cNvSpPr>
            <a:spLocks/>
          </p:cNvSpPr>
          <p:nvPr/>
        </p:nvSpPr>
        <p:spPr>
          <a:xfrm>
            <a:off x="3088195" y="4668684"/>
            <a:ext cx="275036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304C">
                    <a:lumMod val="60000"/>
                    <a:lumOff val="40000"/>
                  </a:srgbClr>
                </a:solidFill>
                <a:effectLst/>
                <a:uLnTx/>
                <a:uFillTx/>
                <a:latin typeface="Century Gothic"/>
                <a:ea typeface="Open Sans Light" pitchFamily="34" charset="0"/>
                <a:cs typeface="Open Sans Light" pitchFamily="34" charset="0"/>
              </a:rPr>
              <a:t>AI/ML Capabilities</a:t>
            </a:r>
          </a:p>
        </p:txBody>
      </p:sp>
      <p:sp>
        <p:nvSpPr>
          <p:cNvPr id="5" name="Rectangle 4">
            <a:extLst>
              <a:ext uri="{FF2B5EF4-FFF2-40B4-BE49-F238E27FC236}">
                <a16:creationId xmlns:a16="http://schemas.microsoft.com/office/drawing/2014/main" id="{11B00867-F2CC-456A-AD22-84D82189A265}"/>
              </a:ext>
            </a:extLst>
          </p:cNvPr>
          <p:cNvSpPr>
            <a:spLocks/>
          </p:cNvSpPr>
          <p:nvPr/>
        </p:nvSpPr>
        <p:spPr>
          <a:xfrm>
            <a:off x="3091984" y="1284122"/>
            <a:ext cx="275036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solidFill>
                <a:effectLst/>
                <a:uLnTx/>
                <a:uFillTx/>
                <a:latin typeface="Century Gothic"/>
                <a:ea typeface="Open Sans Light" pitchFamily="34" charset="0"/>
                <a:cs typeface="Open Sans Light" pitchFamily="34" charset="0"/>
              </a:rPr>
              <a:t>Inaccessible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Open Sans Light" panose="020B0306030504020204" pitchFamily="34" charset="0"/>
                <a:cs typeface="Open Sans Light" panose="020B0306030504020204" pitchFamily="34" charset="0"/>
              </a:rPr>
              <a:t>Enabling holistic coverage</a:t>
            </a:r>
          </a:p>
        </p:txBody>
      </p:sp>
      <p:sp>
        <p:nvSpPr>
          <p:cNvPr id="6" name="Rectangle 5">
            <a:extLst>
              <a:ext uri="{FF2B5EF4-FFF2-40B4-BE49-F238E27FC236}">
                <a16:creationId xmlns:a16="http://schemas.microsoft.com/office/drawing/2014/main" id="{EBF1908C-7571-459E-B98D-AFEAEEE7A2BB}"/>
              </a:ext>
            </a:extLst>
          </p:cNvPr>
          <p:cNvSpPr>
            <a:spLocks/>
          </p:cNvSpPr>
          <p:nvPr/>
        </p:nvSpPr>
        <p:spPr>
          <a:xfrm>
            <a:off x="3074983" y="2391303"/>
            <a:ext cx="275036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B143D">
                    <a:lumMod val="75000"/>
                    <a:lumOff val="25000"/>
                  </a:srgbClr>
                </a:solidFill>
                <a:effectLst/>
                <a:uLnTx/>
                <a:uFillTx/>
                <a:latin typeface="Century Gothic"/>
                <a:ea typeface="Open Sans Light" pitchFamily="34" charset="0"/>
                <a:cs typeface="Open Sans Light" pitchFamily="34" charset="0"/>
              </a:rPr>
              <a:t>Time to Mark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Metadata Driven Approach</a:t>
            </a:r>
            <a:endParaRPr kumimoji="0" lang="en-US" sz="1200" b="0" i="0" u="none" strike="noStrike" kern="1200" cap="none" spc="0" normalizeH="0" baseline="0" noProof="0" dirty="0">
              <a:ln>
                <a:noFill/>
              </a:ln>
              <a:solidFill>
                <a:prstClr val="black"/>
              </a:solidFill>
              <a:effectLst/>
              <a:uLnTx/>
              <a:uFillTx/>
              <a:latin typeface="Century Gothic"/>
              <a:ea typeface="Open Sans Light" panose="020B0306030504020204" pitchFamily="34" charset="0"/>
              <a:cs typeface="Open Sans Light" panose="020B0306030504020204" pitchFamily="34" charset="0"/>
            </a:endParaRPr>
          </a:p>
        </p:txBody>
      </p:sp>
      <p:sp>
        <p:nvSpPr>
          <p:cNvPr id="7" name="Rectangle 6">
            <a:extLst>
              <a:ext uri="{FF2B5EF4-FFF2-40B4-BE49-F238E27FC236}">
                <a16:creationId xmlns:a16="http://schemas.microsoft.com/office/drawing/2014/main" id="{86092BE0-12BF-421F-9D21-F952B907F90F}"/>
              </a:ext>
            </a:extLst>
          </p:cNvPr>
          <p:cNvSpPr>
            <a:spLocks/>
          </p:cNvSpPr>
          <p:nvPr/>
        </p:nvSpPr>
        <p:spPr>
          <a:xfrm>
            <a:off x="3110425" y="3406449"/>
            <a:ext cx="275036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95E616">
                    <a:lumMod val="50000"/>
                  </a:srgbClr>
                </a:solidFill>
                <a:effectLst/>
                <a:uLnTx/>
                <a:uFillTx/>
                <a:latin typeface="Century Gothic"/>
                <a:ea typeface="Open Sans Light" pitchFamily="34" charset="0"/>
                <a:cs typeface="Open Sans Light" pitchFamily="34" charset="0"/>
              </a:rPr>
              <a:t>Real Time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Event Driven Architecture</a:t>
            </a:r>
            <a:endParaRPr kumimoji="0" lang="en-US" sz="1200" b="0" i="0" u="none" strike="noStrike" kern="1200" cap="none" spc="0" normalizeH="0" baseline="0" noProof="0" dirty="0">
              <a:ln>
                <a:noFill/>
              </a:ln>
              <a:solidFill>
                <a:prstClr val="black"/>
              </a:solidFill>
              <a:effectLst/>
              <a:uLnTx/>
              <a:uFillTx/>
              <a:latin typeface="Century Gothic"/>
              <a:ea typeface="Open Sans Light" panose="020B0306030504020204" pitchFamily="34" charset="0"/>
              <a:cs typeface="Open Sans Light" panose="020B0306030504020204" pitchFamily="34" charset="0"/>
            </a:endParaRPr>
          </a:p>
        </p:txBody>
      </p:sp>
      <p:sp>
        <p:nvSpPr>
          <p:cNvPr id="9" name="Freeform 257">
            <a:extLst>
              <a:ext uri="{FF2B5EF4-FFF2-40B4-BE49-F238E27FC236}">
                <a16:creationId xmlns:a16="http://schemas.microsoft.com/office/drawing/2014/main" id="{E7E05052-9049-4DAD-B281-67BE6B23291D}"/>
              </a:ext>
            </a:extLst>
          </p:cNvPr>
          <p:cNvSpPr>
            <a:spLocks/>
          </p:cNvSpPr>
          <p:nvPr/>
        </p:nvSpPr>
        <p:spPr bwMode="auto">
          <a:xfrm>
            <a:off x="369454" y="2063307"/>
            <a:ext cx="1614263" cy="2342500"/>
          </a:xfrm>
          <a:custGeom>
            <a:avLst/>
            <a:gdLst>
              <a:gd name="T0" fmla="*/ 2000 w 3858"/>
              <a:gd name="T1" fmla="*/ 2156 h 2156"/>
              <a:gd name="T2" fmla="*/ 2076 w 3858"/>
              <a:gd name="T3" fmla="*/ 2148 h 2156"/>
              <a:gd name="T4" fmla="*/ 2160 w 3858"/>
              <a:gd name="T5" fmla="*/ 2124 h 2156"/>
              <a:gd name="T6" fmla="*/ 2248 w 3858"/>
              <a:gd name="T7" fmla="*/ 2088 h 2156"/>
              <a:gd name="T8" fmla="*/ 2342 w 3858"/>
              <a:gd name="T9" fmla="*/ 2040 h 2156"/>
              <a:gd name="T10" fmla="*/ 2438 w 3858"/>
              <a:gd name="T11" fmla="*/ 1984 h 2156"/>
              <a:gd name="T12" fmla="*/ 2536 w 3858"/>
              <a:gd name="T13" fmla="*/ 1918 h 2156"/>
              <a:gd name="T14" fmla="*/ 2632 w 3858"/>
              <a:gd name="T15" fmla="*/ 1846 h 2156"/>
              <a:gd name="T16" fmla="*/ 2820 w 3858"/>
              <a:gd name="T17" fmla="*/ 1692 h 2156"/>
              <a:gd name="T18" fmla="*/ 2990 w 3858"/>
              <a:gd name="T19" fmla="*/ 1534 h 2156"/>
              <a:gd name="T20" fmla="*/ 3130 w 3858"/>
              <a:gd name="T21" fmla="*/ 1386 h 2156"/>
              <a:gd name="T22" fmla="*/ 3208 w 3858"/>
              <a:gd name="T23" fmla="*/ 1290 h 2156"/>
              <a:gd name="T24" fmla="*/ 3244 w 3858"/>
              <a:gd name="T25" fmla="*/ 1238 h 2156"/>
              <a:gd name="T26" fmla="*/ 3256 w 3858"/>
              <a:gd name="T27" fmla="*/ 1214 h 2156"/>
              <a:gd name="T28" fmla="*/ 3416 w 3858"/>
              <a:gd name="T29" fmla="*/ 898 h 2156"/>
              <a:gd name="T30" fmla="*/ 3858 w 3858"/>
              <a:gd name="T31" fmla="*/ 0 h 2156"/>
              <a:gd name="T32" fmla="*/ 3834 w 3858"/>
              <a:gd name="T33" fmla="*/ 40 h 2156"/>
              <a:gd name="T34" fmla="*/ 3684 w 3858"/>
              <a:gd name="T35" fmla="*/ 294 h 2156"/>
              <a:gd name="T36" fmla="*/ 3578 w 3858"/>
              <a:gd name="T37" fmla="*/ 462 h 2156"/>
              <a:gd name="T38" fmla="*/ 3466 w 3858"/>
              <a:gd name="T39" fmla="*/ 628 h 2156"/>
              <a:gd name="T40" fmla="*/ 3362 w 3858"/>
              <a:gd name="T41" fmla="*/ 768 h 2156"/>
              <a:gd name="T42" fmla="*/ 3314 w 3858"/>
              <a:gd name="T43" fmla="*/ 822 h 2156"/>
              <a:gd name="T44" fmla="*/ 3274 w 3858"/>
              <a:gd name="T45" fmla="*/ 860 h 2156"/>
              <a:gd name="T46" fmla="*/ 3240 w 3858"/>
              <a:gd name="T47" fmla="*/ 880 h 2156"/>
              <a:gd name="T48" fmla="*/ 3226 w 3858"/>
              <a:gd name="T49" fmla="*/ 882 h 2156"/>
              <a:gd name="T50" fmla="*/ 3214 w 3858"/>
              <a:gd name="T51" fmla="*/ 878 h 2156"/>
              <a:gd name="T52" fmla="*/ 3212 w 3858"/>
              <a:gd name="T53" fmla="*/ 880 h 2156"/>
              <a:gd name="T54" fmla="*/ 3100 w 3858"/>
              <a:gd name="T55" fmla="*/ 700 h 2156"/>
              <a:gd name="T56" fmla="*/ 3002 w 3858"/>
              <a:gd name="T57" fmla="*/ 566 h 2156"/>
              <a:gd name="T58" fmla="*/ 2916 w 3858"/>
              <a:gd name="T59" fmla="*/ 464 h 2156"/>
              <a:gd name="T60" fmla="*/ 2854 w 3858"/>
              <a:gd name="T61" fmla="*/ 398 h 2156"/>
              <a:gd name="T62" fmla="*/ 2786 w 3858"/>
              <a:gd name="T63" fmla="*/ 334 h 2156"/>
              <a:gd name="T64" fmla="*/ 2712 w 3858"/>
              <a:gd name="T65" fmla="*/ 274 h 2156"/>
              <a:gd name="T66" fmla="*/ 2634 w 3858"/>
              <a:gd name="T67" fmla="*/ 220 h 2156"/>
              <a:gd name="T68" fmla="*/ 2550 w 3858"/>
              <a:gd name="T69" fmla="*/ 172 h 2156"/>
              <a:gd name="T70" fmla="*/ 2458 w 3858"/>
              <a:gd name="T71" fmla="*/ 130 h 2156"/>
              <a:gd name="T72" fmla="*/ 2362 w 3858"/>
              <a:gd name="T73" fmla="*/ 98 h 2156"/>
              <a:gd name="T74" fmla="*/ 2258 w 3858"/>
              <a:gd name="T75" fmla="*/ 74 h 2156"/>
              <a:gd name="T76" fmla="*/ 2150 w 3858"/>
              <a:gd name="T77" fmla="*/ 62 h 2156"/>
              <a:gd name="T78" fmla="*/ 2092 w 3858"/>
              <a:gd name="T79" fmla="*/ 60 h 2156"/>
              <a:gd name="T80" fmla="*/ 2 w 3858"/>
              <a:gd name="T81" fmla="*/ 2074 h 2156"/>
              <a:gd name="T82" fmla="*/ 0 w 3858"/>
              <a:gd name="T83" fmla="*/ 2156 h 2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58" h="2156">
                <a:moveTo>
                  <a:pt x="2000" y="2156"/>
                </a:moveTo>
                <a:lnTo>
                  <a:pt x="2000" y="2156"/>
                </a:lnTo>
                <a:lnTo>
                  <a:pt x="2038" y="2154"/>
                </a:lnTo>
                <a:lnTo>
                  <a:pt x="2076" y="2148"/>
                </a:lnTo>
                <a:lnTo>
                  <a:pt x="2116" y="2138"/>
                </a:lnTo>
                <a:lnTo>
                  <a:pt x="2160" y="2124"/>
                </a:lnTo>
                <a:lnTo>
                  <a:pt x="2204" y="2108"/>
                </a:lnTo>
                <a:lnTo>
                  <a:pt x="2248" y="2088"/>
                </a:lnTo>
                <a:lnTo>
                  <a:pt x="2294" y="2066"/>
                </a:lnTo>
                <a:lnTo>
                  <a:pt x="2342" y="2040"/>
                </a:lnTo>
                <a:lnTo>
                  <a:pt x="2390" y="2014"/>
                </a:lnTo>
                <a:lnTo>
                  <a:pt x="2438" y="1984"/>
                </a:lnTo>
                <a:lnTo>
                  <a:pt x="2486" y="1952"/>
                </a:lnTo>
                <a:lnTo>
                  <a:pt x="2536" y="1918"/>
                </a:lnTo>
                <a:lnTo>
                  <a:pt x="2584" y="1882"/>
                </a:lnTo>
                <a:lnTo>
                  <a:pt x="2632" y="1846"/>
                </a:lnTo>
                <a:lnTo>
                  <a:pt x="2728" y="1770"/>
                </a:lnTo>
                <a:lnTo>
                  <a:pt x="2820" y="1692"/>
                </a:lnTo>
                <a:lnTo>
                  <a:pt x="2908" y="1612"/>
                </a:lnTo>
                <a:lnTo>
                  <a:pt x="2990" y="1534"/>
                </a:lnTo>
                <a:lnTo>
                  <a:pt x="3064" y="1458"/>
                </a:lnTo>
                <a:lnTo>
                  <a:pt x="3130" y="1386"/>
                </a:lnTo>
                <a:lnTo>
                  <a:pt x="3184" y="1320"/>
                </a:lnTo>
                <a:lnTo>
                  <a:pt x="3208" y="1290"/>
                </a:lnTo>
                <a:lnTo>
                  <a:pt x="3228" y="1262"/>
                </a:lnTo>
                <a:lnTo>
                  <a:pt x="3244" y="1238"/>
                </a:lnTo>
                <a:lnTo>
                  <a:pt x="3256" y="1214"/>
                </a:lnTo>
                <a:lnTo>
                  <a:pt x="3256" y="1214"/>
                </a:lnTo>
                <a:lnTo>
                  <a:pt x="3328" y="1076"/>
                </a:lnTo>
                <a:lnTo>
                  <a:pt x="3416" y="898"/>
                </a:lnTo>
                <a:lnTo>
                  <a:pt x="3616" y="494"/>
                </a:lnTo>
                <a:lnTo>
                  <a:pt x="3858" y="0"/>
                </a:lnTo>
                <a:lnTo>
                  <a:pt x="3858" y="0"/>
                </a:lnTo>
                <a:lnTo>
                  <a:pt x="3834" y="40"/>
                </a:lnTo>
                <a:lnTo>
                  <a:pt x="3772" y="146"/>
                </a:lnTo>
                <a:lnTo>
                  <a:pt x="3684" y="294"/>
                </a:lnTo>
                <a:lnTo>
                  <a:pt x="3632" y="378"/>
                </a:lnTo>
                <a:lnTo>
                  <a:pt x="3578" y="462"/>
                </a:lnTo>
                <a:lnTo>
                  <a:pt x="3522" y="548"/>
                </a:lnTo>
                <a:lnTo>
                  <a:pt x="3466" y="628"/>
                </a:lnTo>
                <a:lnTo>
                  <a:pt x="3412" y="704"/>
                </a:lnTo>
                <a:lnTo>
                  <a:pt x="3362" y="768"/>
                </a:lnTo>
                <a:lnTo>
                  <a:pt x="3338" y="796"/>
                </a:lnTo>
                <a:lnTo>
                  <a:pt x="3314" y="822"/>
                </a:lnTo>
                <a:lnTo>
                  <a:pt x="3294" y="842"/>
                </a:lnTo>
                <a:lnTo>
                  <a:pt x="3274" y="860"/>
                </a:lnTo>
                <a:lnTo>
                  <a:pt x="3256" y="872"/>
                </a:lnTo>
                <a:lnTo>
                  <a:pt x="3240" y="880"/>
                </a:lnTo>
                <a:lnTo>
                  <a:pt x="3232" y="882"/>
                </a:lnTo>
                <a:lnTo>
                  <a:pt x="3226" y="882"/>
                </a:lnTo>
                <a:lnTo>
                  <a:pt x="3220" y="880"/>
                </a:lnTo>
                <a:lnTo>
                  <a:pt x="3214" y="878"/>
                </a:lnTo>
                <a:lnTo>
                  <a:pt x="3212" y="880"/>
                </a:lnTo>
                <a:lnTo>
                  <a:pt x="3212" y="880"/>
                </a:lnTo>
                <a:lnTo>
                  <a:pt x="3142" y="764"/>
                </a:lnTo>
                <a:lnTo>
                  <a:pt x="3100" y="700"/>
                </a:lnTo>
                <a:lnTo>
                  <a:pt x="3052" y="634"/>
                </a:lnTo>
                <a:lnTo>
                  <a:pt x="3002" y="566"/>
                </a:lnTo>
                <a:lnTo>
                  <a:pt x="2946" y="498"/>
                </a:lnTo>
                <a:lnTo>
                  <a:pt x="2916" y="464"/>
                </a:lnTo>
                <a:lnTo>
                  <a:pt x="2886" y="432"/>
                </a:lnTo>
                <a:lnTo>
                  <a:pt x="2854" y="398"/>
                </a:lnTo>
                <a:lnTo>
                  <a:pt x="2820" y="366"/>
                </a:lnTo>
                <a:lnTo>
                  <a:pt x="2786" y="334"/>
                </a:lnTo>
                <a:lnTo>
                  <a:pt x="2750" y="304"/>
                </a:lnTo>
                <a:lnTo>
                  <a:pt x="2712" y="274"/>
                </a:lnTo>
                <a:lnTo>
                  <a:pt x="2674" y="246"/>
                </a:lnTo>
                <a:lnTo>
                  <a:pt x="2634" y="220"/>
                </a:lnTo>
                <a:lnTo>
                  <a:pt x="2592" y="194"/>
                </a:lnTo>
                <a:lnTo>
                  <a:pt x="2550" y="172"/>
                </a:lnTo>
                <a:lnTo>
                  <a:pt x="2504" y="150"/>
                </a:lnTo>
                <a:lnTo>
                  <a:pt x="2458" y="130"/>
                </a:lnTo>
                <a:lnTo>
                  <a:pt x="2410" y="112"/>
                </a:lnTo>
                <a:lnTo>
                  <a:pt x="2362" y="98"/>
                </a:lnTo>
                <a:lnTo>
                  <a:pt x="2312" y="84"/>
                </a:lnTo>
                <a:lnTo>
                  <a:pt x="2258" y="74"/>
                </a:lnTo>
                <a:lnTo>
                  <a:pt x="2204" y="68"/>
                </a:lnTo>
                <a:lnTo>
                  <a:pt x="2150" y="62"/>
                </a:lnTo>
                <a:lnTo>
                  <a:pt x="2092" y="60"/>
                </a:lnTo>
                <a:lnTo>
                  <a:pt x="2092" y="60"/>
                </a:lnTo>
                <a:lnTo>
                  <a:pt x="0" y="62"/>
                </a:lnTo>
                <a:lnTo>
                  <a:pt x="2" y="2074"/>
                </a:lnTo>
                <a:lnTo>
                  <a:pt x="0" y="2156"/>
                </a:lnTo>
                <a:lnTo>
                  <a:pt x="0" y="2156"/>
                </a:lnTo>
                <a:lnTo>
                  <a:pt x="2000" y="2156"/>
                </a:lnTo>
                <a:close/>
              </a:path>
            </a:pathLst>
          </a:custGeom>
          <a:solidFill>
            <a:srgbClr val="519B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a:ln>
                <a:noFill/>
              </a:ln>
              <a:solidFill>
                <a:prstClr val="black"/>
              </a:solidFill>
              <a:effectLst/>
              <a:uLnTx/>
              <a:uFillTx/>
              <a:latin typeface="Century Gothic"/>
              <a:ea typeface="+mn-ea"/>
              <a:cs typeface="+mn-cs"/>
            </a:endParaRPr>
          </a:p>
        </p:txBody>
      </p:sp>
      <p:sp>
        <p:nvSpPr>
          <p:cNvPr id="10" name="Freeform 242">
            <a:extLst>
              <a:ext uri="{FF2B5EF4-FFF2-40B4-BE49-F238E27FC236}">
                <a16:creationId xmlns:a16="http://schemas.microsoft.com/office/drawing/2014/main" id="{E507E682-A296-4826-BDC3-C28B15BC4F46}"/>
              </a:ext>
            </a:extLst>
          </p:cNvPr>
          <p:cNvSpPr>
            <a:spLocks/>
          </p:cNvSpPr>
          <p:nvPr/>
        </p:nvSpPr>
        <p:spPr bwMode="auto">
          <a:xfrm>
            <a:off x="1761117" y="3119387"/>
            <a:ext cx="1286222" cy="1392896"/>
          </a:xfrm>
          <a:custGeom>
            <a:avLst/>
            <a:gdLst>
              <a:gd name="T0" fmla="*/ 0 w 3074"/>
              <a:gd name="T1" fmla="*/ 0 h 1214"/>
              <a:gd name="T2" fmla="*/ 0 w 3074"/>
              <a:gd name="T3" fmla="*/ 0 h 1214"/>
              <a:gd name="T4" fmla="*/ 14 w 3074"/>
              <a:gd name="T5" fmla="*/ 32 h 1214"/>
              <a:gd name="T6" fmla="*/ 30 w 3074"/>
              <a:gd name="T7" fmla="*/ 70 h 1214"/>
              <a:gd name="T8" fmla="*/ 56 w 3074"/>
              <a:gd name="T9" fmla="*/ 118 h 1214"/>
              <a:gd name="T10" fmla="*/ 88 w 3074"/>
              <a:gd name="T11" fmla="*/ 178 h 1214"/>
              <a:gd name="T12" fmla="*/ 126 w 3074"/>
              <a:gd name="T13" fmla="*/ 246 h 1214"/>
              <a:gd name="T14" fmla="*/ 172 w 3074"/>
              <a:gd name="T15" fmla="*/ 318 h 1214"/>
              <a:gd name="T16" fmla="*/ 226 w 3074"/>
              <a:gd name="T17" fmla="*/ 396 h 1214"/>
              <a:gd name="T18" fmla="*/ 254 w 3074"/>
              <a:gd name="T19" fmla="*/ 436 h 1214"/>
              <a:gd name="T20" fmla="*/ 286 w 3074"/>
              <a:gd name="T21" fmla="*/ 478 h 1214"/>
              <a:gd name="T22" fmla="*/ 318 w 3074"/>
              <a:gd name="T23" fmla="*/ 518 h 1214"/>
              <a:gd name="T24" fmla="*/ 354 w 3074"/>
              <a:gd name="T25" fmla="*/ 560 h 1214"/>
              <a:gd name="T26" fmla="*/ 390 w 3074"/>
              <a:gd name="T27" fmla="*/ 600 h 1214"/>
              <a:gd name="T28" fmla="*/ 428 w 3074"/>
              <a:gd name="T29" fmla="*/ 640 h 1214"/>
              <a:gd name="T30" fmla="*/ 468 w 3074"/>
              <a:gd name="T31" fmla="*/ 680 h 1214"/>
              <a:gd name="T32" fmla="*/ 510 w 3074"/>
              <a:gd name="T33" fmla="*/ 718 h 1214"/>
              <a:gd name="T34" fmla="*/ 554 w 3074"/>
              <a:gd name="T35" fmla="*/ 756 h 1214"/>
              <a:gd name="T36" fmla="*/ 600 w 3074"/>
              <a:gd name="T37" fmla="*/ 792 h 1214"/>
              <a:gd name="T38" fmla="*/ 646 w 3074"/>
              <a:gd name="T39" fmla="*/ 828 h 1214"/>
              <a:gd name="T40" fmla="*/ 696 w 3074"/>
              <a:gd name="T41" fmla="*/ 860 h 1214"/>
              <a:gd name="T42" fmla="*/ 748 w 3074"/>
              <a:gd name="T43" fmla="*/ 890 h 1214"/>
              <a:gd name="T44" fmla="*/ 800 w 3074"/>
              <a:gd name="T45" fmla="*/ 920 h 1214"/>
              <a:gd name="T46" fmla="*/ 854 w 3074"/>
              <a:gd name="T47" fmla="*/ 946 h 1214"/>
              <a:gd name="T48" fmla="*/ 912 w 3074"/>
              <a:gd name="T49" fmla="*/ 968 h 1214"/>
              <a:gd name="T50" fmla="*/ 912 w 3074"/>
              <a:gd name="T51" fmla="*/ 968 h 1214"/>
              <a:gd name="T52" fmla="*/ 972 w 3074"/>
              <a:gd name="T53" fmla="*/ 990 h 1214"/>
              <a:gd name="T54" fmla="*/ 1036 w 3074"/>
              <a:gd name="T55" fmla="*/ 1010 h 1214"/>
              <a:gd name="T56" fmla="*/ 1106 w 3074"/>
              <a:gd name="T57" fmla="*/ 1030 h 1214"/>
              <a:gd name="T58" fmla="*/ 1180 w 3074"/>
              <a:gd name="T59" fmla="*/ 1046 h 1214"/>
              <a:gd name="T60" fmla="*/ 1258 w 3074"/>
              <a:gd name="T61" fmla="*/ 1064 h 1214"/>
              <a:gd name="T62" fmla="*/ 1338 w 3074"/>
              <a:gd name="T63" fmla="*/ 1078 h 1214"/>
              <a:gd name="T64" fmla="*/ 1422 w 3074"/>
              <a:gd name="T65" fmla="*/ 1094 h 1214"/>
              <a:gd name="T66" fmla="*/ 1508 w 3074"/>
              <a:gd name="T67" fmla="*/ 1106 h 1214"/>
              <a:gd name="T68" fmla="*/ 1684 w 3074"/>
              <a:gd name="T69" fmla="*/ 1130 h 1214"/>
              <a:gd name="T70" fmla="*/ 1866 w 3074"/>
              <a:gd name="T71" fmla="*/ 1150 h 1214"/>
              <a:gd name="T72" fmla="*/ 2046 w 3074"/>
              <a:gd name="T73" fmla="*/ 1166 h 1214"/>
              <a:gd name="T74" fmla="*/ 2222 w 3074"/>
              <a:gd name="T75" fmla="*/ 1180 h 1214"/>
              <a:gd name="T76" fmla="*/ 2392 w 3074"/>
              <a:gd name="T77" fmla="*/ 1190 h 1214"/>
              <a:gd name="T78" fmla="*/ 2552 w 3074"/>
              <a:gd name="T79" fmla="*/ 1198 h 1214"/>
              <a:gd name="T80" fmla="*/ 2696 w 3074"/>
              <a:gd name="T81" fmla="*/ 1204 h 1214"/>
              <a:gd name="T82" fmla="*/ 2822 w 3074"/>
              <a:gd name="T83" fmla="*/ 1210 h 1214"/>
              <a:gd name="T84" fmla="*/ 3006 w 3074"/>
              <a:gd name="T85" fmla="*/ 1214 h 1214"/>
              <a:gd name="T86" fmla="*/ 3074 w 3074"/>
              <a:gd name="T87" fmla="*/ 1214 h 1214"/>
              <a:gd name="T88" fmla="*/ 3074 w 3074"/>
              <a:gd name="T89" fmla="*/ 0 h 1214"/>
              <a:gd name="T90" fmla="*/ 0 w 3074"/>
              <a:gd name="T91" fmla="*/ 0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74" h="1214">
                <a:moveTo>
                  <a:pt x="0" y="0"/>
                </a:moveTo>
                <a:lnTo>
                  <a:pt x="0" y="0"/>
                </a:lnTo>
                <a:lnTo>
                  <a:pt x="14" y="32"/>
                </a:lnTo>
                <a:lnTo>
                  <a:pt x="30" y="70"/>
                </a:lnTo>
                <a:lnTo>
                  <a:pt x="56" y="118"/>
                </a:lnTo>
                <a:lnTo>
                  <a:pt x="88" y="178"/>
                </a:lnTo>
                <a:lnTo>
                  <a:pt x="126" y="246"/>
                </a:lnTo>
                <a:lnTo>
                  <a:pt x="172" y="318"/>
                </a:lnTo>
                <a:lnTo>
                  <a:pt x="226" y="396"/>
                </a:lnTo>
                <a:lnTo>
                  <a:pt x="254" y="436"/>
                </a:lnTo>
                <a:lnTo>
                  <a:pt x="286" y="478"/>
                </a:lnTo>
                <a:lnTo>
                  <a:pt x="318" y="518"/>
                </a:lnTo>
                <a:lnTo>
                  <a:pt x="354" y="560"/>
                </a:lnTo>
                <a:lnTo>
                  <a:pt x="390" y="600"/>
                </a:lnTo>
                <a:lnTo>
                  <a:pt x="428" y="640"/>
                </a:lnTo>
                <a:lnTo>
                  <a:pt x="468" y="680"/>
                </a:lnTo>
                <a:lnTo>
                  <a:pt x="510" y="718"/>
                </a:lnTo>
                <a:lnTo>
                  <a:pt x="554" y="756"/>
                </a:lnTo>
                <a:lnTo>
                  <a:pt x="600" y="792"/>
                </a:lnTo>
                <a:lnTo>
                  <a:pt x="646" y="828"/>
                </a:lnTo>
                <a:lnTo>
                  <a:pt x="696" y="860"/>
                </a:lnTo>
                <a:lnTo>
                  <a:pt x="748" y="890"/>
                </a:lnTo>
                <a:lnTo>
                  <a:pt x="800" y="920"/>
                </a:lnTo>
                <a:lnTo>
                  <a:pt x="854" y="946"/>
                </a:lnTo>
                <a:lnTo>
                  <a:pt x="912" y="968"/>
                </a:lnTo>
                <a:lnTo>
                  <a:pt x="912" y="968"/>
                </a:lnTo>
                <a:lnTo>
                  <a:pt x="972" y="990"/>
                </a:lnTo>
                <a:lnTo>
                  <a:pt x="1036" y="1010"/>
                </a:lnTo>
                <a:lnTo>
                  <a:pt x="1106" y="1030"/>
                </a:lnTo>
                <a:lnTo>
                  <a:pt x="1180" y="1046"/>
                </a:lnTo>
                <a:lnTo>
                  <a:pt x="1258" y="1064"/>
                </a:lnTo>
                <a:lnTo>
                  <a:pt x="1338" y="1078"/>
                </a:lnTo>
                <a:lnTo>
                  <a:pt x="1422" y="1094"/>
                </a:lnTo>
                <a:lnTo>
                  <a:pt x="1508" y="1106"/>
                </a:lnTo>
                <a:lnTo>
                  <a:pt x="1684" y="1130"/>
                </a:lnTo>
                <a:lnTo>
                  <a:pt x="1866" y="1150"/>
                </a:lnTo>
                <a:lnTo>
                  <a:pt x="2046" y="1166"/>
                </a:lnTo>
                <a:lnTo>
                  <a:pt x="2222" y="1180"/>
                </a:lnTo>
                <a:lnTo>
                  <a:pt x="2392" y="1190"/>
                </a:lnTo>
                <a:lnTo>
                  <a:pt x="2552" y="1198"/>
                </a:lnTo>
                <a:lnTo>
                  <a:pt x="2696" y="1204"/>
                </a:lnTo>
                <a:lnTo>
                  <a:pt x="2822" y="1210"/>
                </a:lnTo>
                <a:lnTo>
                  <a:pt x="3006" y="1214"/>
                </a:lnTo>
                <a:lnTo>
                  <a:pt x="3074" y="1214"/>
                </a:lnTo>
                <a:lnTo>
                  <a:pt x="3074" y="0"/>
                </a:lnTo>
                <a:lnTo>
                  <a:pt x="0" y="0"/>
                </a:ln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a:ln>
                <a:noFill/>
              </a:ln>
              <a:solidFill>
                <a:prstClr val="black"/>
              </a:solidFill>
              <a:effectLst/>
              <a:uLnTx/>
              <a:uFillTx/>
              <a:latin typeface="Century Gothic"/>
              <a:ea typeface="+mn-ea"/>
              <a:cs typeface="+mn-cs"/>
            </a:endParaRPr>
          </a:p>
        </p:txBody>
      </p:sp>
      <p:sp>
        <p:nvSpPr>
          <p:cNvPr id="11" name="Freeform 248">
            <a:extLst>
              <a:ext uri="{FF2B5EF4-FFF2-40B4-BE49-F238E27FC236}">
                <a16:creationId xmlns:a16="http://schemas.microsoft.com/office/drawing/2014/main" id="{AC518B5E-7B75-4D0A-8E37-E683FFA23473}"/>
              </a:ext>
            </a:extLst>
          </p:cNvPr>
          <p:cNvSpPr>
            <a:spLocks/>
          </p:cNvSpPr>
          <p:nvPr/>
        </p:nvSpPr>
        <p:spPr bwMode="auto">
          <a:xfrm>
            <a:off x="1736923" y="3061246"/>
            <a:ext cx="1310416" cy="2578829"/>
          </a:xfrm>
          <a:custGeom>
            <a:avLst/>
            <a:gdLst>
              <a:gd name="T0" fmla="*/ 3188 w 3188"/>
              <a:gd name="T1" fmla="*/ 1300 h 2414"/>
              <a:gd name="T2" fmla="*/ 2764 w 3188"/>
              <a:gd name="T3" fmla="*/ 1290 h 2414"/>
              <a:gd name="T4" fmla="*/ 2480 w 3188"/>
              <a:gd name="T5" fmla="*/ 1274 h 2414"/>
              <a:gd name="T6" fmla="*/ 2174 w 3188"/>
              <a:gd name="T7" fmla="*/ 1252 h 2414"/>
              <a:gd name="T8" fmla="*/ 1862 w 3188"/>
              <a:gd name="T9" fmla="*/ 1216 h 2414"/>
              <a:gd name="T10" fmla="*/ 1636 w 3188"/>
              <a:gd name="T11" fmla="*/ 1180 h 2414"/>
              <a:gd name="T12" fmla="*/ 1494 w 3188"/>
              <a:gd name="T13" fmla="*/ 1152 h 2414"/>
              <a:gd name="T14" fmla="*/ 1362 w 3188"/>
              <a:gd name="T15" fmla="*/ 1120 h 2414"/>
              <a:gd name="T16" fmla="*/ 1242 w 3188"/>
              <a:gd name="T17" fmla="*/ 1084 h 2414"/>
              <a:gd name="T18" fmla="*/ 1136 w 3188"/>
              <a:gd name="T19" fmla="*/ 1042 h 2414"/>
              <a:gd name="T20" fmla="*/ 1088 w 3188"/>
              <a:gd name="T21" fmla="*/ 1020 h 2414"/>
              <a:gd name="T22" fmla="*/ 978 w 3188"/>
              <a:gd name="T23" fmla="*/ 960 h 2414"/>
              <a:gd name="T24" fmla="*/ 876 w 3188"/>
              <a:gd name="T25" fmla="*/ 898 h 2414"/>
              <a:gd name="T26" fmla="*/ 782 w 3188"/>
              <a:gd name="T27" fmla="*/ 836 h 2414"/>
              <a:gd name="T28" fmla="*/ 694 w 3188"/>
              <a:gd name="T29" fmla="*/ 770 h 2414"/>
              <a:gd name="T30" fmla="*/ 536 w 3188"/>
              <a:gd name="T31" fmla="*/ 638 h 2414"/>
              <a:gd name="T32" fmla="*/ 400 w 3188"/>
              <a:gd name="T33" fmla="*/ 502 h 2414"/>
              <a:gd name="T34" fmla="*/ 284 w 3188"/>
              <a:gd name="T35" fmla="*/ 368 h 2414"/>
              <a:gd name="T36" fmla="*/ 180 w 3188"/>
              <a:gd name="T37" fmla="*/ 238 h 2414"/>
              <a:gd name="T38" fmla="*/ 0 w 3188"/>
              <a:gd name="T39" fmla="*/ 0 h 2414"/>
              <a:gd name="T40" fmla="*/ 28 w 3188"/>
              <a:gd name="T41" fmla="*/ 72 h 2414"/>
              <a:gd name="T42" fmla="*/ 94 w 3188"/>
              <a:gd name="T43" fmla="*/ 242 h 2414"/>
              <a:gd name="T44" fmla="*/ 198 w 3188"/>
              <a:gd name="T45" fmla="*/ 484 h 2414"/>
              <a:gd name="T46" fmla="*/ 334 w 3188"/>
              <a:gd name="T47" fmla="*/ 774 h 2414"/>
              <a:gd name="T48" fmla="*/ 414 w 3188"/>
              <a:gd name="T49" fmla="*/ 930 h 2414"/>
              <a:gd name="T50" fmla="*/ 500 w 3188"/>
              <a:gd name="T51" fmla="*/ 1086 h 2414"/>
              <a:gd name="T52" fmla="*/ 594 w 3188"/>
              <a:gd name="T53" fmla="*/ 1242 h 2414"/>
              <a:gd name="T54" fmla="*/ 694 w 3188"/>
              <a:gd name="T55" fmla="*/ 1394 h 2414"/>
              <a:gd name="T56" fmla="*/ 800 w 3188"/>
              <a:gd name="T57" fmla="*/ 1538 h 2414"/>
              <a:gd name="T58" fmla="*/ 912 w 3188"/>
              <a:gd name="T59" fmla="*/ 1672 h 2414"/>
              <a:gd name="T60" fmla="*/ 1030 w 3188"/>
              <a:gd name="T61" fmla="*/ 1792 h 2414"/>
              <a:gd name="T62" fmla="*/ 1152 w 3188"/>
              <a:gd name="T63" fmla="*/ 1894 h 2414"/>
              <a:gd name="T64" fmla="*/ 1216 w 3188"/>
              <a:gd name="T65" fmla="*/ 1940 h 2414"/>
              <a:gd name="T66" fmla="*/ 1356 w 3188"/>
              <a:gd name="T67" fmla="*/ 2022 h 2414"/>
              <a:gd name="T68" fmla="*/ 1506 w 3188"/>
              <a:gd name="T69" fmla="*/ 2094 h 2414"/>
              <a:gd name="T70" fmla="*/ 1668 w 3188"/>
              <a:gd name="T71" fmla="*/ 2156 h 2414"/>
              <a:gd name="T72" fmla="*/ 1834 w 3188"/>
              <a:gd name="T73" fmla="*/ 2210 h 2414"/>
              <a:gd name="T74" fmla="*/ 2002 w 3188"/>
              <a:gd name="T75" fmla="*/ 2256 h 2414"/>
              <a:gd name="T76" fmla="*/ 2172 w 3188"/>
              <a:gd name="T77" fmla="*/ 2294 h 2414"/>
              <a:gd name="T78" fmla="*/ 2338 w 3188"/>
              <a:gd name="T79" fmla="*/ 2326 h 2414"/>
              <a:gd name="T80" fmla="*/ 2574 w 3188"/>
              <a:gd name="T81" fmla="*/ 2362 h 2414"/>
              <a:gd name="T82" fmla="*/ 2848 w 3188"/>
              <a:gd name="T83" fmla="*/ 2394 h 2414"/>
              <a:gd name="T84" fmla="*/ 3056 w 3188"/>
              <a:gd name="T85" fmla="*/ 2410 h 2414"/>
              <a:gd name="T86" fmla="*/ 3188 w 3188"/>
              <a:gd name="T87" fmla="*/ 2414 h 2414"/>
              <a:gd name="connsiteX0" fmla="*/ 10000 w 10000"/>
              <a:gd name="connsiteY0" fmla="*/ 5385 h 10000"/>
              <a:gd name="connsiteX1" fmla="*/ 10000 w 10000"/>
              <a:gd name="connsiteY1" fmla="*/ 5385 h 10000"/>
              <a:gd name="connsiteX2" fmla="*/ 9429 w 10000"/>
              <a:gd name="connsiteY2" fmla="*/ 5377 h 10000"/>
              <a:gd name="connsiteX3" fmla="*/ 8670 w 10000"/>
              <a:gd name="connsiteY3" fmla="*/ 5344 h 10000"/>
              <a:gd name="connsiteX4" fmla="*/ 8237 w 10000"/>
              <a:gd name="connsiteY4" fmla="*/ 5319 h 10000"/>
              <a:gd name="connsiteX5" fmla="*/ 7779 w 10000"/>
              <a:gd name="connsiteY5" fmla="*/ 5278 h 10000"/>
              <a:gd name="connsiteX6" fmla="*/ 7302 w 10000"/>
              <a:gd name="connsiteY6" fmla="*/ 5236 h 10000"/>
              <a:gd name="connsiteX7" fmla="*/ 6819 w 10000"/>
              <a:gd name="connsiteY7" fmla="*/ 5186 h 10000"/>
              <a:gd name="connsiteX8" fmla="*/ 6324 w 10000"/>
              <a:gd name="connsiteY8" fmla="*/ 5112 h 10000"/>
              <a:gd name="connsiteX9" fmla="*/ 5841 w 10000"/>
              <a:gd name="connsiteY9" fmla="*/ 5037 h 10000"/>
              <a:gd name="connsiteX10" fmla="*/ 5364 w 10000"/>
              <a:gd name="connsiteY10" fmla="*/ 4946 h 10000"/>
              <a:gd name="connsiteX11" fmla="*/ 5132 w 10000"/>
              <a:gd name="connsiteY11" fmla="*/ 4888 h 10000"/>
              <a:gd name="connsiteX12" fmla="*/ 4906 w 10000"/>
              <a:gd name="connsiteY12" fmla="*/ 4838 h 10000"/>
              <a:gd name="connsiteX13" fmla="*/ 4686 w 10000"/>
              <a:gd name="connsiteY13" fmla="*/ 4772 h 10000"/>
              <a:gd name="connsiteX14" fmla="*/ 4479 w 10000"/>
              <a:gd name="connsiteY14" fmla="*/ 4706 h 10000"/>
              <a:gd name="connsiteX15" fmla="*/ 4272 w 10000"/>
              <a:gd name="connsiteY15" fmla="*/ 4640 h 10000"/>
              <a:gd name="connsiteX16" fmla="*/ 4078 w 10000"/>
              <a:gd name="connsiteY16" fmla="*/ 4565 h 10000"/>
              <a:gd name="connsiteX17" fmla="*/ 3896 w 10000"/>
              <a:gd name="connsiteY17" fmla="*/ 4490 h 10000"/>
              <a:gd name="connsiteX18" fmla="*/ 3720 w 10000"/>
              <a:gd name="connsiteY18" fmla="*/ 4408 h 10000"/>
              <a:gd name="connsiteX19" fmla="*/ 3563 w 10000"/>
              <a:gd name="connsiteY19" fmla="*/ 4316 h 10000"/>
              <a:gd name="connsiteX20" fmla="*/ 3413 w 10000"/>
              <a:gd name="connsiteY20" fmla="*/ 4225 h 10000"/>
              <a:gd name="connsiteX21" fmla="*/ 3413 w 10000"/>
              <a:gd name="connsiteY21" fmla="*/ 4225 h 10000"/>
              <a:gd name="connsiteX22" fmla="*/ 3237 w 10000"/>
              <a:gd name="connsiteY22" fmla="*/ 4101 h 10000"/>
              <a:gd name="connsiteX23" fmla="*/ 3068 w 10000"/>
              <a:gd name="connsiteY23" fmla="*/ 3977 h 10000"/>
              <a:gd name="connsiteX24" fmla="*/ 2905 w 10000"/>
              <a:gd name="connsiteY24" fmla="*/ 3853 h 10000"/>
              <a:gd name="connsiteX25" fmla="*/ 2748 w 10000"/>
              <a:gd name="connsiteY25" fmla="*/ 3720 h 10000"/>
              <a:gd name="connsiteX26" fmla="*/ 2597 w 10000"/>
              <a:gd name="connsiteY26" fmla="*/ 3596 h 10000"/>
              <a:gd name="connsiteX27" fmla="*/ 2453 w 10000"/>
              <a:gd name="connsiteY27" fmla="*/ 3463 h 10000"/>
              <a:gd name="connsiteX28" fmla="*/ 2315 w 10000"/>
              <a:gd name="connsiteY28" fmla="*/ 3331 h 10000"/>
              <a:gd name="connsiteX29" fmla="*/ 2177 w 10000"/>
              <a:gd name="connsiteY29" fmla="*/ 3190 h 10000"/>
              <a:gd name="connsiteX30" fmla="*/ 1920 w 10000"/>
              <a:gd name="connsiteY30" fmla="*/ 2916 h 10000"/>
              <a:gd name="connsiteX31" fmla="*/ 1681 w 10000"/>
              <a:gd name="connsiteY31" fmla="*/ 2643 h 10000"/>
              <a:gd name="connsiteX32" fmla="*/ 1462 w 10000"/>
              <a:gd name="connsiteY32" fmla="*/ 2361 h 10000"/>
              <a:gd name="connsiteX33" fmla="*/ 1255 w 10000"/>
              <a:gd name="connsiteY33" fmla="*/ 2080 h 10000"/>
              <a:gd name="connsiteX34" fmla="*/ 1066 w 10000"/>
              <a:gd name="connsiteY34" fmla="*/ 1806 h 10000"/>
              <a:gd name="connsiteX35" fmla="*/ 891 w 10000"/>
              <a:gd name="connsiteY35" fmla="*/ 1524 h 10000"/>
              <a:gd name="connsiteX36" fmla="*/ 721 w 10000"/>
              <a:gd name="connsiteY36" fmla="*/ 1259 h 10000"/>
              <a:gd name="connsiteX37" fmla="*/ 565 w 10000"/>
              <a:gd name="connsiteY37" fmla="*/ 986 h 10000"/>
              <a:gd name="connsiteX38" fmla="*/ 270 w 10000"/>
              <a:gd name="connsiteY38" fmla="*/ 481 h 10000"/>
              <a:gd name="connsiteX39" fmla="*/ 0 w 10000"/>
              <a:gd name="connsiteY39" fmla="*/ 0 h 10000"/>
              <a:gd name="connsiteX40" fmla="*/ 88 w 10000"/>
              <a:gd name="connsiteY40" fmla="*/ 298 h 10000"/>
              <a:gd name="connsiteX41" fmla="*/ 176 w 10000"/>
              <a:gd name="connsiteY41" fmla="*/ 605 h 10000"/>
              <a:gd name="connsiteX42" fmla="*/ 295 w 10000"/>
              <a:gd name="connsiteY42" fmla="*/ 1002 h 10000"/>
              <a:gd name="connsiteX43" fmla="*/ 445 w 10000"/>
              <a:gd name="connsiteY43" fmla="*/ 1475 h 10000"/>
              <a:gd name="connsiteX44" fmla="*/ 621 w 10000"/>
              <a:gd name="connsiteY44" fmla="*/ 2005 h 10000"/>
              <a:gd name="connsiteX45" fmla="*/ 822 w 10000"/>
              <a:gd name="connsiteY45" fmla="*/ 2593 h 10000"/>
              <a:gd name="connsiteX46" fmla="*/ 1048 w 10000"/>
              <a:gd name="connsiteY46" fmla="*/ 3206 h 10000"/>
              <a:gd name="connsiteX47" fmla="*/ 1167 w 10000"/>
              <a:gd name="connsiteY47" fmla="*/ 3529 h 10000"/>
              <a:gd name="connsiteX48" fmla="*/ 1299 w 10000"/>
              <a:gd name="connsiteY48" fmla="*/ 3853 h 10000"/>
              <a:gd name="connsiteX49" fmla="*/ 1430 w 10000"/>
              <a:gd name="connsiteY49" fmla="*/ 4176 h 10000"/>
              <a:gd name="connsiteX50" fmla="*/ 1568 w 10000"/>
              <a:gd name="connsiteY50" fmla="*/ 4499 h 10000"/>
              <a:gd name="connsiteX51" fmla="*/ 1713 w 10000"/>
              <a:gd name="connsiteY51" fmla="*/ 4822 h 10000"/>
              <a:gd name="connsiteX52" fmla="*/ 1863 w 10000"/>
              <a:gd name="connsiteY52" fmla="*/ 5145 h 10000"/>
              <a:gd name="connsiteX53" fmla="*/ 2020 w 10000"/>
              <a:gd name="connsiteY53" fmla="*/ 5460 h 10000"/>
              <a:gd name="connsiteX54" fmla="*/ 2177 w 10000"/>
              <a:gd name="connsiteY54" fmla="*/ 5775 h 10000"/>
              <a:gd name="connsiteX55" fmla="*/ 2340 w 10000"/>
              <a:gd name="connsiteY55" fmla="*/ 6081 h 10000"/>
              <a:gd name="connsiteX56" fmla="*/ 2509 w 10000"/>
              <a:gd name="connsiteY56" fmla="*/ 6371 h 10000"/>
              <a:gd name="connsiteX57" fmla="*/ 2685 w 10000"/>
              <a:gd name="connsiteY57" fmla="*/ 6653 h 10000"/>
              <a:gd name="connsiteX58" fmla="*/ 2861 w 10000"/>
              <a:gd name="connsiteY58" fmla="*/ 6926 h 10000"/>
              <a:gd name="connsiteX59" fmla="*/ 3043 w 10000"/>
              <a:gd name="connsiteY59" fmla="*/ 7183 h 10000"/>
              <a:gd name="connsiteX60" fmla="*/ 3231 w 10000"/>
              <a:gd name="connsiteY60" fmla="*/ 7423 h 10000"/>
              <a:gd name="connsiteX61" fmla="*/ 3419 w 10000"/>
              <a:gd name="connsiteY61" fmla="*/ 7647 h 10000"/>
              <a:gd name="connsiteX62" fmla="*/ 3614 w 10000"/>
              <a:gd name="connsiteY62" fmla="*/ 7846 h 10000"/>
              <a:gd name="connsiteX63" fmla="*/ 3614 w 10000"/>
              <a:gd name="connsiteY63" fmla="*/ 7846 h 10000"/>
              <a:gd name="connsiteX64" fmla="*/ 3814 w 10000"/>
              <a:gd name="connsiteY64" fmla="*/ 8036 h 10000"/>
              <a:gd name="connsiteX65" fmla="*/ 4028 w 10000"/>
              <a:gd name="connsiteY65" fmla="*/ 8210 h 10000"/>
              <a:gd name="connsiteX66" fmla="*/ 4253 w 10000"/>
              <a:gd name="connsiteY66" fmla="*/ 8376 h 10000"/>
              <a:gd name="connsiteX67" fmla="*/ 4486 w 10000"/>
              <a:gd name="connsiteY67" fmla="*/ 8525 h 10000"/>
              <a:gd name="connsiteX68" fmla="*/ 4724 w 10000"/>
              <a:gd name="connsiteY68" fmla="*/ 8674 h 10000"/>
              <a:gd name="connsiteX69" fmla="*/ 4975 w 10000"/>
              <a:gd name="connsiteY69" fmla="*/ 8807 h 10000"/>
              <a:gd name="connsiteX70" fmla="*/ 5232 w 10000"/>
              <a:gd name="connsiteY70" fmla="*/ 8931 h 10000"/>
              <a:gd name="connsiteX71" fmla="*/ 5489 w 10000"/>
              <a:gd name="connsiteY71" fmla="*/ 9047 h 10000"/>
              <a:gd name="connsiteX72" fmla="*/ 5753 w 10000"/>
              <a:gd name="connsiteY72" fmla="*/ 9155 h 10000"/>
              <a:gd name="connsiteX73" fmla="*/ 6016 w 10000"/>
              <a:gd name="connsiteY73" fmla="*/ 9254 h 10000"/>
              <a:gd name="connsiteX74" fmla="*/ 6280 w 10000"/>
              <a:gd name="connsiteY74" fmla="*/ 9345 h 10000"/>
              <a:gd name="connsiteX75" fmla="*/ 6550 w 10000"/>
              <a:gd name="connsiteY75" fmla="*/ 9428 h 10000"/>
              <a:gd name="connsiteX76" fmla="*/ 6813 w 10000"/>
              <a:gd name="connsiteY76" fmla="*/ 9503 h 10000"/>
              <a:gd name="connsiteX77" fmla="*/ 7070 w 10000"/>
              <a:gd name="connsiteY77" fmla="*/ 9577 h 10000"/>
              <a:gd name="connsiteX78" fmla="*/ 7334 w 10000"/>
              <a:gd name="connsiteY78" fmla="*/ 9635 h 10000"/>
              <a:gd name="connsiteX79" fmla="*/ 7585 w 10000"/>
              <a:gd name="connsiteY79" fmla="*/ 9693 h 10000"/>
              <a:gd name="connsiteX80" fmla="*/ 8074 w 10000"/>
              <a:gd name="connsiteY80" fmla="*/ 9785 h 10000"/>
              <a:gd name="connsiteX81" fmla="*/ 8526 w 10000"/>
              <a:gd name="connsiteY81" fmla="*/ 9859 h 10000"/>
              <a:gd name="connsiteX82" fmla="*/ 8934 w 10000"/>
              <a:gd name="connsiteY82" fmla="*/ 9917 h 10000"/>
              <a:gd name="connsiteX83" fmla="*/ 9291 w 10000"/>
              <a:gd name="connsiteY83" fmla="*/ 9950 h 10000"/>
              <a:gd name="connsiteX84" fmla="*/ 9586 w 10000"/>
              <a:gd name="connsiteY84" fmla="*/ 9983 h 10000"/>
              <a:gd name="connsiteX85" fmla="*/ 9806 w 10000"/>
              <a:gd name="connsiteY85" fmla="*/ 9992 h 10000"/>
              <a:gd name="connsiteX86" fmla="*/ 10000 w 10000"/>
              <a:gd name="connsiteY86" fmla="*/ 10000 h 10000"/>
              <a:gd name="connsiteX87" fmla="*/ 10000 w 10000"/>
              <a:gd name="connsiteY87" fmla="*/ 5385 h 10000"/>
              <a:gd name="connsiteX0" fmla="*/ 9912 w 9912"/>
              <a:gd name="connsiteY0" fmla="*/ 5087 h 9702"/>
              <a:gd name="connsiteX1" fmla="*/ 9912 w 9912"/>
              <a:gd name="connsiteY1" fmla="*/ 5087 h 9702"/>
              <a:gd name="connsiteX2" fmla="*/ 9341 w 9912"/>
              <a:gd name="connsiteY2" fmla="*/ 5079 h 9702"/>
              <a:gd name="connsiteX3" fmla="*/ 8582 w 9912"/>
              <a:gd name="connsiteY3" fmla="*/ 5046 h 9702"/>
              <a:gd name="connsiteX4" fmla="*/ 8149 w 9912"/>
              <a:gd name="connsiteY4" fmla="*/ 5021 h 9702"/>
              <a:gd name="connsiteX5" fmla="*/ 7691 w 9912"/>
              <a:gd name="connsiteY5" fmla="*/ 4980 h 9702"/>
              <a:gd name="connsiteX6" fmla="*/ 7214 w 9912"/>
              <a:gd name="connsiteY6" fmla="*/ 4938 h 9702"/>
              <a:gd name="connsiteX7" fmla="*/ 6731 w 9912"/>
              <a:gd name="connsiteY7" fmla="*/ 4888 h 9702"/>
              <a:gd name="connsiteX8" fmla="*/ 6236 w 9912"/>
              <a:gd name="connsiteY8" fmla="*/ 4814 h 9702"/>
              <a:gd name="connsiteX9" fmla="*/ 5753 w 9912"/>
              <a:gd name="connsiteY9" fmla="*/ 4739 h 9702"/>
              <a:gd name="connsiteX10" fmla="*/ 5276 w 9912"/>
              <a:gd name="connsiteY10" fmla="*/ 4648 h 9702"/>
              <a:gd name="connsiteX11" fmla="*/ 5044 w 9912"/>
              <a:gd name="connsiteY11" fmla="*/ 4590 h 9702"/>
              <a:gd name="connsiteX12" fmla="*/ 4818 w 9912"/>
              <a:gd name="connsiteY12" fmla="*/ 4540 h 9702"/>
              <a:gd name="connsiteX13" fmla="*/ 4598 w 9912"/>
              <a:gd name="connsiteY13" fmla="*/ 4474 h 9702"/>
              <a:gd name="connsiteX14" fmla="*/ 4391 w 9912"/>
              <a:gd name="connsiteY14" fmla="*/ 4408 h 9702"/>
              <a:gd name="connsiteX15" fmla="*/ 4184 w 9912"/>
              <a:gd name="connsiteY15" fmla="*/ 4342 h 9702"/>
              <a:gd name="connsiteX16" fmla="*/ 3990 w 9912"/>
              <a:gd name="connsiteY16" fmla="*/ 4267 h 9702"/>
              <a:gd name="connsiteX17" fmla="*/ 3808 w 9912"/>
              <a:gd name="connsiteY17" fmla="*/ 4192 h 9702"/>
              <a:gd name="connsiteX18" fmla="*/ 3632 w 9912"/>
              <a:gd name="connsiteY18" fmla="*/ 4110 h 9702"/>
              <a:gd name="connsiteX19" fmla="*/ 3475 w 9912"/>
              <a:gd name="connsiteY19" fmla="*/ 4018 h 9702"/>
              <a:gd name="connsiteX20" fmla="*/ 3325 w 9912"/>
              <a:gd name="connsiteY20" fmla="*/ 3927 h 9702"/>
              <a:gd name="connsiteX21" fmla="*/ 3325 w 9912"/>
              <a:gd name="connsiteY21" fmla="*/ 3927 h 9702"/>
              <a:gd name="connsiteX22" fmla="*/ 3149 w 9912"/>
              <a:gd name="connsiteY22" fmla="*/ 3803 h 9702"/>
              <a:gd name="connsiteX23" fmla="*/ 2980 w 9912"/>
              <a:gd name="connsiteY23" fmla="*/ 3679 h 9702"/>
              <a:gd name="connsiteX24" fmla="*/ 2817 w 9912"/>
              <a:gd name="connsiteY24" fmla="*/ 3555 h 9702"/>
              <a:gd name="connsiteX25" fmla="*/ 2660 w 9912"/>
              <a:gd name="connsiteY25" fmla="*/ 3422 h 9702"/>
              <a:gd name="connsiteX26" fmla="*/ 2509 w 9912"/>
              <a:gd name="connsiteY26" fmla="*/ 3298 h 9702"/>
              <a:gd name="connsiteX27" fmla="*/ 2365 w 9912"/>
              <a:gd name="connsiteY27" fmla="*/ 3165 h 9702"/>
              <a:gd name="connsiteX28" fmla="*/ 2227 w 9912"/>
              <a:gd name="connsiteY28" fmla="*/ 3033 h 9702"/>
              <a:gd name="connsiteX29" fmla="*/ 2089 w 9912"/>
              <a:gd name="connsiteY29" fmla="*/ 2892 h 9702"/>
              <a:gd name="connsiteX30" fmla="*/ 1832 w 9912"/>
              <a:gd name="connsiteY30" fmla="*/ 2618 h 9702"/>
              <a:gd name="connsiteX31" fmla="*/ 1593 w 9912"/>
              <a:gd name="connsiteY31" fmla="*/ 2345 h 9702"/>
              <a:gd name="connsiteX32" fmla="*/ 1374 w 9912"/>
              <a:gd name="connsiteY32" fmla="*/ 2063 h 9702"/>
              <a:gd name="connsiteX33" fmla="*/ 1167 w 9912"/>
              <a:gd name="connsiteY33" fmla="*/ 1782 h 9702"/>
              <a:gd name="connsiteX34" fmla="*/ 978 w 9912"/>
              <a:gd name="connsiteY34" fmla="*/ 1508 h 9702"/>
              <a:gd name="connsiteX35" fmla="*/ 803 w 9912"/>
              <a:gd name="connsiteY35" fmla="*/ 1226 h 9702"/>
              <a:gd name="connsiteX36" fmla="*/ 633 w 9912"/>
              <a:gd name="connsiteY36" fmla="*/ 961 h 9702"/>
              <a:gd name="connsiteX37" fmla="*/ 477 w 9912"/>
              <a:gd name="connsiteY37" fmla="*/ 688 h 9702"/>
              <a:gd name="connsiteX38" fmla="*/ 182 w 9912"/>
              <a:gd name="connsiteY38" fmla="*/ 183 h 9702"/>
              <a:gd name="connsiteX39" fmla="*/ 0 w 9912"/>
              <a:gd name="connsiteY39" fmla="*/ 0 h 9702"/>
              <a:gd name="connsiteX40" fmla="*/ 88 w 9912"/>
              <a:gd name="connsiteY40" fmla="*/ 307 h 9702"/>
              <a:gd name="connsiteX41" fmla="*/ 207 w 9912"/>
              <a:gd name="connsiteY41" fmla="*/ 704 h 9702"/>
              <a:gd name="connsiteX42" fmla="*/ 357 w 9912"/>
              <a:gd name="connsiteY42" fmla="*/ 1177 h 9702"/>
              <a:gd name="connsiteX43" fmla="*/ 533 w 9912"/>
              <a:gd name="connsiteY43" fmla="*/ 1707 h 9702"/>
              <a:gd name="connsiteX44" fmla="*/ 734 w 9912"/>
              <a:gd name="connsiteY44" fmla="*/ 2295 h 9702"/>
              <a:gd name="connsiteX45" fmla="*/ 960 w 9912"/>
              <a:gd name="connsiteY45" fmla="*/ 2908 h 9702"/>
              <a:gd name="connsiteX46" fmla="*/ 1079 w 9912"/>
              <a:gd name="connsiteY46" fmla="*/ 3231 h 9702"/>
              <a:gd name="connsiteX47" fmla="*/ 1211 w 9912"/>
              <a:gd name="connsiteY47" fmla="*/ 3555 h 9702"/>
              <a:gd name="connsiteX48" fmla="*/ 1342 w 9912"/>
              <a:gd name="connsiteY48" fmla="*/ 3878 h 9702"/>
              <a:gd name="connsiteX49" fmla="*/ 1480 w 9912"/>
              <a:gd name="connsiteY49" fmla="*/ 4201 h 9702"/>
              <a:gd name="connsiteX50" fmla="*/ 1625 w 9912"/>
              <a:gd name="connsiteY50" fmla="*/ 4524 h 9702"/>
              <a:gd name="connsiteX51" fmla="*/ 1775 w 9912"/>
              <a:gd name="connsiteY51" fmla="*/ 4847 h 9702"/>
              <a:gd name="connsiteX52" fmla="*/ 1932 w 9912"/>
              <a:gd name="connsiteY52" fmla="*/ 5162 h 9702"/>
              <a:gd name="connsiteX53" fmla="*/ 2089 w 9912"/>
              <a:gd name="connsiteY53" fmla="*/ 5477 h 9702"/>
              <a:gd name="connsiteX54" fmla="*/ 2252 w 9912"/>
              <a:gd name="connsiteY54" fmla="*/ 5783 h 9702"/>
              <a:gd name="connsiteX55" fmla="*/ 2421 w 9912"/>
              <a:gd name="connsiteY55" fmla="*/ 6073 h 9702"/>
              <a:gd name="connsiteX56" fmla="*/ 2597 w 9912"/>
              <a:gd name="connsiteY56" fmla="*/ 6355 h 9702"/>
              <a:gd name="connsiteX57" fmla="*/ 2773 w 9912"/>
              <a:gd name="connsiteY57" fmla="*/ 6628 h 9702"/>
              <a:gd name="connsiteX58" fmla="*/ 2955 w 9912"/>
              <a:gd name="connsiteY58" fmla="*/ 6885 h 9702"/>
              <a:gd name="connsiteX59" fmla="*/ 3143 w 9912"/>
              <a:gd name="connsiteY59" fmla="*/ 7125 h 9702"/>
              <a:gd name="connsiteX60" fmla="*/ 3331 w 9912"/>
              <a:gd name="connsiteY60" fmla="*/ 7349 h 9702"/>
              <a:gd name="connsiteX61" fmla="*/ 3526 w 9912"/>
              <a:gd name="connsiteY61" fmla="*/ 7548 h 9702"/>
              <a:gd name="connsiteX62" fmla="*/ 3526 w 9912"/>
              <a:gd name="connsiteY62" fmla="*/ 7548 h 9702"/>
              <a:gd name="connsiteX63" fmla="*/ 3726 w 9912"/>
              <a:gd name="connsiteY63" fmla="*/ 7738 h 9702"/>
              <a:gd name="connsiteX64" fmla="*/ 3940 w 9912"/>
              <a:gd name="connsiteY64" fmla="*/ 7912 h 9702"/>
              <a:gd name="connsiteX65" fmla="*/ 4165 w 9912"/>
              <a:gd name="connsiteY65" fmla="*/ 8078 h 9702"/>
              <a:gd name="connsiteX66" fmla="*/ 4398 w 9912"/>
              <a:gd name="connsiteY66" fmla="*/ 8227 h 9702"/>
              <a:gd name="connsiteX67" fmla="*/ 4636 w 9912"/>
              <a:gd name="connsiteY67" fmla="*/ 8376 h 9702"/>
              <a:gd name="connsiteX68" fmla="*/ 4887 w 9912"/>
              <a:gd name="connsiteY68" fmla="*/ 8509 h 9702"/>
              <a:gd name="connsiteX69" fmla="*/ 5144 w 9912"/>
              <a:gd name="connsiteY69" fmla="*/ 8633 h 9702"/>
              <a:gd name="connsiteX70" fmla="*/ 5401 w 9912"/>
              <a:gd name="connsiteY70" fmla="*/ 8749 h 9702"/>
              <a:gd name="connsiteX71" fmla="*/ 5665 w 9912"/>
              <a:gd name="connsiteY71" fmla="*/ 8857 h 9702"/>
              <a:gd name="connsiteX72" fmla="*/ 5928 w 9912"/>
              <a:gd name="connsiteY72" fmla="*/ 8956 h 9702"/>
              <a:gd name="connsiteX73" fmla="*/ 6192 w 9912"/>
              <a:gd name="connsiteY73" fmla="*/ 9047 h 9702"/>
              <a:gd name="connsiteX74" fmla="*/ 6462 w 9912"/>
              <a:gd name="connsiteY74" fmla="*/ 9130 h 9702"/>
              <a:gd name="connsiteX75" fmla="*/ 6725 w 9912"/>
              <a:gd name="connsiteY75" fmla="*/ 9205 h 9702"/>
              <a:gd name="connsiteX76" fmla="*/ 6982 w 9912"/>
              <a:gd name="connsiteY76" fmla="*/ 9279 h 9702"/>
              <a:gd name="connsiteX77" fmla="*/ 7246 w 9912"/>
              <a:gd name="connsiteY77" fmla="*/ 9337 h 9702"/>
              <a:gd name="connsiteX78" fmla="*/ 7497 w 9912"/>
              <a:gd name="connsiteY78" fmla="*/ 9395 h 9702"/>
              <a:gd name="connsiteX79" fmla="*/ 7986 w 9912"/>
              <a:gd name="connsiteY79" fmla="*/ 9487 h 9702"/>
              <a:gd name="connsiteX80" fmla="*/ 8438 w 9912"/>
              <a:gd name="connsiteY80" fmla="*/ 9561 h 9702"/>
              <a:gd name="connsiteX81" fmla="*/ 8846 w 9912"/>
              <a:gd name="connsiteY81" fmla="*/ 9619 h 9702"/>
              <a:gd name="connsiteX82" fmla="*/ 9203 w 9912"/>
              <a:gd name="connsiteY82" fmla="*/ 9652 h 9702"/>
              <a:gd name="connsiteX83" fmla="*/ 9498 w 9912"/>
              <a:gd name="connsiteY83" fmla="*/ 9685 h 9702"/>
              <a:gd name="connsiteX84" fmla="*/ 9718 w 9912"/>
              <a:gd name="connsiteY84" fmla="*/ 9694 h 9702"/>
              <a:gd name="connsiteX85" fmla="*/ 9912 w 9912"/>
              <a:gd name="connsiteY85" fmla="*/ 9702 h 9702"/>
              <a:gd name="connsiteX86" fmla="*/ 9912 w 9912"/>
              <a:gd name="connsiteY86" fmla="*/ 5087 h 9702"/>
              <a:gd name="connsiteX0" fmla="*/ 9911 w 9911"/>
              <a:gd name="connsiteY0" fmla="*/ 5054 h 9811"/>
              <a:gd name="connsiteX1" fmla="*/ 9911 w 9911"/>
              <a:gd name="connsiteY1" fmla="*/ 5054 h 9811"/>
              <a:gd name="connsiteX2" fmla="*/ 9335 w 9911"/>
              <a:gd name="connsiteY2" fmla="*/ 5046 h 9811"/>
              <a:gd name="connsiteX3" fmla="*/ 8569 w 9911"/>
              <a:gd name="connsiteY3" fmla="*/ 5012 h 9811"/>
              <a:gd name="connsiteX4" fmla="*/ 8132 w 9911"/>
              <a:gd name="connsiteY4" fmla="*/ 4986 h 9811"/>
              <a:gd name="connsiteX5" fmla="*/ 7670 w 9911"/>
              <a:gd name="connsiteY5" fmla="*/ 4944 h 9811"/>
              <a:gd name="connsiteX6" fmla="*/ 7189 w 9911"/>
              <a:gd name="connsiteY6" fmla="*/ 4901 h 9811"/>
              <a:gd name="connsiteX7" fmla="*/ 6702 w 9911"/>
              <a:gd name="connsiteY7" fmla="*/ 4849 h 9811"/>
              <a:gd name="connsiteX8" fmla="*/ 6202 w 9911"/>
              <a:gd name="connsiteY8" fmla="*/ 4773 h 9811"/>
              <a:gd name="connsiteX9" fmla="*/ 5715 w 9911"/>
              <a:gd name="connsiteY9" fmla="*/ 4696 h 9811"/>
              <a:gd name="connsiteX10" fmla="*/ 5234 w 9911"/>
              <a:gd name="connsiteY10" fmla="*/ 4602 h 9811"/>
              <a:gd name="connsiteX11" fmla="*/ 5000 w 9911"/>
              <a:gd name="connsiteY11" fmla="*/ 4542 h 9811"/>
              <a:gd name="connsiteX12" fmla="*/ 4772 w 9911"/>
              <a:gd name="connsiteY12" fmla="*/ 4490 h 9811"/>
              <a:gd name="connsiteX13" fmla="*/ 4550 w 9911"/>
              <a:gd name="connsiteY13" fmla="*/ 4422 h 9811"/>
              <a:gd name="connsiteX14" fmla="*/ 4341 w 9911"/>
              <a:gd name="connsiteY14" fmla="*/ 4354 h 9811"/>
              <a:gd name="connsiteX15" fmla="*/ 4132 w 9911"/>
              <a:gd name="connsiteY15" fmla="*/ 4286 h 9811"/>
              <a:gd name="connsiteX16" fmla="*/ 3936 w 9911"/>
              <a:gd name="connsiteY16" fmla="*/ 4209 h 9811"/>
              <a:gd name="connsiteX17" fmla="*/ 3753 w 9911"/>
              <a:gd name="connsiteY17" fmla="*/ 4132 h 9811"/>
              <a:gd name="connsiteX18" fmla="*/ 3575 w 9911"/>
              <a:gd name="connsiteY18" fmla="*/ 4047 h 9811"/>
              <a:gd name="connsiteX19" fmla="*/ 3417 w 9911"/>
              <a:gd name="connsiteY19" fmla="*/ 3952 h 9811"/>
              <a:gd name="connsiteX20" fmla="*/ 3266 w 9911"/>
              <a:gd name="connsiteY20" fmla="*/ 3859 h 9811"/>
              <a:gd name="connsiteX21" fmla="*/ 3266 w 9911"/>
              <a:gd name="connsiteY21" fmla="*/ 3859 h 9811"/>
              <a:gd name="connsiteX22" fmla="*/ 3088 w 9911"/>
              <a:gd name="connsiteY22" fmla="*/ 3731 h 9811"/>
              <a:gd name="connsiteX23" fmla="*/ 2917 w 9911"/>
              <a:gd name="connsiteY23" fmla="*/ 3603 h 9811"/>
              <a:gd name="connsiteX24" fmla="*/ 2753 w 9911"/>
              <a:gd name="connsiteY24" fmla="*/ 3475 h 9811"/>
              <a:gd name="connsiteX25" fmla="*/ 2595 w 9911"/>
              <a:gd name="connsiteY25" fmla="*/ 3338 h 9811"/>
              <a:gd name="connsiteX26" fmla="*/ 2442 w 9911"/>
              <a:gd name="connsiteY26" fmla="*/ 3210 h 9811"/>
              <a:gd name="connsiteX27" fmla="*/ 2297 w 9911"/>
              <a:gd name="connsiteY27" fmla="*/ 3073 h 9811"/>
              <a:gd name="connsiteX28" fmla="*/ 2158 w 9911"/>
              <a:gd name="connsiteY28" fmla="*/ 2937 h 9811"/>
              <a:gd name="connsiteX29" fmla="*/ 2019 w 9911"/>
              <a:gd name="connsiteY29" fmla="*/ 2792 h 9811"/>
              <a:gd name="connsiteX30" fmla="*/ 1759 w 9911"/>
              <a:gd name="connsiteY30" fmla="*/ 2509 h 9811"/>
              <a:gd name="connsiteX31" fmla="*/ 1518 w 9911"/>
              <a:gd name="connsiteY31" fmla="*/ 2228 h 9811"/>
              <a:gd name="connsiteX32" fmla="*/ 1297 w 9911"/>
              <a:gd name="connsiteY32" fmla="*/ 1937 h 9811"/>
              <a:gd name="connsiteX33" fmla="*/ 1088 w 9911"/>
              <a:gd name="connsiteY33" fmla="*/ 1648 h 9811"/>
              <a:gd name="connsiteX34" fmla="*/ 898 w 9911"/>
              <a:gd name="connsiteY34" fmla="*/ 1365 h 9811"/>
              <a:gd name="connsiteX35" fmla="*/ 721 w 9911"/>
              <a:gd name="connsiteY35" fmla="*/ 1075 h 9811"/>
              <a:gd name="connsiteX36" fmla="*/ 550 w 9911"/>
              <a:gd name="connsiteY36" fmla="*/ 802 h 9811"/>
              <a:gd name="connsiteX37" fmla="*/ 392 w 9911"/>
              <a:gd name="connsiteY37" fmla="*/ 520 h 9811"/>
              <a:gd name="connsiteX38" fmla="*/ 95 w 9911"/>
              <a:gd name="connsiteY38" fmla="*/ 0 h 9811"/>
              <a:gd name="connsiteX39" fmla="*/ 0 w 9911"/>
              <a:gd name="connsiteY39" fmla="*/ 127 h 9811"/>
              <a:gd name="connsiteX40" fmla="*/ 120 w 9911"/>
              <a:gd name="connsiteY40" fmla="*/ 537 h 9811"/>
              <a:gd name="connsiteX41" fmla="*/ 271 w 9911"/>
              <a:gd name="connsiteY41" fmla="*/ 1024 h 9811"/>
              <a:gd name="connsiteX42" fmla="*/ 449 w 9911"/>
              <a:gd name="connsiteY42" fmla="*/ 1570 h 9811"/>
              <a:gd name="connsiteX43" fmla="*/ 652 w 9911"/>
              <a:gd name="connsiteY43" fmla="*/ 2176 h 9811"/>
              <a:gd name="connsiteX44" fmla="*/ 880 w 9911"/>
              <a:gd name="connsiteY44" fmla="*/ 2808 h 9811"/>
              <a:gd name="connsiteX45" fmla="*/ 1000 w 9911"/>
              <a:gd name="connsiteY45" fmla="*/ 3141 h 9811"/>
              <a:gd name="connsiteX46" fmla="*/ 1133 w 9911"/>
              <a:gd name="connsiteY46" fmla="*/ 3475 h 9811"/>
              <a:gd name="connsiteX47" fmla="*/ 1265 w 9911"/>
              <a:gd name="connsiteY47" fmla="*/ 3808 h 9811"/>
              <a:gd name="connsiteX48" fmla="*/ 1404 w 9911"/>
              <a:gd name="connsiteY48" fmla="*/ 4141 h 9811"/>
              <a:gd name="connsiteX49" fmla="*/ 1550 w 9911"/>
              <a:gd name="connsiteY49" fmla="*/ 4474 h 9811"/>
              <a:gd name="connsiteX50" fmla="*/ 1702 w 9911"/>
              <a:gd name="connsiteY50" fmla="*/ 4807 h 9811"/>
              <a:gd name="connsiteX51" fmla="*/ 1860 w 9911"/>
              <a:gd name="connsiteY51" fmla="*/ 5132 h 9811"/>
              <a:gd name="connsiteX52" fmla="*/ 2019 w 9911"/>
              <a:gd name="connsiteY52" fmla="*/ 5456 h 9811"/>
              <a:gd name="connsiteX53" fmla="*/ 2183 w 9911"/>
              <a:gd name="connsiteY53" fmla="*/ 5772 h 9811"/>
              <a:gd name="connsiteX54" fmla="*/ 2353 w 9911"/>
              <a:gd name="connsiteY54" fmla="*/ 6071 h 9811"/>
              <a:gd name="connsiteX55" fmla="*/ 2531 w 9911"/>
              <a:gd name="connsiteY55" fmla="*/ 6361 h 9811"/>
              <a:gd name="connsiteX56" fmla="*/ 2709 w 9911"/>
              <a:gd name="connsiteY56" fmla="*/ 6643 h 9811"/>
              <a:gd name="connsiteX57" fmla="*/ 2892 w 9911"/>
              <a:gd name="connsiteY57" fmla="*/ 6907 h 9811"/>
              <a:gd name="connsiteX58" fmla="*/ 3082 w 9911"/>
              <a:gd name="connsiteY58" fmla="*/ 7155 h 9811"/>
              <a:gd name="connsiteX59" fmla="*/ 3272 w 9911"/>
              <a:gd name="connsiteY59" fmla="*/ 7386 h 9811"/>
              <a:gd name="connsiteX60" fmla="*/ 3468 w 9911"/>
              <a:gd name="connsiteY60" fmla="*/ 7591 h 9811"/>
              <a:gd name="connsiteX61" fmla="*/ 3468 w 9911"/>
              <a:gd name="connsiteY61" fmla="*/ 7591 h 9811"/>
              <a:gd name="connsiteX62" fmla="*/ 3670 w 9911"/>
              <a:gd name="connsiteY62" fmla="*/ 7787 h 9811"/>
              <a:gd name="connsiteX63" fmla="*/ 3886 w 9911"/>
              <a:gd name="connsiteY63" fmla="*/ 7966 h 9811"/>
              <a:gd name="connsiteX64" fmla="*/ 4113 w 9911"/>
              <a:gd name="connsiteY64" fmla="*/ 8137 h 9811"/>
              <a:gd name="connsiteX65" fmla="*/ 4348 w 9911"/>
              <a:gd name="connsiteY65" fmla="*/ 8291 h 9811"/>
              <a:gd name="connsiteX66" fmla="*/ 4588 w 9911"/>
              <a:gd name="connsiteY66" fmla="*/ 8444 h 9811"/>
              <a:gd name="connsiteX67" fmla="*/ 4841 w 9911"/>
              <a:gd name="connsiteY67" fmla="*/ 8581 h 9811"/>
              <a:gd name="connsiteX68" fmla="*/ 5101 w 9911"/>
              <a:gd name="connsiteY68" fmla="*/ 8709 h 9811"/>
              <a:gd name="connsiteX69" fmla="*/ 5360 w 9911"/>
              <a:gd name="connsiteY69" fmla="*/ 8829 h 9811"/>
              <a:gd name="connsiteX70" fmla="*/ 5626 w 9911"/>
              <a:gd name="connsiteY70" fmla="*/ 8940 h 9811"/>
              <a:gd name="connsiteX71" fmla="*/ 5892 w 9911"/>
              <a:gd name="connsiteY71" fmla="*/ 9042 h 9811"/>
              <a:gd name="connsiteX72" fmla="*/ 6158 w 9911"/>
              <a:gd name="connsiteY72" fmla="*/ 9136 h 9811"/>
              <a:gd name="connsiteX73" fmla="*/ 6430 w 9911"/>
              <a:gd name="connsiteY73" fmla="*/ 9221 h 9811"/>
              <a:gd name="connsiteX74" fmla="*/ 6696 w 9911"/>
              <a:gd name="connsiteY74" fmla="*/ 9299 h 9811"/>
              <a:gd name="connsiteX75" fmla="*/ 6955 w 9911"/>
              <a:gd name="connsiteY75" fmla="*/ 9375 h 9811"/>
              <a:gd name="connsiteX76" fmla="*/ 7221 w 9911"/>
              <a:gd name="connsiteY76" fmla="*/ 9435 h 9811"/>
              <a:gd name="connsiteX77" fmla="*/ 7475 w 9911"/>
              <a:gd name="connsiteY77" fmla="*/ 9495 h 9811"/>
              <a:gd name="connsiteX78" fmla="*/ 7968 w 9911"/>
              <a:gd name="connsiteY78" fmla="*/ 9589 h 9811"/>
              <a:gd name="connsiteX79" fmla="*/ 8424 w 9911"/>
              <a:gd name="connsiteY79" fmla="*/ 9666 h 9811"/>
              <a:gd name="connsiteX80" fmla="*/ 8836 w 9911"/>
              <a:gd name="connsiteY80" fmla="*/ 9725 h 9811"/>
              <a:gd name="connsiteX81" fmla="*/ 9196 w 9911"/>
              <a:gd name="connsiteY81" fmla="*/ 9759 h 9811"/>
              <a:gd name="connsiteX82" fmla="*/ 9493 w 9911"/>
              <a:gd name="connsiteY82" fmla="*/ 9793 h 9811"/>
              <a:gd name="connsiteX83" fmla="*/ 9715 w 9911"/>
              <a:gd name="connsiteY83" fmla="*/ 9803 h 9811"/>
              <a:gd name="connsiteX84" fmla="*/ 9911 w 9911"/>
              <a:gd name="connsiteY84" fmla="*/ 9811 h 9811"/>
              <a:gd name="connsiteX85" fmla="*/ 9911 w 9911"/>
              <a:gd name="connsiteY85" fmla="*/ 5054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911" h="9811">
                <a:moveTo>
                  <a:pt x="9911" y="5054"/>
                </a:moveTo>
                <a:lnTo>
                  <a:pt x="9911" y="5054"/>
                </a:lnTo>
                <a:lnTo>
                  <a:pt x="9335" y="5046"/>
                </a:lnTo>
                <a:lnTo>
                  <a:pt x="8569" y="5012"/>
                </a:lnTo>
                <a:lnTo>
                  <a:pt x="8132" y="4986"/>
                </a:lnTo>
                <a:lnTo>
                  <a:pt x="7670" y="4944"/>
                </a:lnTo>
                <a:lnTo>
                  <a:pt x="7189" y="4901"/>
                </a:lnTo>
                <a:lnTo>
                  <a:pt x="6702" y="4849"/>
                </a:lnTo>
                <a:lnTo>
                  <a:pt x="6202" y="4773"/>
                </a:lnTo>
                <a:lnTo>
                  <a:pt x="5715" y="4696"/>
                </a:lnTo>
                <a:lnTo>
                  <a:pt x="5234" y="4602"/>
                </a:lnTo>
                <a:lnTo>
                  <a:pt x="5000" y="4542"/>
                </a:lnTo>
                <a:lnTo>
                  <a:pt x="4772" y="4490"/>
                </a:lnTo>
                <a:lnTo>
                  <a:pt x="4550" y="4422"/>
                </a:lnTo>
                <a:lnTo>
                  <a:pt x="4341" y="4354"/>
                </a:lnTo>
                <a:lnTo>
                  <a:pt x="4132" y="4286"/>
                </a:lnTo>
                <a:lnTo>
                  <a:pt x="3936" y="4209"/>
                </a:lnTo>
                <a:lnTo>
                  <a:pt x="3753" y="4132"/>
                </a:lnTo>
                <a:lnTo>
                  <a:pt x="3575" y="4047"/>
                </a:lnTo>
                <a:cubicBezTo>
                  <a:pt x="3523" y="4015"/>
                  <a:pt x="3469" y="3984"/>
                  <a:pt x="3417" y="3952"/>
                </a:cubicBezTo>
                <a:lnTo>
                  <a:pt x="3266" y="3859"/>
                </a:lnTo>
                <a:lnTo>
                  <a:pt x="3266" y="3859"/>
                </a:lnTo>
                <a:lnTo>
                  <a:pt x="3088" y="3731"/>
                </a:lnTo>
                <a:lnTo>
                  <a:pt x="2917" y="3603"/>
                </a:lnTo>
                <a:lnTo>
                  <a:pt x="2753" y="3475"/>
                </a:lnTo>
                <a:lnTo>
                  <a:pt x="2595" y="3338"/>
                </a:lnTo>
                <a:lnTo>
                  <a:pt x="2442" y="3210"/>
                </a:lnTo>
                <a:cubicBezTo>
                  <a:pt x="2394" y="3164"/>
                  <a:pt x="2345" y="3119"/>
                  <a:pt x="2297" y="3073"/>
                </a:cubicBezTo>
                <a:lnTo>
                  <a:pt x="2158" y="2937"/>
                </a:lnTo>
                <a:lnTo>
                  <a:pt x="2019" y="2792"/>
                </a:lnTo>
                <a:lnTo>
                  <a:pt x="1759" y="2509"/>
                </a:lnTo>
                <a:lnTo>
                  <a:pt x="1518" y="2228"/>
                </a:lnTo>
                <a:lnTo>
                  <a:pt x="1297" y="1937"/>
                </a:lnTo>
                <a:cubicBezTo>
                  <a:pt x="1227" y="1841"/>
                  <a:pt x="1158" y="1744"/>
                  <a:pt x="1088" y="1648"/>
                </a:cubicBezTo>
                <a:lnTo>
                  <a:pt x="898" y="1365"/>
                </a:lnTo>
                <a:lnTo>
                  <a:pt x="721" y="1075"/>
                </a:lnTo>
                <a:lnTo>
                  <a:pt x="550" y="802"/>
                </a:lnTo>
                <a:cubicBezTo>
                  <a:pt x="497" y="708"/>
                  <a:pt x="445" y="614"/>
                  <a:pt x="392" y="520"/>
                </a:cubicBezTo>
                <a:lnTo>
                  <a:pt x="95" y="0"/>
                </a:lnTo>
                <a:cubicBezTo>
                  <a:pt x="63" y="42"/>
                  <a:pt x="32" y="85"/>
                  <a:pt x="0" y="127"/>
                </a:cubicBezTo>
                <a:cubicBezTo>
                  <a:pt x="40" y="263"/>
                  <a:pt x="79" y="401"/>
                  <a:pt x="120" y="537"/>
                </a:cubicBezTo>
                <a:cubicBezTo>
                  <a:pt x="170" y="699"/>
                  <a:pt x="221" y="862"/>
                  <a:pt x="271" y="1024"/>
                </a:cubicBezTo>
                <a:cubicBezTo>
                  <a:pt x="331" y="1207"/>
                  <a:pt x="389" y="1388"/>
                  <a:pt x="449" y="1570"/>
                </a:cubicBezTo>
                <a:cubicBezTo>
                  <a:pt x="517" y="1772"/>
                  <a:pt x="584" y="1974"/>
                  <a:pt x="652" y="2176"/>
                </a:cubicBezTo>
                <a:lnTo>
                  <a:pt x="880" y="2808"/>
                </a:lnTo>
                <a:cubicBezTo>
                  <a:pt x="920" y="2920"/>
                  <a:pt x="959" y="3030"/>
                  <a:pt x="1000" y="3141"/>
                </a:cubicBezTo>
                <a:cubicBezTo>
                  <a:pt x="1044" y="3252"/>
                  <a:pt x="1089" y="3364"/>
                  <a:pt x="1133" y="3475"/>
                </a:cubicBezTo>
                <a:cubicBezTo>
                  <a:pt x="1177" y="3587"/>
                  <a:pt x="1221" y="3697"/>
                  <a:pt x="1265" y="3808"/>
                </a:cubicBezTo>
                <a:cubicBezTo>
                  <a:pt x="1311" y="3919"/>
                  <a:pt x="1358" y="4030"/>
                  <a:pt x="1404" y="4141"/>
                </a:cubicBezTo>
                <a:cubicBezTo>
                  <a:pt x="1453" y="4252"/>
                  <a:pt x="1502" y="4363"/>
                  <a:pt x="1550" y="4474"/>
                </a:cubicBezTo>
                <a:cubicBezTo>
                  <a:pt x="1601" y="4585"/>
                  <a:pt x="1651" y="4696"/>
                  <a:pt x="1702" y="4807"/>
                </a:cubicBezTo>
                <a:cubicBezTo>
                  <a:pt x="1754" y="4915"/>
                  <a:pt x="1808" y="5023"/>
                  <a:pt x="1860" y="5132"/>
                </a:cubicBezTo>
                <a:lnTo>
                  <a:pt x="2019" y="5456"/>
                </a:lnTo>
                <a:cubicBezTo>
                  <a:pt x="2073" y="5561"/>
                  <a:pt x="2129" y="5666"/>
                  <a:pt x="2183" y="5772"/>
                </a:cubicBezTo>
                <a:cubicBezTo>
                  <a:pt x="2239" y="5872"/>
                  <a:pt x="2297" y="5971"/>
                  <a:pt x="2353" y="6071"/>
                </a:cubicBezTo>
                <a:cubicBezTo>
                  <a:pt x="2412" y="6168"/>
                  <a:pt x="2472" y="6264"/>
                  <a:pt x="2531" y="6361"/>
                </a:cubicBezTo>
                <a:lnTo>
                  <a:pt x="2709" y="6643"/>
                </a:lnTo>
                <a:lnTo>
                  <a:pt x="2892" y="6907"/>
                </a:lnTo>
                <a:cubicBezTo>
                  <a:pt x="2955" y="6990"/>
                  <a:pt x="3019" y="7072"/>
                  <a:pt x="3082" y="7155"/>
                </a:cubicBezTo>
                <a:lnTo>
                  <a:pt x="3272" y="7386"/>
                </a:lnTo>
                <a:lnTo>
                  <a:pt x="3468" y="7591"/>
                </a:lnTo>
                <a:lnTo>
                  <a:pt x="3468" y="7591"/>
                </a:lnTo>
                <a:lnTo>
                  <a:pt x="3670" y="7787"/>
                </a:lnTo>
                <a:lnTo>
                  <a:pt x="3886" y="7966"/>
                </a:lnTo>
                <a:lnTo>
                  <a:pt x="4113" y="8137"/>
                </a:lnTo>
                <a:lnTo>
                  <a:pt x="4348" y="8291"/>
                </a:lnTo>
                <a:lnTo>
                  <a:pt x="4588" y="8444"/>
                </a:lnTo>
                <a:lnTo>
                  <a:pt x="4841" y="8581"/>
                </a:lnTo>
                <a:lnTo>
                  <a:pt x="5101" y="8709"/>
                </a:lnTo>
                <a:lnTo>
                  <a:pt x="5360" y="8829"/>
                </a:lnTo>
                <a:lnTo>
                  <a:pt x="5626" y="8940"/>
                </a:lnTo>
                <a:lnTo>
                  <a:pt x="5892" y="9042"/>
                </a:lnTo>
                <a:lnTo>
                  <a:pt x="6158" y="9136"/>
                </a:lnTo>
                <a:lnTo>
                  <a:pt x="6430" y="9221"/>
                </a:lnTo>
                <a:lnTo>
                  <a:pt x="6696" y="9299"/>
                </a:lnTo>
                <a:lnTo>
                  <a:pt x="6955" y="9375"/>
                </a:lnTo>
                <a:lnTo>
                  <a:pt x="7221" y="9435"/>
                </a:lnTo>
                <a:lnTo>
                  <a:pt x="7475" y="9495"/>
                </a:lnTo>
                <a:lnTo>
                  <a:pt x="7968" y="9589"/>
                </a:lnTo>
                <a:lnTo>
                  <a:pt x="8424" y="9666"/>
                </a:lnTo>
                <a:lnTo>
                  <a:pt x="8836" y="9725"/>
                </a:lnTo>
                <a:lnTo>
                  <a:pt x="9196" y="9759"/>
                </a:lnTo>
                <a:lnTo>
                  <a:pt x="9493" y="9793"/>
                </a:lnTo>
                <a:lnTo>
                  <a:pt x="9715" y="9803"/>
                </a:lnTo>
                <a:lnTo>
                  <a:pt x="9911" y="9811"/>
                </a:lnTo>
                <a:lnTo>
                  <a:pt x="9911" y="5054"/>
                </a:lnTo>
                <a:close/>
              </a:path>
            </a:pathLst>
          </a:custGeom>
          <a:solidFill>
            <a:schemeClr val="accent3">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12" name="Freeform 245">
            <a:extLst>
              <a:ext uri="{FF2B5EF4-FFF2-40B4-BE49-F238E27FC236}">
                <a16:creationId xmlns:a16="http://schemas.microsoft.com/office/drawing/2014/main" id="{56D1E6CC-37C8-414C-8BB4-3A84BFF9773B}"/>
              </a:ext>
            </a:extLst>
          </p:cNvPr>
          <p:cNvSpPr>
            <a:spLocks/>
          </p:cNvSpPr>
          <p:nvPr/>
        </p:nvSpPr>
        <p:spPr bwMode="auto">
          <a:xfrm>
            <a:off x="1769486" y="1961177"/>
            <a:ext cx="1277853" cy="1282073"/>
          </a:xfrm>
          <a:custGeom>
            <a:avLst/>
            <a:gdLst>
              <a:gd name="T0" fmla="*/ 3054 w 3054"/>
              <a:gd name="T1" fmla="*/ 0 h 1044"/>
              <a:gd name="T2" fmla="*/ 3054 w 3054"/>
              <a:gd name="T3" fmla="*/ 0 h 1044"/>
              <a:gd name="T4" fmla="*/ 2872 w 3054"/>
              <a:gd name="T5" fmla="*/ 2 h 1044"/>
              <a:gd name="T6" fmla="*/ 2630 w 3054"/>
              <a:gd name="T7" fmla="*/ 10 h 1044"/>
              <a:gd name="T8" fmla="*/ 2492 w 3054"/>
              <a:gd name="T9" fmla="*/ 16 h 1044"/>
              <a:gd name="T10" fmla="*/ 2346 w 3054"/>
              <a:gd name="T11" fmla="*/ 26 h 1044"/>
              <a:gd name="T12" fmla="*/ 2194 w 3054"/>
              <a:gd name="T13" fmla="*/ 36 h 1044"/>
              <a:gd name="T14" fmla="*/ 2038 w 3054"/>
              <a:gd name="T15" fmla="*/ 50 h 1044"/>
              <a:gd name="T16" fmla="*/ 1880 w 3054"/>
              <a:gd name="T17" fmla="*/ 66 h 1044"/>
              <a:gd name="T18" fmla="*/ 1726 w 3054"/>
              <a:gd name="T19" fmla="*/ 86 h 1044"/>
              <a:gd name="T20" fmla="*/ 1574 w 3054"/>
              <a:gd name="T21" fmla="*/ 108 h 1044"/>
              <a:gd name="T22" fmla="*/ 1500 w 3054"/>
              <a:gd name="T23" fmla="*/ 120 h 1044"/>
              <a:gd name="T24" fmla="*/ 1428 w 3054"/>
              <a:gd name="T25" fmla="*/ 134 h 1044"/>
              <a:gd name="T26" fmla="*/ 1358 w 3054"/>
              <a:gd name="T27" fmla="*/ 150 h 1044"/>
              <a:gd name="T28" fmla="*/ 1290 w 3054"/>
              <a:gd name="T29" fmla="*/ 164 h 1044"/>
              <a:gd name="T30" fmla="*/ 1224 w 3054"/>
              <a:gd name="T31" fmla="*/ 182 h 1044"/>
              <a:gd name="T32" fmla="*/ 1162 w 3054"/>
              <a:gd name="T33" fmla="*/ 200 h 1044"/>
              <a:gd name="T34" fmla="*/ 1104 w 3054"/>
              <a:gd name="T35" fmla="*/ 218 h 1044"/>
              <a:gd name="T36" fmla="*/ 1048 w 3054"/>
              <a:gd name="T37" fmla="*/ 238 h 1044"/>
              <a:gd name="T38" fmla="*/ 998 w 3054"/>
              <a:gd name="T39" fmla="*/ 260 h 1044"/>
              <a:gd name="T40" fmla="*/ 950 w 3054"/>
              <a:gd name="T41" fmla="*/ 282 h 1044"/>
              <a:gd name="T42" fmla="*/ 950 w 3054"/>
              <a:gd name="T43" fmla="*/ 282 h 1044"/>
              <a:gd name="T44" fmla="*/ 860 w 3054"/>
              <a:gd name="T45" fmla="*/ 330 h 1044"/>
              <a:gd name="T46" fmla="*/ 778 w 3054"/>
              <a:gd name="T47" fmla="*/ 378 h 1044"/>
              <a:gd name="T48" fmla="*/ 702 w 3054"/>
              <a:gd name="T49" fmla="*/ 428 h 1044"/>
              <a:gd name="T50" fmla="*/ 632 w 3054"/>
              <a:gd name="T51" fmla="*/ 474 h 1044"/>
              <a:gd name="T52" fmla="*/ 568 w 3054"/>
              <a:gd name="T53" fmla="*/ 522 h 1044"/>
              <a:gd name="T54" fmla="*/ 508 w 3054"/>
              <a:gd name="T55" fmla="*/ 568 h 1044"/>
              <a:gd name="T56" fmla="*/ 452 w 3054"/>
              <a:gd name="T57" fmla="*/ 612 h 1044"/>
              <a:gd name="T58" fmla="*/ 402 w 3054"/>
              <a:gd name="T59" fmla="*/ 656 h 1044"/>
              <a:gd name="T60" fmla="*/ 402 w 3054"/>
              <a:gd name="T61" fmla="*/ 656 h 1044"/>
              <a:gd name="T62" fmla="*/ 284 w 3054"/>
              <a:gd name="T63" fmla="*/ 758 h 1044"/>
              <a:gd name="T64" fmla="*/ 284 w 3054"/>
              <a:gd name="T65" fmla="*/ 758 h 1044"/>
              <a:gd name="T66" fmla="*/ 220 w 3054"/>
              <a:gd name="T67" fmla="*/ 812 h 1044"/>
              <a:gd name="T68" fmla="*/ 190 w 3054"/>
              <a:gd name="T69" fmla="*/ 836 h 1044"/>
              <a:gd name="T70" fmla="*/ 160 w 3054"/>
              <a:gd name="T71" fmla="*/ 858 h 1044"/>
              <a:gd name="T72" fmla="*/ 128 w 3054"/>
              <a:gd name="T73" fmla="*/ 880 h 1044"/>
              <a:gd name="T74" fmla="*/ 98 w 3054"/>
              <a:gd name="T75" fmla="*/ 898 h 1044"/>
              <a:gd name="T76" fmla="*/ 66 w 3054"/>
              <a:gd name="T77" fmla="*/ 916 h 1044"/>
              <a:gd name="T78" fmla="*/ 32 w 3054"/>
              <a:gd name="T79" fmla="*/ 932 h 1044"/>
              <a:gd name="T80" fmla="*/ 32 w 3054"/>
              <a:gd name="T81" fmla="*/ 932 h 1044"/>
              <a:gd name="T82" fmla="*/ 0 w 3054"/>
              <a:gd name="T83" fmla="*/ 998 h 1044"/>
              <a:gd name="T84" fmla="*/ 3054 w 3054"/>
              <a:gd name="T85" fmla="*/ 998 h 1044"/>
              <a:gd name="T86" fmla="*/ 3054 w 3054"/>
              <a:gd name="T87" fmla="*/ 1044 h 1044"/>
              <a:gd name="T88" fmla="*/ 3054 w 3054"/>
              <a:gd name="T89" fmla="*/ 1044 h 1044"/>
              <a:gd name="T90" fmla="*/ 3054 w 3054"/>
              <a:gd name="T91" fmla="*/ 6 h 1044"/>
              <a:gd name="T92" fmla="*/ 3054 w 3054"/>
              <a:gd name="T93" fmla="*/ 0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54" h="1044">
                <a:moveTo>
                  <a:pt x="3054" y="0"/>
                </a:moveTo>
                <a:lnTo>
                  <a:pt x="3054" y="0"/>
                </a:lnTo>
                <a:lnTo>
                  <a:pt x="2872" y="2"/>
                </a:lnTo>
                <a:lnTo>
                  <a:pt x="2630" y="10"/>
                </a:lnTo>
                <a:lnTo>
                  <a:pt x="2492" y="16"/>
                </a:lnTo>
                <a:lnTo>
                  <a:pt x="2346" y="26"/>
                </a:lnTo>
                <a:lnTo>
                  <a:pt x="2194" y="36"/>
                </a:lnTo>
                <a:lnTo>
                  <a:pt x="2038" y="50"/>
                </a:lnTo>
                <a:lnTo>
                  <a:pt x="1880" y="66"/>
                </a:lnTo>
                <a:lnTo>
                  <a:pt x="1726" y="86"/>
                </a:lnTo>
                <a:lnTo>
                  <a:pt x="1574" y="108"/>
                </a:lnTo>
                <a:lnTo>
                  <a:pt x="1500" y="120"/>
                </a:lnTo>
                <a:lnTo>
                  <a:pt x="1428" y="134"/>
                </a:lnTo>
                <a:lnTo>
                  <a:pt x="1358" y="150"/>
                </a:lnTo>
                <a:lnTo>
                  <a:pt x="1290" y="164"/>
                </a:lnTo>
                <a:lnTo>
                  <a:pt x="1224" y="182"/>
                </a:lnTo>
                <a:lnTo>
                  <a:pt x="1162" y="200"/>
                </a:lnTo>
                <a:lnTo>
                  <a:pt x="1104" y="218"/>
                </a:lnTo>
                <a:lnTo>
                  <a:pt x="1048" y="238"/>
                </a:lnTo>
                <a:lnTo>
                  <a:pt x="998" y="260"/>
                </a:lnTo>
                <a:lnTo>
                  <a:pt x="950" y="282"/>
                </a:lnTo>
                <a:lnTo>
                  <a:pt x="950" y="282"/>
                </a:lnTo>
                <a:lnTo>
                  <a:pt x="860" y="330"/>
                </a:lnTo>
                <a:lnTo>
                  <a:pt x="778" y="378"/>
                </a:lnTo>
                <a:lnTo>
                  <a:pt x="702" y="428"/>
                </a:lnTo>
                <a:lnTo>
                  <a:pt x="632" y="474"/>
                </a:lnTo>
                <a:lnTo>
                  <a:pt x="568" y="522"/>
                </a:lnTo>
                <a:lnTo>
                  <a:pt x="508" y="568"/>
                </a:lnTo>
                <a:lnTo>
                  <a:pt x="452" y="612"/>
                </a:lnTo>
                <a:lnTo>
                  <a:pt x="402" y="656"/>
                </a:lnTo>
                <a:lnTo>
                  <a:pt x="402" y="656"/>
                </a:lnTo>
                <a:lnTo>
                  <a:pt x="284" y="758"/>
                </a:lnTo>
                <a:lnTo>
                  <a:pt x="284" y="758"/>
                </a:lnTo>
                <a:lnTo>
                  <a:pt x="220" y="812"/>
                </a:lnTo>
                <a:lnTo>
                  <a:pt x="190" y="836"/>
                </a:lnTo>
                <a:lnTo>
                  <a:pt x="160" y="858"/>
                </a:lnTo>
                <a:lnTo>
                  <a:pt x="128" y="880"/>
                </a:lnTo>
                <a:lnTo>
                  <a:pt x="98" y="898"/>
                </a:lnTo>
                <a:lnTo>
                  <a:pt x="66" y="916"/>
                </a:lnTo>
                <a:lnTo>
                  <a:pt x="32" y="932"/>
                </a:lnTo>
                <a:lnTo>
                  <a:pt x="32" y="932"/>
                </a:lnTo>
                <a:lnTo>
                  <a:pt x="0" y="998"/>
                </a:lnTo>
                <a:lnTo>
                  <a:pt x="3054" y="998"/>
                </a:lnTo>
                <a:lnTo>
                  <a:pt x="3054" y="1044"/>
                </a:lnTo>
                <a:lnTo>
                  <a:pt x="3054" y="1044"/>
                </a:lnTo>
                <a:lnTo>
                  <a:pt x="3054" y="6"/>
                </a:lnTo>
                <a:lnTo>
                  <a:pt x="3054" y="0"/>
                </a:lnTo>
                <a:close/>
              </a:path>
            </a:pathLst>
          </a:custGeom>
          <a:solidFill>
            <a:schemeClr val="accent3">
              <a:lumMod val="25000"/>
              <a:lumOff val="75000"/>
            </a:schemeClr>
          </a:solidFill>
          <a:ln>
            <a:noFill/>
          </a:ln>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a:ln>
                <a:noFill/>
              </a:ln>
              <a:solidFill>
                <a:prstClr val="black"/>
              </a:solidFill>
              <a:effectLst/>
              <a:uLnTx/>
              <a:uFillTx/>
              <a:latin typeface="Century Gothic"/>
              <a:ea typeface="+mn-ea"/>
              <a:cs typeface="+mn-cs"/>
            </a:endParaRPr>
          </a:p>
        </p:txBody>
      </p:sp>
      <p:sp>
        <p:nvSpPr>
          <p:cNvPr id="13" name="Freeform 250">
            <a:extLst>
              <a:ext uri="{FF2B5EF4-FFF2-40B4-BE49-F238E27FC236}">
                <a16:creationId xmlns:a16="http://schemas.microsoft.com/office/drawing/2014/main" id="{0DA358B3-7D20-48BB-85E7-A29A3EEBC12B}"/>
              </a:ext>
            </a:extLst>
          </p:cNvPr>
          <p:cNvSpPr>
            <a:spLocks/>
          </p:cNvSpPr>
          <p:nvPr/>
        </p:nvSpPr>
        <p:spPr bwMode="auto">
          <a:xfrm>
            <a:off x="1783712" y="1031129"/>
            <a:ext cx="1263627" cy="2088258"/>
          </a:xfrm>
          <a:custGeom>
            <a:avLst/>
            <a:gdLst>
              <a:gd name="T0" fmla="*/ 3020 w 3020"/>
              <a:gd name="T1" fmla="*/ 0 h 1922"/>
              <a:gd name="T2" fmla="*/ 2852 w 3020"/>
              <a:gd name="T3" fmla="*/ 8 h 1922"/>
              <a:gd name="T4" fmla="*/ 2590 w 3020"/>
              <a:gd name="T5" fmla="*/ 26 h 1922"/>
              <a:gd name="T6" fmla="*/ 2250 w 3020"/>
              <a:gd name="T7" fmla="*/ 62 h 1922"/>
              <a:gd name="T8" fmla="*/ 2064 w 3020"/>
              <a:gd name="T9" fmla="*/ 88 h 1922"/>
              <a:gd name="T10" fmla="*/ 1870 w 3020"/>
              <a:gd name="T11" fmla="*/ 120 h 1922"/>
              <a:gd name="T12" fmla="*/ 1676 w 3020"/>
              <a:gd name="T13" fmla="*/ 160 h 1922"/>
              <a:gd name="T14" fmla="*/ 1486 w 3020"/>
              <a:gd name="T15" fmla="*/ 206 h 1922"/>
              <a:gd name="T16" fmla="*/ 1302 w 3020"/>
              <a:gd name="T17" fmla="*/ 262 h 1922"/>
              <a:gd name="T18" fmla="*/ 1132 w 3020"/>
              <a:gd name="T19" fmla="*/ 326 h 1922"/>
              <a:gd name="T20" fmla="*/ 978 w 3020"/>
              <a:gd name="T21" fmla="*/ 400 h 1922"/>
              <a:gd name="T22" fmla="*/ 910 w 3020"/>
              <a:gd name="T23" fmla="*/ 440 h 1922"/>
              <a:gd name="T24" fmla="*/ 846 w 3020"/>
              <a:gd name="T25" fmla="*/ 484 h 1922"/>
              <a:gd name="T26" fmla="*/ 790 w 3020"/>
              <a:gd name="T27" fmla="*/ 530 h 1922"/>
              <a:gd name="T28" fmla="*/ 740 w 3020"/>
              <a:gd name="T29" fmla="*/ 578 h 1922"/>
              <a:gd name="T30" fmla="*/ 698 w 3020"/>
              <a:gd name="T31" fmla="*/ 626 h 1922"/>
              <a:gd name="T32" fmla="*/ 622 w 3020"/>
              <a:gd name="T33" fmla="*/ 722 h 1922"/>
              <a:gd name="T34" fmla="*/ 556 w 3020"/>
              <a:gd name="T35" fmla="*/ 816 h 1922"/>
              <a:gd name="T36" fmla="*/ 498 w 3020"/>
              <a:gd name="T37" fmla="*/ 918 h 1922"/>
              <a:gd name="T38" fmla="*/ 468 w 3020"/>
              <a:gd name="T39" fmla="*/ 970 h 1922"/>
              <a:gd name="T40" fmla="*/ 468 w 3020"/>
              <a:gd name="T41" fmla="*/ 972 h 1922"/>
              <a:gd name="T42" fmla="*/ 488 w 3020"/>
              <a:gd name="T43" fmla="*/ 938 h 1922"/>
              <a:gd name="T44" fmla="*/ 488 w 3020"/>
              <a:gd name="T45" fmla="*/ 938 h 1922"/>
              <a:gd name="T46" fmla="*/ 442 w 3020"/>
              <a:gd name="T47" fmla="*/ 1022 h 1922"/>
              <a:gd name="T48" fmla="*/ 0 w 3020"/>
              <a:gd name="T49" fmla="*/ 1922 h 1922"/>
              <a:gd name="T50" fmla="*/ 32 w 3020"/>
              <a:gd name="T51" fmla="*/ 1906 h 1922"/>
              <a:gd name="T52" fmla="*/ 96 w 3020"/>
              <a:gd name="T53" fmla="*/ 1870 h 1922"/>
              <a:gd name="T54" fmla="*/ 156 w 3020"/>
              <a:gd name="T55" fmla="*/ 1826 h 1922"/>
              <a:gd name="T56" fmla="*/ 250 w 3020"/>
              <a:gd name="T57" fmla="*/ 1750 h 1922"/>
              <a:gd name="T58" fmla="*/ 368 w 3020"/>
              <a:gd name="T59" fmla="*/ 1648 h 1922"/>
              <a:gd name="T60" fmla="*/ 418 w 3020"/>
              <a:gd name="T61" fmla="*/ 1604 h 1922"/>
              <a:gd name="T62" fmla="*/ 534 w 3020"/>
              <a:gd name="T63" fmla="*/ 1512 h 1922"/>
              <a:gd name="T64" fmla="*/ 670 w 3020"/>
              <a:gd name="T65" fmla="*/ 1416 h 1922"/>
              <a:gd name="T66" fmla="*/ 830 w 3020"/>
              <a:gd name="T67" fmla="*/ 1318 h 1922"/>
              <a:gd name="T68" fmla="*/ 922 w 3020"/>
              <a:gd name="T69" fmla="*/ 1270 h 1922"/>
              <a:gd name="T70" fmla="*/ 1020 w 3020"/>
              <a:gd name="T71" fmla="*/ 1226 h 1922"/>
              <a:gd name="T72" fmla="*/ 1134 w 3020"/>
              <a:gd name="T73" fmla="*/ 1188 h 1922"/>
              <a:gd name="T74" fmla="*/ 1260 w 3020"/>
              <a:gd name="T75" fmla="*/ 1152 h 1922"/>
              <a:gd name="T76" fmla="*/ 1398 w 3020"/>
              <a:gd name="T77" fmla="*/ 1122 h 1922"/>
              <a:gd name="T78" fmla="*/ 1544 w 3020"/>
              <a:gd name="T79" fmla="*/ 1096 h 1922"/>
              <a:gd name="T80" fmla="*/ 1850 w 3020"/>
              <a:gd name="T81" fmla="*/ 1054 h 1922"/>
              <a:gd name="T82" fmla="*/ 2162 w 3020"/>
              <a:gd name="T83" fmla="*/ 1026 h 1922"/>
              <a:gd name="T84" fmla="*/ 2460 w 3020"/>
              <a:gd name="T85" fmla="*/ 1006 h 1922"/>
              <a:gd name="T86" fmla="*/ 2840 w 3020"/>
              <a:gd name="T87" fmla="*/ 992 h 1922"/>
              <a:gd name="T88" fmla="*/ 3020 w 3020"/>
              <a:gd name="T89" fmla="*/ 992 h 1922"/>
              <a:gd name="T90" fmla="*/ 3020 w 3020"/>
              <a:gd name="T91"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20" h="1922">
                <a:moveTo>
                  <a:pt x="3020" y="0"/>
                </a:moveTo>
                <a:lnTo>
                  <a:pt x="3020" y="0"/>
                </a:lnTo>
                <a:lnTo>
                  <a:pt x="2942" y="2"/>
                </a:lnTo>
                <a:lnTo>
                  <a:pt x="2852" y="8"/>
                </a:lnTo>
                <a:lnTo>
                  <a:pt x="2732" y="14"/>
                </a:lnTo>
                <a:lnTo>
                  <a:pt x="2590" y="26"/>
                </a:lnTo>
                <a:lnTo>
                  <a:pt x="2428" y="42"/>
                </a:lnTo>
                <a:lnTo>
                  <a:pt x="2250" y="62"/>
                </a:lnTo>
                <a:lnTo>
                  <a:pt x="2158" y="74"/>
                </a:lnTo>
                <a:lnTo>
                  <a:pt x="2064" y="88"/>
                </a:lnTo>
                <a:lnTo>
                  <a:pt x="1966" y="104"/>
                </a:lnTo>
                <a:lnTo>
                  <a:pt x="1870" y="120"/>
                </a:lnTo>
                <a:lnTo>
                  <a:pt x="1772" y="140"/>
                </a:lnTo>
                <a:lnTo>
                  <a:pt x="1676" y="160"/>
                </a:lnTo>
                <a:lnTo>
                  <a:pt x="1580" y="182"/>
                </a:lnTo>
                <a:lnTo>
                  <a:pt x="1486" y="206"/>
                </a:lnTo>
                <a:lnTo>
                  <a:pt x="1392" y="232"/>
                </a:lnTo>
                <a:lnTo>
                  <a:pt x="1302" y="262"/>
                </a:lnTo>
                <a:lnTo>
                  <a:pt x="1216" y="292"/>
                </a:lnTo>
                <a:lnTo>
                  <a:pt x="1132" y="326"/>
                </a:lnTo>
                <a:lnTo>
                  <a:pt x="1052" y="362"/>
                </a:lnTo>
                <a:lnTo>
                  <a:pt x="978" y="400"/>
                </a:lnTo>
                <a:lnTo>
                  <a:pt x="942" y="420"/>
                </a:lnTo>
                <a:lnTo>
                  <a:pt x="910" y="440"/>
                </a:lnTo>
                <a:lnTo>
                  <a:pt x="876" y="462"/>
                </a:lnTo>
                <a:lnTo>
                  <a:pt x="846" y="484"/>
                </a:lnTo>
                <a:lnTo>
                  <a:pt x="816" y="506"/>
                </a:lnTo>
                <a:lnTo>
                  <a:pt x="790" y="530"/>
                </a:lnTo>
                <a:lnTo>
                  <a:pt x="764" y="554"/>
                </a:lnTo>
                <a:lnTo>
                  <a:pt x="740" y="578"/>
                </a:lnTo>
                <a:lnTo>
                  <a:pt x="740" y="578"/>
                </a:lnTo>
                <a:lnTo>
                  <a:pt x="698" y="626"/>
                </a:lnTo>
                <a:lnTo>
                  <a:pt x="658" y="674"/>
                </a:lnTo>
                <a:lnTo>
                  <a:pt x="622" y="722"/>
                </a:lnTo>
                <a:lnTo>
                  <a:pt x="588" y="768"/>
                </a:lnTo>
                <a:lnTo>
                  <a:pt x="556" y="816"/>
                </a:lnTo>
                <a:lnTo>
                  <a:pt x="526" y="866"/>
                </a:lnTo>
                <a:lnTo>
                  <a:pt x="498" y="918"/>
                </a:lnTo>
                <a:lnTo>
                  <a:pt x="468" y="970"/>
                </a:lnTo>
                <a:lnTo>
                  <a:pt x="468" y="970"/>
                </a:lnTo>
                <a:lnTo>
                  <a:pt x="468" y="972"/>
                </a:lnTo>
                <a:lnTo>
                  <a:pt x="468" y="972"/>
                </a:lnTo>
                <a:lnTo>
                  <a:pt x="488" y="938"/>
                </a:lnTo>
                <a:lnTo>
                  <a:pt x="488" y="938"/>
                </a:lnTo>
                <a:lnTo>
                  <a:pt x="488" y="938"/>
                </a:lnTo>
                <a:lnTo>
                  <a:pt x="488" y="938"/>
                </a:lnTo>
                <a:lnTo>
                  <a:pt x="442" y="1022"/>
                </a:lnTo>
                <a:lnTo>
                  <a:pt x="442" y="1022"/>
                </a:lnTo>
                <a:lnTo>
                  <a:pt x="248" y="1418"/>
                </a:lnTo>
                <a:lnTo>
                  <a:pt x="0" y="1922"/>
                </a:lnTo>
                <a:lnTo>
                  <a:pt x="0" y="1922"/>
                </a:lnTo>
                <a:lnTo>
                  <a:pt x="32" y="1906"/>
                </a:lnTo>
                <a:lnTo>
                  <a:pt x="64" y="1888"/>
                </a:lnTo>
                <a:lnTo>
                  <a:pt x="96" y="1870"/>
                </a:lnTo>
                <a:lnTo>
                  <a:pt x="126" y="1848"/>
                </a:lnTo>
                <a:lnTo>
                  <a:pt x="156" y="1826"/>
                </a:lnTo>
                <a:lnTo>
                  <a:pt x="188" y="1802"/>
                </a:lnTo>
                <a:lnTo>
                  <a:pt x="250" y="1750"/>
                </a:lnTo>
                <a:lnTo>
                  <a:pt x="250" y="1750"/>
                </a:lnTo>
                <a:lnTo>
                  <a:pt x="368" y="1648"/>
                </a:lnTo>
                <a:lnTo>
                  <a:pt x="368" y="1648"/>
                </a:lnTo>
                <a:lnTo>
                  <a:pt x="418" y="1604"/>
                </a:lnTo>
                <a:lnTo>
                  <a:pt x="474" y="1560"/>
                </a:lnTo>
                <a:lnTo>
                  <a:pt x="534" y="1512"/>
                </a:lnTo>
                <a:lnTo>
                  <a:pt x="600" y="1464"/>
                </a:lnTo>
                <a:lnTo>
                  <a:pt x="670" y="1416"/>
                </a:lnTo>
                <a:lnTo>
                  <a:pt x="746" y="1368"/>
                </a:lnTo>
                <a:lnTo>
                  <a:pt x="830" y="1318"/>
                </a:lnTo>
                <a:lnTo>
                  <a:pt x="922" y="1270"/>
                </a:lnTo>
                <a:lnTo>
                  <a:pt x="922" y="1270"/>
                </a:lnTo>
                <a:lnTo>
                  <a:pt x="968" y="1248"/>
                </a:lnTo>
                <a:lnTo>
                  <a:pt x="1020" y="1226"/>
                </a:lnTo>
                <a:lnTo>
                  <a:pt x="1074" y="1206"/>
                </a:lnTo>
                <a:lnTo>
                  <a:pt x="1134" y="1188"/>
                </a:lnTo>
                <a:lnTo>
                  <a:pt x="1196" y="1170"/>
                </a:lnTo>
                <a:lnTo>
                  <a:pt x="1260" y="1152"/>
                </a:lnTo>
                <a:lnTo>
                  <a:pt x="1328" y="1138"/>
                </a:lnTo>
                <a:lnTo>
                  <a:pt x="1398" y="1122"/>
                </a:lnTo>
                <a:lnTo>
                  <a:pt x="1470" y="1110"/>
                </a:lnTo>
                <a:lnTo>
                  <a:pt x="1544" y="1096"/>
                </a:lnTo>
                <a:lnTo>
                  <a:pt x="1694" y="1074"/>
                </a:lnTo>
                <a:lnTo>
                  <a:pt x="1850" y="1054"/>
                </a:lnTo>
                <a:lnTo>
                  <a:pt x="2006" y="1038"/>
                </a:lnTo>
                <a:lnTo>
                  <a:pt x="2162" y="1026"/>
                </a:lnTo>
                <a:lnTo>
                  <a:pt x="2314" y="1014"/>
                </a:lnTo>
                <a:lnTo>
                  <a:pt x="2460" y="1006"/>
                </a:lnTo>
                <a:lnTo>
                  <a:pt x="2598" y="1000"/>
                </a:lnTo>
                <a:lnTo>
                  <a:pt x="2840" y="992"/>
                </a:lnTo>
                <a:lnTo>
                  <a:pt x="3020" y="990"/>
                </a:lnTo>
                <a:lnTo>
                  <a:pt x="3020" y="992"/>
                </a:lnTo>
                <a:lnTo>
                  <a:pt x="3020" y="992"/>
                </a:lnTo>
                <a:lnTo>
                  <a:pt x="3020" y="0"/>
                </a:lnTo>
                <a:close/>
              </a:path>
            </a:pathLst>
          </a:custGeom>
          <a:solidFill>
            <a:schemeClr val="tx2">
              <a:lumMod val="40000"/>
              <a:lumOff val="60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a:ln>
                <a:noFill/>
              </a:ln>
              <a:solidFill>
                <a:prstClr val="black"/>
              </a:solidFill>
              <a:effectLst/>
              <a:uLnTx/>
              <a:uFillTx/>
              <a:latin typeface="Century Gothic"/>
              <a:ea typeface="+mn-ea"/>
              <a:cs typeface="+mn-cs"/>
            </a:endParaRPr>
          </a:p>
        </p:txBody>
      </p:sp>
      <p:sp>
        <p:nvSpPr>
          <p:cNvPr id="14" name="Freeform 260">
            <a:extLst>
              <a:ext uri="{FF2B5EF4-FFF2-40B4-BE49-F238E27FC236}">
                <a16:creationId xmlns:a16="http://schemas.microsoft.com/office/drawing/2014/main" id="{70BA51FF-9448-4772-A32E-DEA094A727F4}"/>
              </a:ext>
            </a:extLst>
          </p:cNvPr>
          <p:cNvSpPr>
            <a:spLocks/>
          </p:cNvSpPr>
          <p:nvPr/>
        </p:nvSpPr>
        <p:spPr bwMode="auto">
          <a:xfrm>
            <a:off x="369454" y="2065480"/>
            <a:ext cx="1614263" cy="2344673"/>
          </a:xfrm>
          <a:custGeom>
            <a:avLst/>
            <a:gdLst>
              <a:gd name="T0" fmla="*/ 1968 w 3858"/>
              <a:gd name="T1" fmla="*/ 2158 h 2158"/>
              <a:gd name="T2" fmla="*/ 2090 w 3858"/>
              <a:gd name="T3" fmla="*/ 2150 h 2158"/>
              <a:gd name="T4" fmla="*/ 2206 w 3858"/>
              <a:gd name="T5" fmla="*/ 2126 h 2158"/>
              <a:gd name="T6" fmla="*/ 2320 w 3858"/>
              <a:gd name="T7" fmla="*/ 2090 h 2158"/>
              <a:gd name="T8" fmla="*/ 2430 w 3858"/>
              <a:gd name="T9" fmla="*/ 2042 h 2158"/>
              <a:gd name="T10" fmla="*/ 2534 w 3858"/>
              <a:gd name="T11" fmla="*/ 1984 h 2158"/>
              <a:gd name="T12" fmla="*/ 2632 w 3858"/>
              <a:gd name="T13" fmla="*/ 1918 h 2158"/>
              <a:gd name="T14" fmla="*/ 2726 w 3858"/>
              <a:gd name="T15" fmla="*/ 1846 h 2158"/>
              <a:gd name="T16" fmla="*/ 2814 w 3858"/>
              <a:gd name="T17" fmla="*/ 1770 h 2158"/>
              <a:gd name="T18" fmla="*/ 2896 w 3858"/>
              <a:gd name="T19" fmla="*/ 1692 h 2158"/>
              <a:gd name="T20" fmla="*/ 2970 w 3858"/>
              <a:gd name="T21" fmla="*/ 1612 h 2158"/>
              <a:gd name="T22" fmla="*/ 3098 w 3858"/>
              <a:gd name="T23" fmla="*/ 1456 h 2158"/>
              <a:gd name="T24" fmla="*/ 3194 w 3858"/>
              <a:gd name="T25" fmla="*/ 1318 h 2158"/>
              <a:gd name="T26" fmla="*/ 3256 w 3858"/>
              <a:gd name="T27" fmla="*/ 1212 h 2158"/>
              <a:gd name="T28" fmla="*/ 3328 w 3858"/>
              <a:gd name="T29" fmla="*/ 1074 h 2158"/>
              <a:gd name="T30" fmla="*/ 3616 w 3858"/>
              <a:gd name="T31" fmla="*/ 494 h 2158"/>
              <a:gd name="T32" fmla="*/ 3858 w 3858"/>
              <a:gd name="T33" fmla="*/ 0 h 2158"/>
              <a:gd name="T34" fmla="*/ 3758 w 3858"/>
              <a:gd name="T35" fmla="*/ 178 h 2158"/>
              <a:gd name="T36" fmla="*/ 3620 w 3858"/>
              <a:gd name="T37" fmla="*/ 414 h 2158"/>
              <a:gd name="T38" fmla="*/ 3502 w 3858"/>
              <a:gd name="T39" fmla="*/ 602 h 2158"/>
              <a:gd name="T40" fmla="*/ 3428 w 3858"/>
              <a:gd name="T41" fmla="*/ 712 h 2158"/>
              <a:gd name="T42" fmla="*/ 3392 w 3858"/>
              <a:gd name="T43" fmla="*/ 760 h 2158"/>
              <a:gd name="T44" fmla="*/ 3312 w 3858"/>
              <a:gd name="T45" fmla="*/ 860 h 2158"/>
              <a:gd name="T46" fmla="*/ 3232 w 3858"/>
              <a:gd name="T47" fmla="*/ 950 h 2158"/>
              <a:gd name="T48" fmla="*/ 3168 w 3858"/>
              <a:gd name="T49" fmla="*/ 1016 h 2158"/>
              <a:gd name="T50" fmla="*/ 3136 w 3858"/>
              <a:gd name="T51" fmla="*/ 1042 h 2158"/>
              <a:gd name="T52" fmla="*/ 3130 w 3858"/>
              <a:gd name="T53" fmla="*/ 1044 h 2158"/>
              <a:gd name="T54" fmla="*/ 2940 w 3858"/>
              <a:gd name="T55" fmla="*/ 1092 h 2158"/>
              <a:gd name="T56" fmla="*/ 2726 w 3858"/>
              <a:gd name="T57" fmla="*/ 1136 h 2158"/>
              <a:gd name="T58" fmla="*/ 2492 w 3858"/>
              <a:gd name="T59" fmla="*/ 1174 h 2158"/>
              <a:gd name="T60" fmla="*/ 2244 w 3858"/>
              <a:gd name="T61" fmla="*/ 1210 h 2158"/>
              <a:gd name="T62" fmla="*/ 1726 w 3858"/>
              <a:gd name="T63" fmla="*/ 1270 h 2158"/>
              <a:gd name="T64" fmla="*/ 1212 w 3858"/>
              <a:gd name="T65" fmla="*/ 1314 h 2158"/>
              <a:gd name="T66" fmla="*/ 742 w 3858"/>
              <a:gd name="T67" fmla="*/ 1348 h 2158"/>
              <a:gd name="T68" fmla="*/ 356 w 3858"/>
              <a:gd name="T69" fmla="*/ 1370 h 2158"/>
              <a:gd name="T70" fmla="*/ 0 w 3858"/>
              <a:gd name="T71" fmla="*/ 1386 h 2158"/>
              <a:gd name="T72" fmla="*/ 0 w 3858"/>
              <a:gd name="T73" fmla="*/ 2158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58" h="2158">
                <a:moveTo>
                  <a:pt x="1968" y="2158"/>
                </a:moveTo>
                <a:lnTo>
                  <a:pt x="1968" y="2158"/>
                </a:lnTo>
                <a:lnTo>
                  <a:pt x="2030" y="2156"/>
                </a:lnTo>
                <a:lnTo>
                  <a:pt x="2090" y="2150"/>
                </a:lnTo>
                <a:lnTo>
                  <a:pt x="2148" y="2140"/>
                </a:lnTo>
                <a:lnTo>
                  <a:pt x="2206" y="2126"/>
                </a:lnTo>
                <a:lnTo>
                  <a:pt x="2264" y="2110"/>
                </a:lnTo>
                <a:lnTo>
                  <a:pt x="2320" y="2090"/>
                </a:lnTo>
                <a:lnTo>
                  <a:pt x="2376" y="2068"/>
                </a:lnTo>
                <a:lnTo>
                  <a:pt x="2430" y="2042"/>
                </a:lnTo>
                <a:lnTo>
                  <a:pt x="2482" y="2014"/>
                </a:lnTo>
                <a:lnTo>
                  <a:pt x="2534" y="1984"/>
                </a:lnTo>
                <a:lnTo>
                  <a:pt x="2584" y="1952"/>
                </a:lnTo>
                <a:lnTo>
                  <a:pt x="2632" y="1918"/>
                </a:lnTo>
                <a:lnTo>
                  <a:pt x="2680" y="1884"/>
                </a:lnTo>
                <a:lnTo>
                  <a:pt x="2726" y="1846"/>
                </a:lnTo>
                <a:lnTo>
                  <a:pt x="2772" y="1808"/>
                </a:lnTo>
                <a:lnTo>
                  <a:pt x="2814" y="1770"/>
                </a:lnTo>
                <a:lnTo>
                  <a:pt x="2856" y="1732"/>
                </a:lnTo>
                <a:lnTo>
                  <a:pt x="2896" y="1692"/>
                </a:lnTo>
                <a:lnTo>
                  <a:pt x="2934" y="1652"/>
                </a:lnTo>
                <a:lnTo>
                  <a:pt x="2970" y="1612"/>
                </a:lnTo>
                <a:lnTo>
                  <a:pt x="3038" y="1532"/>
                </a:lnTo>
                <a:lnTo>
                  <a:pt x="3098" y="1456"/>
                </a:lnTo>
                <a:lnTo>
                  <a:pt x="3150" y="1384"/>
                </a:lnTo>
                <a:lnTo>
                  <a:pt x="3194" y="1318"/>
                </a:lnTo>
                <a:lnTo>
                  <a:pt x="3230" y="1260"/>
                </a:lnTo>
                <a:lnTo>
                  <a:pt x="3256" y="1212"/>
                </a:lnTo>
                <a:lnTo>
                  <a:pt x="3256" y="1212"/>
                </a:lnTo>
                <a:lnTo>
                  <a:pt x="3328" y="1074"/>
                </a:lnTo>
                <a:lnTo>
                  <a:pt x="3416" y="896"/>
                </a:lnTo>
                <a:lnTo>
                  <a:pt x="3616" y="494"/>
                </a:lnTo>
                <a:lnTo>
                  <a:pt x="3858" y="0"/>
                </a:lnTo>
                <a:lnTo>
                  <a:pt x="3858" y="0"/>
                </a:lnTo>
                <a:lnTo>
                  <a:pt x="3810" y="86"/>
                </a:lnTo>
                <a:lnTo>
                  <a:pt x="3758" y="178"/>
                </a:lnTo>
                <a:lnTo>
                  <a:pt x="3694" y="290"/>
                </a:lnTo>
                <a:lnTo>
                  <a:pt x="3620" y="414"/>
                </a:lnTo>
                <a:lnTo>
                  <a:pt x="3542" y="540"/>
                </a:lnTo>
                <a:lnTo>
                  <a:pt x="3502" y="602"/>
                </a:lnTo>
                <a:lnTo>
                  <a:pt x="3464" y="660"/>
                </a:lnTo>
                <a:lnTo>
                  <a:pt x="3428" y="712"/>
                </a:lnTo>
                <a:lnTo>
                  <a:pt x="3392" y="760"/>
                </a:lnTo>
                <a:lnTo>
                  <a:pt x="3392" y="760"/>
                </a:lnTo>
                <a:lnTo>
                  <a:pt x="3352" y="810"/>
                </a:lnTo>
                <a:lnTo>
                  <a:pt x="3312" y="860"/>
                </a:lnTo>
                <a:lnTo>
                  <a:pt x="3270" y="906"/>
                </a:lnTo>
                <a:lnTo>
                  <a:pt x="3232" y="950"/>
                </a:lnTo>
                <a:lnTo>
                  <a:pt x="3196" y="986"/>
                </a:lnTo>
                <a:lnTo>
                  <a:pt x="3168" y="1016"/>
                </a:lnTo>
                <a:lnTo>
                  <a:pt x="3144" y="1036"/>
                </a:lnTo>
                <a:lnTo>
                  <a:pt x="3136" y="1042"/>
                </a:lnTo>
                <a:lnTo>
                  <a:pt x="3130" y="1044"/>
                </a:lnTo>
                <a:lnTo>
                  <a:pt x="3130" y="1044"/>
                </a:lnTo>
                <a:lnTo>
                  <a:pt x="3038" y="1068"/>
                </a:lnTo>
                <a:lnTo>
                  <a:pt x="2940" y="1092"/>
                </a:lnTo>
                <a:lnTo>
                  <a:pt x="2836" y="1114"/>
                </a:lnTo>
                <a:lnTo>
                  <a:pt x="2726" y="1136"/>
                </a:lnTo>
                <a:lnTo>
                  <a:pt x="2610" y="1156"/>
                </a:lnTo>
                <a:lnTo>
                  <a:pt x="2492" y="1174"/>
                </a:lnTo>
                <a:lnTo>
                  <a:pt x="2370" y="1192"/>
                </a:lnTo>
                <a:lnTo>
                  <a:pt x="2244" y="1210"/>
                </a:lnTo>
                <a:lnTo>
                  <a:pt x="1986" y="1242"/>
                </a:lnTo>
                <a:lnTo>
                  <a:pt x="1726" y="1270"/>
                </a:lnTo>
                <a:lnTo>
                  <a:pt x="1466" y="1294"/>
                </a:lnTo>
                <a:lnTo>
                  <a:pt x="1212" y="1314"/>
                </a:lnTo>
                <a:lnTo>
                  <a:pt x="968" y="1334"/>
                </a:lnTo>
                <a:lnTo>
                  <a:pt x="742" y="1348"/>
                </a:lnTo>
                <a:lnTo>
                  <a:pt x="536" y="1360"/>
                </a:lnTo>
                <a:lnTo>
                  <a:pt x="356" y="1370"/>
                </a:lnTo>
                <a:lnTo>
                  <a:pt x="96" y="1382"/>
                </a:lnTo>
                <a:lnTo>
                  <a:pt x="0" y="1386"/>
                </a:lnTo>
                <a:lnTo>
                  <a:pt x="0" y="2158"/>
                </a:lnTo>
                <a:lnTo>
                  <a:pt x="0" y="2158"/>
                </a:lnTo>
                <a:lnTo>
                  <a:pt x="1968" y="21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a:ln>
                <a:noFill/>
              </a:ln>
              <a:solidFill>
                <a:prstClr val="black"/>
              </a:solidFill>
              <a:effectLst/>
              <a:uLnTx/>
              <a:uFillTx/>
              <a:latin typeface="Century Gothic"/>
              <a:ea typeface="+mn-ea"/>
              <a:cs typeface="+mn-cs"/>
            </a:endParaRPr>
          </a:p>
        </p:txBody>
      </p:sp>
      <p:sp>
        <p:nvSpPr>
          <p:cNvPr id="15" name="Freeform 263">
            <a:extLst>
              <a:ext uri="{FF2B5EF4-FFF2-40B4-BE49-F238E27FC236}">
                <a16:creationId xmlns:a16="http://schemas.microsoft.com/office/drawing/2014/main" id="{274C573C-B659-495C-8564-266868C8A381}"/>
              </a:ext>
            </a:extLst>
          </p:cNvPr>
          <p:cNvSpPr>
            <a:spLocks/>
          </p:cNvSpPr>
          <p:nvPr/>
        </p:nvSpPr>
        <p:spPr bwMode="auto">
          <a:xfrm>
            <a:off x="369454" y="2050269"/>
            <a:ext cx="1618447" cy="1206018"/>
          </a:xfrm>
          <a:custGeom>
            <a:avLst/>
            <a:gdLst>
              <a:gd name="T0" fmla="*/ 3868 w 3868"/>
              <a:gd name="T1" fmla="*/ 0 h 1110"/>
              <a:gd name="T2" fmla="*/ 3674 w 3868"/>
              <a:gd name="T3" fmla="*/ 326 h 1110"/>
              <a:gd name="T4" fmla="*/ 3500 w 3868"/>
              <a:gd name="T5" fmla="*/ 592 h 1110"/>
              <a:gd name="T6" fmla="*/ 3424 w 3868"/>
              <a:gd name="T7" fmla="*/ 698 h 1110"/>
              <a:gd name="T8" fmla="*/ 3354 w 3868"/>
              <a:gd name="T9" fmla="*/ 786 h 1110"/>
              <a:gd name="T10" fmla="*/ 3290 w 3868"/>
              <a:gd name="T11" fmla="*/ 852 h 1110"/>
              <a:gd name="T12" fmla="*/ 3234 w 3868"/>
              <a:gd name="T13" fmla="*/ 896 h 1110"/>
              <a:gd name="T14" fmla="*/ 3228 w 3868"/>
              <a:gd name="T15" fmla="*/ 898 h 1110"/>
              <a:gd name="T16" fmla="*/ 3204 w 3868"/>
              <a:gd name="T17" fmla="*/ 902 h 1110"/>
              <a:gd name="T18" fmla="*/ 3158 w 3868"/>
              <a:gd name="T19" fmla="*/ 898 h 1110"/>
              <a:gd name="T20" fmla="*/ 3100 w 3868"/>
              <a:gd name="T21" fmla="*/ 882 h 1110"/>
              <a:gd name="T22" fmla="*/ 2970 w 3868"/>
              <a:gd name="T23" fmla="*/ 836 h 1110"/>
              <a:gd name="T24" fmla="*/ 2854 w 3868"/>
              <a:gd name="T25" fmla="*/ 786 h 1110"/>
              <a:gd name="T26" fmla="*/ 2812 w 3868"/>
              <a:gd name="T27" fmla="*/ 766 h 1110"/>
              <a:gd name="T28" fmla="*/ 2694 w 3868"/>
              <a:gd name="T29" fmla="*/ 708 h 1110"/>
              <a:gd name="T30" fmla="*/ 2590 w 3868"/>
              <a:gd name="T31" fmla="*/ 664 h 1110"/>
              <a:gd name="T32" fmla="*/ 2500 w 3868"/>
              <a:gd name="T33" fmla="*/ 634 h 1110"/>
              <a:gd name="T34" fmla="*/ 2422 w 3868"/>
              <a:gd name="T35" fmla="*/ 612 h 1110"/>
              <a:gd name="T36" fmla="*/ 2356 w 3868"/>
              <a:gd name="T37" fmla="*/ 600 h 1110"/>
              <a:gd name="T38" fmla="*/ 2258 w 3868"/>
              <a:gd name="T39" fmla="*/ 590 h 1110"/>
              <a:gd name="T40" fmla="*/ 2224 w 3868"/>
              <a:gd name="T41" fmla="*/ 588 h 1110"/>
              <a:gd name="T42" fmla="*/ 0 w 3868"/>
              <a:gd name="T43" fmla="*/ 1110 h 1110"/>
              <a:gd name="T44" fmla="*/ 2564 w 3868"/>
              <a:gd name="T45" fmla="*/ 1108 h 1110"/>
              <a:gd name="T46" fmla="*/ 2644 w 3868"/>
              <a:gd name="T47" fmla="*/ 1106 h 1110"/>
              <a:gd name="T48" fmla="*/ 2782 w 3868"/>
              <a:gd name="T49" fmla="*/ 1096 h 1110"/>
              <a:gd name="T50" fmla="*/ 2892 w 3868"/>
              <a:gd name="T51" fmla="*/ 1080 h 1110"/>
              <a:gd name="T52" fmla="*/ 3008 w 3868"/>
              <a:gd name="T53" fmla="*/ 1056 h 1110"/>
              <a:gd name="T54" fmla="*/ 3120 w 3868"/>
              <a:gd name="T55" fmla="*/ 1020 h 1110"/>
              <a:gd name="T56" fmla="*/ 3172 w 3868"/>
              <a:gd name="T57" fmla="*/ 998 h 1110"/>
              <a:gd name="T58" fmla="*/ 3218 w 3868"/>
              <a:gd name="T59" fmla="*/ 972 h 1110"/>
              <a:gd name="T60" fmla="*/ 3260 w 3868"/>
              <a:gd name="T61" fmla="*/ 940 h 1110"/>
              <a:gd name="T62" fmla="*/ 3298 w 3868"/>
              <a:gd name="T63" fmla="*/ 904 h 1110"/>
              <a:gd name="T64" fmla="*/ 3380 w 3868"/>
              <a:gd name="T65" fmla="*/ 810 h 1110"/>
              <a:gd name="T66" fmla="*/ 3464 w 3868"/>
              <a:gd name="T67" fmla="*/ 694 h 1110"/>
              <a:gd name="T68" fmla="*/ 3550 w 3868"/>
              <a:gd name="T69" fmla="*/ 564 h 1110"/>
              <a:gd name="T70" fmla="*/ 3672 w 3868"/>
              <a:gd name="T71" fmla="*/ 358 h 1110"/>
              <a:gd name="T72" fmla="*/ 3812 w 3868"/>
              <a:gd name="T73" fmla="*/ 10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68" h="1110">
                <a:moveTo>
                  <a:pt x="3868" y="0"/>
                </a:moveTo>
                <a:lnTo>
                  <a:pt x="3868" y="0"/>
                </a:lnTo>
                <a:lnTo>
                  <a:pt x="3768" y="170"/>
                </a:lnTo>
                <a:lnTo>
                  <a:pt x="3674" y="326"/>
                </a:lnTo>
                <a:lnTo>
                  <a:pt x="3584" y="466"/>
                </a:lnTo>
                <a:lnTo>
                  <a:pt x="3500" y="592"/>
                </a:lnTo>
                <a:lnTo>
                  <a:pt x="3462" y="648"/>
                </a:lnTo>
                <a:lnTo>
                  <a:pt x="3424" y="698"/>
                </a:lnTo>
                <a:lnTo>
                  <a:pt x="3388" y="746"/>
                </a:lnTo>
                <a:lnTo>
                  <a:pt x="3354" y="786"/>
                </a:lnTo>
                <a:lnTo>
                  <a:pt x="3320" y="822"/>
                </a:lnTo>
                <a:lnTo>
                  <a:pt x="3290" y="852"/>
                </a:lnTo>
                <a:lnTo>
                  <a:pt x="3260" y="878"/>
                </a:lnTo>
                <a:lnTo>
                  <a:pt x="3234" y="896"/>
                </a:lnTo>
                <a:lnTo>
                  <a:pt x="3234" y="896"/>
                </a:lnTo>
                <a:lnTo>
                  <a:pt x="3228" y="898"/>
                </a:lnTo>
                <a:lnTo>
                  <a:pt x="3222" y="900"/>
                </a:lnTo>
                <a:lnTo>
                  <a:pt x="3204" y="902"/>
                </a:lnTo>
                <a:lnTo>
                  <a:pt x="3182" y="902"/>
                </a:lnTo>
                <a:lnTo>
                  <a:pt x="3158" y="898"/>
                </a:lnTo>
                <a:lnTo>
                  <a:pt x="3130" y="890"/>
                </a:lnTo>
                <a:lnTo>
                  <a:pt x="3100" y="882"/>
                </a:lnTo>
                <a:lnTo>
                  <a:pt x="3034" y="862"/>
                </a:lnTo>
                <a:lnTo>
                  <a:pt x="2970" y="836"/>
                </a:lnTo>
                <a:lnTo>
                  <a:pt x="2906" y="810"/>
                </a:lnTo>
                <a:lnTo>
                  <a:pt x="2854" y="786"/>
                </a:lnTo>
                <a:lnTo>
                  <a:pt x="2812" y="766"/>
                </a:lnTo>
                <a:lnTo>
                  <a:pt x="2812" y="766"/>
                </a:lnTo>
                <a:lnTo>
                  <a:pt x="2752" y="736"/>
                </a:lnTo>
                <a:lnTo>
                  <a:pt x="2694" y="708"/>
                </a:lnTo>
                <a:lnTo>
                  <a:pt x="2640" y="684"/>
                </a:lnTo>
                <a:lnTo>
                  <a:pt x="2590" y="664"/>
                </a:lnTo>
                <a:lnTo>
                  <a:pt x="2544" y="648"/>
                </a:lnTo>
                <a:lnTo>
                  <a:pt x="2500" y="634"/>
                </a:lnTo>
                <a:lnTo>
                  <a:pt x="2460" y="622"/>
                </a:lnTo>
                <a:lnTo>
                  <a:pt x="2422" y="612"/>
                </a:lnTo>
                <a:lnTo>
                  <a:pt x="2388" y="604"/>
                </a:lnTo>
                <a:lnTo>
                  <a:pt x="2356" y="600"/>
                </a:lnTo>
                <a:lnTo>
                  <a:pt x="2302" y="592"/>
                </a:lnTo>
                <a:lnTo>
                  <a:pt x="2258" y="590"/>
                </a:lnTo>
                <a:lnTo>
                  <a:pt x="2224" y="588"/>
                </a:lnTo>
                <a:lnTo>
                  <a:pt x="2224" y="588"/>
                </a:lnTo>
                <a:lnTo>
                  <a:pt x="0" y="588"/>
                </a:lnTo>
                <a:lnTo>
                  <a:pt x="0" y="1110"/>
                </a:lnTo>
                <a:lnTo>
                  <a:pt x="2564" y="1108"/>
                </a:lnTo>
                <a:lnTo>
                  <a:pt x="2564" y="1108"/>
                </a:lnTo>
                <a:lnTo>
                  <a:pt x="2586" y="1108"/>
                </a:lnTo>
                <a:lnTo>
                  <a:pt x="2644" y="1106"/>
                </a:lnTo>
                <a:lnTo>
                  <a:pt x="2730" y="1100"/>
                </a:lnTo>
                <a:lnTo>
                  <a:pt x="2782" y="1096"/>
                </a:lnTo>
                <a:lnTo>
                  <a:pt x="2836" y="1090"/>
                </a:lnTo>
                <a:lnTo>
                  <a:pt x="2892" y="1080"/>
                </a:lnTo>
                <a:lnTo>
                  <a:pt x="2950" y="1070"/>
                </a:lnTo>
                <a:lnTo>
                  <a:pt x="3008" y="1056"/>
                </a:lnTo>
                <a:lnTo>
                  <a:pt x="3066" y="1040"/>
                </a:lnTo>
                <a:lnTo>
                  <a:pt x="3120" y="1020"/>
                </a:lnTo>
                <a:lnTo>
                  <a:pt x="3146" y="1010"/>
                </a:lnTo>
                <a:lnTo>
                  <a:pt x="3172" y="998"/>
                </a:lnTo>
                <a:lnTo>
                  <a:pt x="3196" y="984"/>
                </a:lnTo>
                <a:lnTo>
                  <a:pt x="3218" y="972"/>
                </a:lnTo>
                <a:lnTo>
                  <a:pt x="3240" y="956"/>
                </a:lnTo>
                <a:lnTo>
                  <a:pt x="3260" y="940"/>
                </a:lnTo>
                <a:lnTo>
                  <a:pt x="3260" y="940"/>
                </a:lnTo>
                <a:lnTo>
                  <a:pt x="3298" y="904"/>
                </a:lnTo>
                <a:lnTo>
                  <a:pt x="3338" y="860"/>
                </a:lnTo>
                <a:lnTo>
                  <a:pt x="3380" y="810"/>
                </a:lnTo>
                <a:lnTo>
                  <a:pt x="3422" y="754"/>
                </a:lnTo>
                <a:lnTo>
                  <a:pt x="3464" y="694"/>
                </a:lnTo>
                <a:lnTo>
                  <a:pt x="3508" y="630"/>
                </a:lnTo>
                <a:lnTo>
                  <a:pt x="3550" y="564"/>
                </a:lnTo>
                <a:lnTo>
                  <a:pt x="3592" y="496"/>
                </a:lnTo>
                <a:lnTo>
                  <a:pt x="3672" y="358"/>
                </a:lnTo>
                <a:lnTo>
                  <a:pt x="3748" y="224"/>
                </a:lnTo>
                <a:lnTo>
                  <a:pt x="3812" y="102"/>
                </a:lnTo>
                <a:lnTo>
                  <a:pt x="3868"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a:ln>
                <a:noFill/>
              </a:ln>
              <a:solidFill>
                <a:prstClr val="black"/>
              </a:solidFill>
              <a:effectLst/>
              <a:uLnTx/>
              <a:uFillTx/>
              <a:latin typeface="Century Gothic"/>
              <a:ea typeface="+mn-ea"/>
              <a:cs typeface="+mn-cs"/>
            </a:endParaRPr>
          </a:p>
        </p:txBody>
      </p:sp>
      <p:sp>
        <p:nvSpPr>
          <p:cNvPr id="16" name="Freeform 266">
            <a:extLst>
              <a:ext uri="{FF2B5EF4-FFF2-40B4-BE49-F238E27FC236}">
                <a16:creationId xmlns:a16="http://schemas.microsoft.com/office/drawing/2014/main" id="{2E22B3AB-8A3C-4914-8878-0BA39D17B4C9}"/>
              </a:ext>
            </a:extLst>
          </p:cNvPr>
          <p:cNvSpPr>
            <a:spLocks/>
          </p:cNvSpPr>
          <p:nvPr/>
        </p:nvSpPr>
        <p:spPr bwMode="auto">
          <a:xfrm>
            <a:off x="369454" y="2150227"/>
            <a:ext cx="1596689" cy="1662350"/>
          </a:xfrm>
          <a:custGeom>
            <a:avLst/>
            <a:gdLst>
              <a:gd name="T0" fmla="*/ 3096 w 3816"/>
              <a:gd name="T1" fmla="*/ 1188 h 1530"/>
              <a:gd name="T2" fmla="*/ 3244 w 3816"/>
              <a:gd name="T3" fmla="*/ 1000 h 1530"/>
              <a:gd name="T4" fmla="*/ 3326 w 3816"/>
              <a:gd name="T5" fmla="*/ 886 h 1530"/>
              <a:gd name="T6" fmla="*/ 3402 w 3816"/>
              <a:gd name="T7" fmla="*/ 770 h 1530"/>
              <a:gd name="T8" fmla="*/ 3478 w 3816"/>
              <a:gd name="T9" fmla="*/ 644 h 1530"/>
              <a:gd name="T10" fmla="*/ 3600 w 3816"/>
              <a:gd name="T11" fmla="*/ 418 h 1530"/>
              <a:gd name="T12" fmla="*/ 3816 w 3816"/>
              <a:gd name="T13" fmla="*/ 0 h 1530"/>
              <a:gd name="T14" fmla="*/ 3784 w 3816"/>
              <a:gd name="T15" fmla="*/ 52 h 1530"/>
              <a:gd name="T16" fmla="*/ 3688 w 3816"/>
              <a:gd name="T17" fmla="*/ 230 h 1530"/>
              <a:gd name="T18" fmla="*/ 3552 w 3816"/>
              <a:gd name="T19" fmla="*/ 464 h 1530"/>
              <a:gd name="T20" fmla="*/ 3474 w 3816"/>
              <a:gd name="T21" fmla="*/ 586 h 1530"/>
              <a:gd name="T22" fmla="*/ 3390 w 3816"/>
              <a:gd name="T23" fmla="*/ 704 h 1530"/>
              <a:gd name="T24" fmla="*/ 3302 w 3816"/>
              <a:gd name="T25" fmla="*/ 808 h 1530"/>
              <a:gd name="T26" fmla="*/ 3284 w 3816"/>
              <a:gd name="T27" fmla="*/ 828 h 1530"/>
              <a:gd name="T28" fmla="*/ 3240 w 3816"/>
              <a:gd name="T29" fmla="*/ 862 h 1530"/>
              <a:gd name="T30" fmla="*/ 3190 w 3816"/>
              <a:gd name="T31" fmla="*/ 892 h 1530"/>
              <a:gd name="T32" fmla="*/ 3136 w 3816"/>
              <a:gd name="T33" fmla="*/ 916 h 1530"/>
              <a:gd name="T34" fmla="*/ 3048 w 3816"/>
              <a:gd name="T35" fmla="*/ 948 h 1530"/>
              <a:gd name="T36" fmla="*/ 2924 w 3816"/>
              <a:gd name="T37" fmla="*/ 978 h 1530"/>
              <a:gd name="T38" fmla="*/ 2806 w 3816"/>
              <a:gd name="T39" fmla="*/ 996 h 1530"/>
              <a:gd name="T40" fmla="*/ 2658 w 3816"/>
              <a:gd name="T41" fmla="*/ 1008 h 1530"/>
              <a:gd name="T42" fmla="*/ 2570 w 3816"/>
              <a:gd name="T43" fmla="*/ 1010 h 1530"/>
              <a:gd name="T44" fmla="*/ 0 w 3816"/>
              <a:gd name="T45" fmla="*/ 1530 h 1530"/>
              <a:gd name="T46" fmla="*/ 2398 w 3816"/>
              <a:gd name="T47" fmla="*/ 1530 h 1530"/>
              <a:gd name="T48" fmla="*/ 2468 w 3816"/>
              <a:gd name="T49" fmla="*/ 1524 h 1530"/>
              <a:gd name="T50" fmla="*/ 2546 w 3816"/>
              <a:gd name="T51" fmla="*/ 1512 h 1530"/>
              <a:gd name="T52" fmla="*/ 2642 w 3816"/>
              <a:gd name="T53" fmla="*/ 1488 h 1530"/>
              <a:gd name="T54" fmla="*/ 2754 w 3816"/>
              <a:gd name="T55" fmla="*/ 1448 h 1530"/>
              <a:gd name="T56" fmla="*/ 2840 w 3816"/>
              <a:gd name="T57" fmla="*/ 1404 h 1530"/>
              <a:gd name="T58" fmla="*/ 2900 w 3816"/>
              <a:gd name="T59" fmla="*/ 1368 h 1530"/>
              <a:gd name="T60" fmla="*/ 2958 w 3816"/>
              <a:gd name="T61" fmla="*/ 1326 h 1530"/>
              <a:gd name="T62" fmla="*/ 3016 w 3816"/>
              <a:gd name="T63" fmla="*/ 1276 h 1530"/>
              <a:gd name="T64" fmla="*/ 3070 w 3816"/>
              <a:gd name="T65" fmla="*/ 1220 h 1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16" h="1530">
                <a:moveTo>
                  <a:pt x="3096" y="1188"/>
                </a:moveTo>
                <a:lnTo>
                  <a:pt x="3096" y="1188"/>
                </a:lnTo>
                <a:lnTo>
                  <a:pt x="3198" y="1060"/>
                </a:lnTo>
                <a:lnTo>
                  <a:pt x="3244" y="1000"/>
                </a:lnTo>
                <a:lnTo>
                  <a:pt x="3286" y="942"/>
                </a:lnTo>
                <a:lnTo>
                  <a:pt x="3326" y="886"/>
                </a:lnTo>
                <a:lnTo>
                  <a:pt x="3364" y="828"/>
                </a:lnTo>
                <a:lnTo>
                  <a:pt x="3402" y="770"/>
                </a:lnTo>
                <a:lnTo>
                  <a:pt x="3440" y="708"/>
                </a:lnTo>
                <a:lnTo>
                  <a:pt x="3478" y="644"/>
                </a:lnTo>
                <a:lnTo>
                  <a:pt x="3516" y="574"/>
                </a:lnTo>
                <a:lnTo>
                  <a:pt x="3600" y="418"/>
                </a:lnTo>
                <a:lnTo>
                  <a:pt x="3698" y="228"/>
                </a:lnTo>
                <a:lnTo>
                  <a:pt x="3816" y="0"/>
                </a:lnTo>
                <a:lnTo>
                  <a:pt x="3816" y="0"/>
                </a:lnTo>
                <a:lnTo>
                  <a:pt x="3784" y="52"/>
                </a:lnTo>
                <a:lnTo>
                  <a:pt x="3742" y="130"/>
                </a:lnTo>
                <a:lnTo>
                  <a:pt x="3688" y="230"/>
                </a:lnTo>
                <a:lnTo>
                  <a:pt x="3624" y="344"/>
                </a:lnTo>
                <a:lnTo>
                  <a:pt x="3552" y="464"/>
                </a:lnTo>
                <a:lnTo>
                  <a:pt x="3514" y="526"/>
                </a:lnTo>
                <a:lnTo>
                  <a:pt x="3474" y="586"/>
                </a:lnTo>
                <a:lnTo>
                  <a:pt x="3432" y="646"/>
                </a:lnTo>
                <a:lnTo>
                  <a:pt x="3390" y="704"/>
                </a:lnTo>
                <a:lnTo>
                  <a:pt x="3346" y="758"/>
                </a:lnTo>
                <a:lnTo>
                  <a:pt x="3302" y="808"/>
                </a:lnTo>
                <a:lnTo>
                  <a:pt x="3302" y="808"/>
                </a:lnTo>
                <a:lnTo>
                  <a:pt x="3284" y="828"/>
                </a:lnTo>
                <a:lnTo>
                  <a:pt x="3262" y="846"/>
                </a:lnTo>
                <a:lnTo>
                  <a:pt x="3240" y="862"/>
                </a:lnTo>
                <a:lnTo>
                  <a:pt x="3216" y="878"/>
                </a:lnTo>
                <a:lnTo>
                  <a:pt x="3190" y="892"/>
                </a:lnTo>
                <a:lnTo>
                  <a:pt x="3164" y="904"/>
                </a:lnTo>
                <a:lnTo>
                  <a:pt x="3136" y="916"/>
                </a:lnTo>
                <a:lnTo>
                  <a:pt x="3108" y="928"/>
                </a:lnTo>
                <a:lnTo>
                  <a:pt x="3048" y="948"/>
                </a:lnTo>
                <a:lnTo>
                  <a:pt x="2986" y="964"/>
                </a:lnTo>
                <a:lnTo>
                  <a:pt x="2924" y="978"/>
                </a:lnTo>
                <a:lnTo>
                  <a:pt x="2864" y="988"/>
                </a:lnTo>
                <a:lnTo>
                  <a:pt x="2806" y="996"/>
                </a:lnTo>
                <a:lnTo>
                  <a:pt x="2752" y="1002"/>
                </a:lnTo>
                <a:lnTo>
                  <a:pt x="2658" y="1008"/>
                </a:lnTo>
                <a:lnTo>
                  <a:pt x="2594" y="1010"/>
                </a:lnTo>
                <a:lnTo>
                  <a:pt x="2570" y="1010"/>
                </a:lnTo>
                <a:lnTo>
                  <a:pt x="0" y="1014"/>
                </a:lnTo>
                <a:lnTo>
                  <a:pt x="0" y="1530"/>
                </a:lnTo>
                <a:lnTo>
                  <a:pt x="2398" y="1530"/>
                </a:lnTo>
                <a:lnTo>
                  <a:pt x="2398" y="1530"/>
                </a:lnTo>
                <a:lnTo>
                  <a:pt x="2416" y="1528"/>
                </a:lnTo>
                <a:lnTo>
                  <a:pt x="2468" y="1524"/>
                </a:lnTo>
                <a:lnTo>
                  <a:pt x="2504" y="1520"/>
                </a:lnTo>
                <a:lnTo>
                  <a:pt x="2546" y="1512"/>
                </a:lnTo>
                <a:lnTo>
                  <a:pt x="2592" y="1502"/>
                </a:lnTo>
                <a:lnTo>
                  <a:pt x="2642" y="1488"/>
                </a:lnTo>
                <a:lnTo>
                  <a:pt x="2696" y="1470"/>
                </a:lnTo>
                <a:lnTo>
                  <a:pt x="2754" y="1448"/>
                </a:lnTo>
                <a:lnTo>
                  <a:pt x="2812" y="1420"/>
                </a:lnTo>
                <a:lnTo>
                  <a:pt x="2840" y="1404"/>
                </a:lnTo>
                <a:lnTo>
                  <a:pt x="2870" y="1386"/>
                </a:lnTo>
                <a:lnTo>
                  <a:pt x="2900" y="1368"/>
                </a:lnTo>
                <a:lnTo>
                  <a:pt x="2928" y="1348"/>
                </a:lnTo>
                <a:lnTo>
                  <a:pt x="2958" y="1326"/>
                </a:lnTo>
                <a:lnTo>
                  <a:pt x="2986" y="1302"/>
                </a:lnTo>
                <a:lnTo>
                  <a:pt x="3016" y="1276"/>
                </a:lnTo>
                <a:lnTo>
                  <a:pt x="3042" y="1248"/>
                </a:lnTo>
                <a:lnTo>
                  <a:pt x="3070" y="1220"/>
                </a:lnTo>
                <a:lnTo>
                  <a:pt x="3096" y="1188"/>
                </a:lnTo>
                <a:close/>
              </a:path>
            </a:pathLst>
          </a:custGeom>
          <a:solidFill>
            <a:schemeClr val="accent3">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a:ln>
                <a:noFill/>
              </a:ln>
              <a:solidFill>
                <a:prstClr val="black"/>
              </a:solidFill>
              <a:effectLst/>
              <a:uLnTx/>
              <a:uFillTx/>
              <a:latin typeface="Century Gothic"/>
              <a:ea typeface="+mn-ea"/>
              <a:cs typeface="+mn-cs"/>
            </a:endParaRPr>
          </a:p>
        </p:txBody>
      </p:sp>
      <p:sp>
        <p:nvSpPr>
          <p:cNvPr id="17" name="Freeform 299">
            <a:extLst>
              <a:ext uri="{FF2B5EF4-FFF2-40B4-BE49-F238E27FC236}">
                <a16:creationId xmlns:a16="http://schemas.microsoft.com/office/drawing/2014/main" id="{C28EE45F-930B-48F3-875F-D9BC2076F65E}"/>
              </a:ext>
            </a:extLst>
          </p:cNvPr>
          <p:cNvSpPr>
            <a:spLocks/>
          </p:cNvSpPr>
          <p:nvPr/>
        </p:nvSpPr>
        <p:spPr bwMode="auto">
          <a:xfrm>
            <a:off x="1524292" y="1031129"/>
            <a:ext cx="1523047" cy="3011786"/>
          </a:xfrm>
          <a:custGeom>
            <a:avLst/>
            <a:gdLst>
              <a:gd name="T0" fmla="*/ 3484 w 3640"/>
              <a:gd name="T1" fmla="*/ 8 h 2772"/>
              <a:gd name="T2" fmla="*/ 3018 w 3640"/>
              <a:gd name="T3" fmla="*/ 50 h 2772"/>
              <a:gd name="T4" fmla="*/ 2708 w 3640"/>
              <a:gd name="T5" fmla="*/ 90 h 2772"/>
              <a:gd name="T6" fmla="*/ 2402 w 3640"/>
              <a:gd name="T7" fmla="*/ 146 h 2772"/>
              <a:gd name="T8" fmla="*/ 2098 w 3640"/>
              <a:gd name="T9" fmla="*/ 220 h 2772"/>
              <a:gd name="T10" fmla="*/ 1876 w 3640"/>
              <a:gd name="T11" fmla="*/ 290 h 2772"/>
              <a:gd name="T12" fmla="*/ 1730 w 3640"/>
              <a:gd name="T13" fmla="*/ 346 h 2772"/>
              <a:gd name="T14" fmla="*/ 1592 w 3640"/>
              <a:gd name="T15" fmla="*/ 414 h 2772"/>
              <a:gd name="T16" fmla="*/ 1524 w 3640"/>
              <a:gd name="T17" fmla="*/ 454 h 2772"/>
              <a:gd name="T18" fmla="*/ 1432 w 3640"/>
              <a:gd name="T19" fmla="*/ 524 h 2772"/>
              <a:gd name="T20" fmla="*/ 1348 w 3640"/>
              <a:gd name="T21" fmla="*/ 604 h 2772"/>
              <a:gd name="T22" fmla="*/ 1298 w 3640"/>
              <a:gd name="T23" fmla="*/ 662 h 2772"/>
              <a:gd name="T24" fmla="*/ 1162 w 3640"/>
              <a:gd name="T25" fmla="*/ 850 h 2772"/>
              <a:gd name="T26" fmla="*/ 1084 w 3640"/>
              <a:gd name="T27" fmla="*/ 986 h 2772"/>
              <a:gd name="T28" fmla="*/ 980 w 3640"/>
              <a:gd name="T29" fmla="*/ 1194 h 2772"/>
              <a:gd name="T30" fmla="*/ 850 w 3640"/>
              <a:gd name="T31" fmla="*/ 1478 h 2772"/>
              <a:gd name="T32" fmla="*/ 720 w 3640"/>
              <a:gd name="T33" fmla="*/ 1762 h 2772"/>
              <a:gd name="T34" fmla="*/ 578 w 3640"/>
              <a:gd name="T35" fmla="*/ 2042 h 2772"/>
              <a:gd name="T36" fmla="*/ 460 w 3640"/>
              <a:gd name="T37" fmla="*/ 2244 h 2772"/>
              <a:gd name="T38" fmla="*/ 372 w 3640"/>
              <a:gd name="T39" fmla="*/ 2374 h 2772"/>
              <a:gd name="T40" fmla="*/ 226 w 3640"/>
              <a:gd name="T41" fmla="*/ 2556 h 2772"/>
              <a:gd name="T42" fmla="*/ 60 w 3640"/>
              <a:gd name="T43" fmla="*/ 2722 h 2772"/>
              <a:gd name="T44" fmla="*/ 58 w 3640"/>
              <a:gd name="T45" fmla="*/ 2720 h 2772"/>
              <a:gd name="T46" fmla="*/ 220 w 3640"/>
              <a:gd name="T47" fmla="*/ 2552 h 2772"/>
              <a:gd name="T48" fmla="*/ 318 w 3640"/>
              <a:gd name="T49" fmla="*/ 2430 h 2772"/>
              <a:gd name="T50" fmla="*/ 408 w 3640"/>
              <a:gd name="T51" fmla="*/ 2302 h 2772"/>
              <a:gd name="T52" fmla="*/ 528 w 3640"/>
              <a:gd name="T53" fmla="*/ 2102 h 2772"/>
              <a:gd name="T54" fmla="*/ 636 w 3640"/>
              <a:gd name="T55" fmla="*/ 1896 h 2772"/>
              <a:gd name="T56" fmla="*/ 768 w 3640"/>
              <a:gd name="T57" fmla="*/ 1612 h 2772"/>
              <a:gd name="T58" fmla="*/ 894 w 3640"/>
              <a:gd name="T59" fmla="*/ 1326 h 2772"/>
              <a:gd name="T60" fmla="*/ 994 w 3640"/>
              <a:gd name="T61" fmla="*/ 1114 h 2772"/>
              <a:gd name="T62" fmla="*/ 1102 w 3640"/>
              <a:gd name="T63" fmla="*/ 906 h 2772"/>
              <a:gd name="T64" fmla="*/ 1186 w 3640"/>
              <a:gd name="T65" fmla="*/ 772 h 2772"/>
              <a:gd name="T66" fmla="*/ 1278 w 3640"/>
              <a:gd name="T67" fmla="*/ 646 h 2772"/>
              <a:gd name="T68" fmla="*/ 1358 w 3640"/>
              <a:gd name="T69" fmla="*/ 558 h 2772"/>
              <a:gd name="T70" fmla="*/ 1448 w 3640"/>
              <a:gd name="T71" fmla="*/ 480 h 2772"/>
              <a:gd name="T72" fmla="*/ 1512 w 3640"/>
              <a:gd name="T73" fmla="*/ 434 h 2772"/>
              <a:gd name="T74" fmla="*/ 1650 w 3640"/>
              <a:gd name="T75" fmla="*/ 360 h 2772"/>
              <a:gd name="T76" fmla="*/ 1794 w 3640"/>
              <a:gd name="T77" fmla="*/ 296 h 2772"/>
              <a:gd name="T78" fmla="*/ 1942 w 3640"/>
              <a:gd name="T79" fmla="*/ 244 h 2772"/>
              <a:gd name="T80" fmla="*/ 2092 w 3640"/>
              <a:gd name="T81" fmla="*/ 200 h 2772"/>
              <a:gd name="T82" fmla="*/ 2320 w 3640"/>
              <a:gd name="T83" fmla="*/ 144 h 2772"/>
              <a:gd name="T84" fmla="*/ 2552 w 3640"/>
              <a:gd name="T85" fmla="*/ 100 h 2772"/>
              <a:gd name="T86" fmla="*/ 3016 w 3640"/>
              <a:gd name="T87" fmla="*/ 38 h 2772"/>
              <a:gd name="T88" fmla="*/ 3328 w 3640"/>
              <a:gd name="T89" fmla="*/ 12 h 2772"/>
              <a:gd name="T90" fmla="*/ 3640 w 3640"/>
              <a:gd name="T91" fmla="*/ 0 h 2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40" h="2772">
                <a:moveTo>
                  <a:pt x="3640" y="0"/>
                </a:moveTo>
                <a:lnTo>
                  <a:pt x="3640" y="0"/>
                </a:lnTo>
                <a:lnTo>
                  <a:pt x="3484" y="8"/>
                </a:lnTo>
                <a:lnTo>
                  <a:pt x="3328" y="18"/>
                </a:lnTo>
                <a:lnTo>
                  <a:pt x="3172" y="32"/>
                </a:lnTo>
                <a:lnTo>
                  <a:pt x="3018" y="50"/>
                </a:lnTo>
                <a:lnTo>
                  <a:pt x="3018" y="50"/>
                </a:lnTo>
                <a:lnTo>
                  <a:pt x="2862" y="68"/>
                </a:lnTo>
                <a:lnTo>
                  <a:pt x="2708" y="90"/>
                </a:lnTo>
                <a:lnTo>
                  <a:pt x="2554" y="116"/>
                </a:lnTo>
                <a:lnTo>
                  <a:pt x="2402" y="146"/>
                </a:lnTo>
                <a:lnTo>
                  <a:pt x="2402" y="146"/>
                </a:lnTo>
                <a:lnTo>
                  <a:pt x="2248" y="180"/>
                </a:lnTo>
                <a:lnTo>
                  <a:pt x="2174" y="198"/>
                </a:lnTo>
                <a:lnTo>
                  <a:pt x="2098" y="220"/>
                </a:lnTo>
                <a:lnTo>
                  <a:pt x="2024" y="240"/>
                </a:lnTo>
                <a:lnTo>
                  <a:pt x="1950" y="264"/>
                </a:lnTo>
                <a:lnTo>
                  <a:pt x="1876" y="290"/>
                </a:lnTo>
                <a:lnTo>
                  <a:pt x="1802" y="318"/>
                </a:lnTo>
                <a:lnTo>
                  <a:pt x="1802" y="318"/>
                </a:lnTo>
                <a:lnTo>
                  <a:pt x="1730" y="346"/>
                </a:lnTo>
                <a:lnTo>
                  <a:pt x="1660" y="380"/>
                </a:lnTo>
                <a:lnTo>
                  <a:pt x="1660" y="380"/>
                </a:lnTo>
                <a:lnTo>
                  <a:pt x="1592" y="414"/>
                </a:lnTo>
                <a:lnTo>
                  <a:pt x="1558" y="434"/>
                </a:lnTo>
                <a:lnTo>
                  <a:pt x="1524" y="454"/>
                </a:lnTo>
                <a:lnTo>
                  <a:pt x="1524" y="454"/>
                </a:lnTo>
                <a:lnTo>
                  <a:pt x="1492" y="476"/>
                </a:lnTo>
                <a:lnTo>
                  <a:pt x="1462" y="498"/>
                </a:lnTo>
                <a:lnTo>
                  <a:pt x="1432" y="524"/>
                </a:lnTo>
                <a:lnTo>
                  <a:pt x="1404" y="548"/>
                </a:lnTo>
                <a:lnTo>
                  <a:pt x="1376" y="576"/>
                </a:lnTo>
                <a:lnTo>
                  <a:pt x="1348" y="604"/>
                </a:lnTo>
                <a:lnTo>
                  <a:pt x="1322" y="632"/>
                </a:lnTo>
                <a:lnTo>
                  <a:pt x="1298" y="662"/>
                </a:lnTo>
                <a:lnTo>
                  <a:pt x="1298" y="662"/>
                </a:lnTo>
                <a:lnTo>
                  <a:pt x="1250" y="722"/>
                </a:lnTo>
                <a:lnTo>
                  <a:pt x="1204" y="786"/>
                </a:lnTo>
                <a:lnTo>
                  <a:pt x="1162" y="850"/>
                </a:lnTo>
                <a:lnTo>
                  <a:pt x="1122" y="918"/>
                </a:lnTo>
                <a:lnTo>
                  <a:pt x="1122" y="918"/>
                </a:lnTo>
                <a:lnTo>
                  <a:pt x="1084" y="986"/>
                </a:lnTo>
                <a:lnTo>
                  <a:pt x="1048" y="1054"/>
                </a:lnTo>
                <a:lnTo>
                  <a:pt x="1014" y="1124"/>
                </a:lnTo>
                <a:lnTo>
                  <a:pt x="980" y="1194"/>
                </a:lnTo>
                <a:lnTo>
                  <a:pt x="980" y="1194"/>
                </a:lnTo>
                <a:lnTo>
                  <a:pt x="914" y="1336"/>
                </a:lnTo>
                <a:lnTo>
                  <a:pt x="850" y="1478"/>
                </a:lnTo>
                <a:lnTo>
                  <a:pt x="786" y="1620"/>
                </a:lnTo>
                <a:lnTo>
                  <a:pt x="720" y="1762"/>
                </a:lnTo>
                <a:lnTo>
                  <a:pt x="720" y="1762"/>
                </a:lnTo>
                <a:lnTo>
                  <a:pt x="652" y="1902"/>
                </a:lnTo>
                <a:lnTo>
                  <a:pt x="616" y="1972"/>
                </a:lnTo>
                <a:lnTo>
                  <a:pt x="578" y="2042"/>
                </a:lnTo>
                <a:lnTo>
                  <a:pt x="540" y="2110"/>
                </a:lnTo>
                <a:lnTo>
                  <a:pt x="500" y="2178"/>
                </a:lnTo>
                <a:lnTo>
                  <a:pt x="460" y="2244"/>
                </a:lnTo>
                <a:lnTo>
                  <a:pt x="416" y="2310"/>
                </a:lnTo>
                <a:lnTo>
                  <a:pt x="416" y="2310"/>
                </a:lnTo>
                <a:lnTo>
                  <a:pt x="372" y="2374"/>
                </a:lnTo>
                <a:lnTo>
                  <a:pt x="326" y="2436"/>
                </a:lnTo>
                <a:lnTo>
                  <a:pt x="276" y="2498"/>
                </a:lnTo>
                <a:lnTo>
                  <a:pt x="226" y="2556"/>
                </a:lnTo>
                <a:lnTo>
                  <a:pt x="172" y="2614"/>
                </a:lnTo>
                <a:lnTo>
                  <a:pt x="118" y="2670"/>
                </a:lnTo>
                <a:lnTo>
                  <a:pt x="60" y="2722"/>
                </a:lnTo>
                <a:lnTo>
                  <a:pt x="0" y="2772"/>
                </a:lnTo>
                <a:lnTo>
                  <a:pt x="0" y="2772"/>
                </a:lnTo>
                <a:lnTo>
                  <a:pt x="58" y="2720"/>
                </a:lnTo>
                <a:lnTo>
                  <a:pt x="114" y="2666"/>
                </a:lnTo>
                <a:lnTo>
                  <a:pt x="168" y="2610"/>
                </a:lnTo>
                <a:lnTo>
                  <a:pt x="220" y="2552"/>
                </a:lnTo>
                <a:lnTo>
                  <a:pt x="220" y="2552"/>
                </a:lnTo>
                <a:lnTo>
                  <a:pt x="270" y="2492"/>
                </a:lnTo>
                <a:lnTo>
                  <a:pt x="318" y="2430"/>
                </a:lnTo>
                <a:lnTo>
                  <a:pt x="364" y="2368"/>
                </a:lnTo>
                <a:lnTo>
                  <a:pt x="408" y="2302"/>
                </a:lnTo>
                <a:lnTo>
                  <a:pt x="408" y="2302"/>
                </a:lnTo>
                <a:lnTo>
                  <a:pt x="450" y="2236"/>
                </a:lnTo>
                <a:lnTo>
                  <a:pt x="490" y="2170"/>
                </a:lnTo>
                <a:lnTo>
                  <a:pt x="528" y="2102"/>
                </a:lnTo>
                <a:lnTo>
                  <a:pt x="566" y="2034"/>
                </a:lnTo>
                <a:lnTo>
                  <a:pt x="602" y="1964"/>
                </a:lnTo>
                <a:lnTo>
                  <a:pt x="636" y="1896"/>
                </a:lnTo>
                <a:lnTo>
                  <a:pt x="704" y="1754"/>
                </a:lnTo>
                <a:lnTo>
                  <a:pt x="704" y="1754"/>
                </a:lnTo>
                <a:lnTo>
                  <a:pt x="768" y="1612"/>
                </a:lnTo>
                <a:lnTo>
                  <a:pt x="832" y="1470"/>
                </a:lnTo>
                <a:lnTo>
                  <a:pt x="832" y="1470"/>
                </a:lnTo>
                <a:lnTo>
                  <a:pt x="894" y="1326"/>
                </a:lnTo>
                <a:lnTo>
                  <a:pt x="960" y="1184"/>
                </a:lnTo>
                <a:lnTo>
                  <a:pt x="960" y="1184"/>
                </a:lnTo>
                <a:lnTo>
                  <a:pt x="994" y="1114"/>
                </a:lnTo>
                <a:lnTo>
                  <a:pt x="1028" y="1044"/>
                </a:lnTo>
                <a:lnTo>
                  <a:pt x="1064" y="974"/>
                </a:lnTo>
                <a:lnTo>
                  <a:pt x="1102" y="906"/>
                </a:lnTo>
                <a:lnTo>
                  <a:pt x="1102" y="906"/>
                </a:lnTo>
                <a:lnTo>
                  <a:pt x="1142" y="838"/>
                </a:lnTo>
                <a:lnTo>
                  <a:pt x="1186" y="772"/>
                </a:lnTo>
                <a:lnTo>
                  <a:pt x="1230" y="708"/>
                </a:lnTo>
                <a:lnTo>
                  <a:pt x="1278" y="646"/>
                </a:lnTo>
                <a:lnTo>
                  <a:pt x="1278" y="646"/>
                </a:lnTo>
                <a:lnTo>
                  <a:pt x="1304" y="616"/>
                </a:lnTo>
                <a:lnTo>
                  <a:pt x="1332" y="586"/>
                </a:lnTo>
                <a:lnTo>
                  <a:pt x="1358" y="558"/>
                </a:lnTo>
                <a:lnTo>
                  <a:pt x="1388" y="532"/>
                </a:lnTo>
                <a:lnTo>
                  <a:pt x="1418" y="506"/>
                </a:lnTo>
                <a:lnTo>
                  <a:pt x="1448" y="480"/>
                </a:lnTo>
                <a:lnTo>
                  <a:pt x="1480" y="456"/>
                </a:lnTo>
                <a:lnTo>
                  <a:pt x="1512" y="434"/>
                </a:lnTo>
                <a:lnTo>
                  <a:pt x="1512" y="434"/>
                </a:lnTo>
                <a:lnTo>
                  <a:pt x="1546" y="414"/>
                </a:lnTo>
                <a:lnTo>
                  <a:pt x="1580" y="394"/>
                </a:lnTo>
                <a:lnTo>
                  <a:pt x="1650" y="360"/>
                </a:lnTo>
                <a:lnTo>
                  <a:pt x="1650" y="360"/>
                </a:lnTo>
                <a:lnTo>
                  <a:pt x="1722" y="326"/>
                </a:lnTo>
                <a:lnTo>
                  <a:pt x="1794" y="296"/>
                </a:lnTo>
                <a:lnTo>
                  <a:pt x="1794" y="296"/>
                </a:lnTo>
                <a:lnTo>
                  <a:pt x="1868" y="270"/>
                </a:lnTo>
                <a:lnTo>
                  <a:pt x="1942" y="244"/>
                </a:lnTo>
                <a:lnTo>
                  <a:pt x="2018" y="220"/>
                </a:lnTo>
                <a:lnTo>
                  <a:pt x="2092" y="200"/>
                </a:lnTo>
                <a:lnTo>
                  <a:pt x="2092" y="200"/>
                </a:lnTo>
                <a:lnTo>
                  <a:pt x="2168" y="180"/>
                </a:lnTo>
                <a:lnTo>
                  <a:pt x="2244" y="160"/>
                </a:lnTo>
                <a:lnTo>
                  <a:pt x="2320" y="144"/>
                </a:lnTo>
                <a:lnTo>
                  <a:pt x="2398" y="128"/>
                </a:lnTo>
                <a:lnTo>
                  <a:pt x="2398" y="128"/>
                </a:lnTo>
                <a:lnTo>
                  <a:pt x="2552" y="100"/>
                </a:lnTo>
                <a:lnTo>
                  <a:pt x="2706" y="76"/>
                </a:lnTo>
                <a:lnTo>
                  <a:pt x="2860" y="54"/>
                </a:lnTo>
                <a:lnTo>
                  <a:pt x="3016" y="38"/>
                </a:lnTo>
                <a:lnTo>
                  <a:pt x="3016" y="38"/>
                </a:lnTo>
                <a:lnTo>
                  <a:pt x="3172" y="24"/>
                </a:lnTo>
                <a:lnTo>
                  <a:pt x="3328" y="12"/>
                </a:lnTo>
                <a:lnTo>
                  <a:pt x="3328" y="12"/>
                </a:lnTo>
                <a:lnTo>
                  <a:pt x="3484" y="4"/>
                </a:lnTo>
                <a:lnTo>
                  <a:pt x="3640" y="0"/>
                </a:lnTo>
                <a:lnTo>
                  <a:pt x="3640" y="0"/>
                </a:lnTo>
                <a:close/>
              </a:path>
            </a:pathLst>
          </a:custGeom>
          <a:solidFill>
            <a:srgbClr val="F0E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a:ln>
                <a:noFill/>
              </a:ln>
              <a:solidFill>
                <a:prstClr val="black"/>
              </a:solidFill>
              <a:effectLst/>
              <a:uLnTx/>
              <a:uFillTx/>
              <a:latin typeface="Century Gothic"/>
              <a:ea typeface="+mn-ea"/>
              <a:cs typeface="+mn-cs"/>
            </a:endParaRPr>
          </a:p>
        </p:txBody>
      </p:sp>
      <p:sp>
        <p:nvSpPr>
          <p:cNvPr id="18" name="Rectangle: Rounded Corners 17">
            <a:extLst>
              <a:ext uri="{FF2B5EF4-FFF2-40B4-BE49-F238E27FC236}">
                <a16:creationId xmlns:a16="http://schemas.microsoft.com/office/drawing/2014/main" id="{C35B596E-6DA9-4B91-A158-C4AD89ED418D}"/>
              </a:ext>
            </a:extLst>
          </p:cNvPr>
          <p:cNvSpPr/>
          <p:nvPr/>
        </p:nvSpPr>
        <p:spPr>
          <a:xfrm>
            <a:off x="485177" y="2205095"/>
            <a:ext cx="631421" cy="2123573"/>
          </a:xfrm>
          <a:prstGeom prst="roundRect">
            <a:avLst/>
          </a:prstGeom>
          <a:ln/>
        </p:spPr>
        <p:style>
          <a:lnRef idx="1">
            <a:schemeClr val="accent5"/>
          </a:lnRef>
          <a:fillRef idx="2">
            <a:schemeClr val="accent5"/>
          </a:fillRef>
          <a:effectRef idx="1">
            <a:schemeClr val="accent5"/>
          </a:effectRef>
          <a:fontRef idx="minor">
            <a:schemeClr val="dk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4701A7"/>
                </a:solidFill>
                <a:effectLst/>
                <a:uLnTx/>
                <a:uFillTx/>
                <a:latin typeface="Century Gothic"/>
                <a:ea typeface="+mn-ea"/>
                <a:cs typeface="+mn-cs"/>
              </a:rPr>
              <a:t>CCODS</a:t>
            </a:r>
            <a:endParaRPr kumimoji="0" lang="en-GB" sz="1800" b="0" i="0" u="none" strike="noStrike" kern="1200" cap="none" spc="0" normalizeH="0" baseline="0" noProof="0">
              <a:ln>
                <a:noFill/>
              </a:ln>
              <a:solidFill>
                <a:srgbClr val="4701A7"/>
              </a:solidFill>
              <a:effectLst/>
              <a:uLnTx/>
              <a:uFillTx/>
              <a:latin typeface="Century Gothic"/>
              <a:ea typeface="+mn-ea"/>
              <a:cs typeface="+mn-cs"/>
            </a:endParaRPr>
          </a:p>
        </p:txBody>
      </p:sp>
      <p:sp>
        <p:nvSpPr>
          <p:cNvPr id="20" name="Freeform 308">
            <a:extLst>
              <a:ext uri="{FF2B5EF4-FFF2-40B4-BE49-F238E27FC236}">
                <a16:creationId xmlns:a16="http://schemas.microsoft.com/office/drawing/2014/main" id="{415D1D8F-2286-4709-9F05-8C8876A7BF4B}"/>
              </a:ext>
            </a:extLst>
          </p:cNvPr>
          <p:cNvSpPr/>
          <p:nvPr/>
        </p:nvSpPr>
        <p:spPr>
          <a:xfrm>
            <a:off x="2360419" y="4593707"/>
            <a:ext cx="608994" cy="587447"/>
          </a:xfrm>
          <a:custGeom>
            <a:avLst/>
            <a:gdLst>
              <a:gd name="connsiteX0" fmla="*/ 432708 w 540885"/>
              <a:gd name="connsiteY0" fmla="*/ 356081 h 496091"/>
              <a:gd name="connsiteX1" fmla="*/ 407355 w 540885"/>
              <a:gd name="connsiteY1" fmla="*/ 366786 h 496091"/>
              <a:gd name="connsiteX2" fmla="*/ 396649 w 540885"/>
              <a:gd name="connsiteY2" fmla="*/ 392140 h 496091"/>
              <a:gd name="connsiteX3" fmla="*/ 407213 w 540885"/>
              <a:gd name="connsiteY3" fmla="*/ 417635 h 496091"/>
              <a:gd name="connsiteX4" fmla="*/ 432708 w 540885"/>
              <a:gd name="connsiteY4" fmla="*/ 428199 h 496091"/>
              <a:gd name="connsiteX5" fmla="*/ 458203 w 540885"/>
              <a:gd name="connsiteY5" fmla="*/ 417635 h 496091"/>
              <a:gd name="connsiteX6" fmla="*/ 468767 w 540885"/>
              <a:gd name="connsiteY6" fmla="*/ 392140 h 496091"/>
              <a:gd name="connsiteX7" fmla="*/ 458063 w 540885"/>
              <a:gd name="connsiteY7" fmla="*/ 366786 h 496091"/>
              <a:gd name="connsiteX8" fmla="*/ 432708 w 540885"/>
              <a:gd name="connsiteY8" fmla="*/ 356081 h 496091"/>
              <a:gd name="connsiteX9" fmla="*/ 396649 w 540885"/>
              <a:gd name="connsiteY9" fmla="*/ 288471 h 496091"/>
              <a:gd name="connsiteX10" fmla="*/ 409608 w 540885"/>
              <a:gd name="connsiteY10" fmla="*/ 301570 h 496091"/>
              <a:gd name="connsiteX11" fmla="*/ 424257 w 540885"/>
              <a:gd name="connsiteY11" fmla="*/ 320586 h 496091"/>
              <a:gd name="connsiteX12" fmla="*/ 432708 w 540885"/>
              <a:gd name="connsiteY12" fmla="*/ 320023 h 496091"/>
              <a:gd name="connsiteX13" fmla="*/ 441160 w 540885"/>
              <a:gd name="connsiteY13" fmla="*/ 320586 h 496091"/>
              <a:gd name="connsiteX14" fmla="*/ 467077 w 540885"/>
              <a:gd name="connsiteY14" fmla="*/ 289034 h 496091"/>
              <a:gd name="connsiteX15" fmla="*/ 468767 w 540885"/>
              <a:gd name="connsiteY15" fmla="*/ 288471 h 496091"/>
              <a:gd name="connsiteX16" fmla="*/ 503699 w 540885"/>
              <a:gd name="connsiteY16" fmla="*/ 308190 h 496091"/>
              <a:gd name="connsiteX17" fmla="*/ 504826 w 540885"/>
              <a:gd name="connsiteY17" fmla="*/ 310163 h 496091"/>
              <a:gd name="connsiteX18" fmla="*/ 490459 w 540885"/>
              <a:gd name="connsiteY18" fmla="*/ 349039 h 496091"/>
              <a:gd name="connsiteX19" fmla="*/ 498910 w 540885"/>
              <a:gd name="connsiteY19" fmla="*/ 363688 h 496091"/>
              <a:gd name="connsiteX20" fmla="*/ 540885 w 540885"/>
              <a:gd name="connsiteY20" fmla="*/ 372421 h 496091"/>
              <a:gd name="connsiteX21" fmla="*/ 540885 w 540885"/>
              <a:gd name="connsiteY21" fmla="*/ 411860 h 496091"/>
              <a:gd name="connsiteX22" fmla="*/ 498910 w 540885"/>
              <a:gd name="connsiteY22" fmla="*/ 420593 h 496091"/>
              <a:gd name="connsiteX23" fmla="*/ 490459 w 540885"/>
              <a:gd name="connsiteY23" fmla="*/ 435242 h 496091"/>
              <a:gd name="connsiteX24" fmla="*/ 504826 w 540885"/>
              <a:gd name="connsiteY24" fmla="*/ 474118 h 496091"/>
              <a:gd name="connsiteX25" fmla="*/ 503699 w 540885"/>
              <a:gd name="connsiteY25" fmla="*/ 476090 h 496091"/>
              <a:gd name="connsiteX26" fmla="*/ 468767 w 540885"/>
              <a:gd name="connsiteY26" fmla="*/ 496091 h 496091"/>
              <a:gd name="connsiteX27" fmla="*/ 455809 w 540885"/>
              <a:gd name="connsiteY27" fmla="*/ 482851 h 496091"/>
              <a:gd name="connsiteX28" fmla="*/ 441160 w 540885"/>
              <a:gd name="connsiteY28" fmla="*/ 463695 h 496091"/>
              <a:gd name="connsiteX29" fmla="*/ 432708 w 540885"/>
              <a:gd name="connsiteY29" fmla="*/ 464258 h 496091"/>
              <a:gd name="connsiteX30" fmla="*/ 424257 w 540885"/>
              <a:gd name="connsiteY30" fmla="*/ 463695 h 496091"/>
              <a:gd name="connsiteX31" fmla="*/ 409608 w 540885"/>
              <a:gd name="connsiteY31" fmla="*/ 482851 h 496091"/>
              <a:gd name="connsiteX32" fmla="*/ 396649 w 540885"/>
              <a:gd name="connsiteY32" fmla="*/ 496091 h 496091"/>
              <a:gd name="connsiteX33" fmla="*/ 361717 w 540885"/>
              <a:gd name="connsiteY33" fmla="*/ 476090 h 496091"/>
              <a:gd name="connsiteX34" fmla="*/ 360591 w 540885"/>
              <a:gd name="connsiteY34" fmla="*/ 474118 h 496091"/>
              <a:gd name="connsiteX35" fmla="*/ 374958 w 540885"/>
              <a:gd name="connsiteY35" fmla="*/ 435242 h 496091"/>
              <a:gd name="connsiteX36" fmla="*/ 366507 w 540885"/>
              <a:gd name="connsiteY36" fmla="*/ 420593 h 496091"/>
              <a:gd name="connsiteX37" fmla="*/ 324532 w 540885"/>
              <a:gd name="connsiteY37" fmla="*/ 411860 h 496091"/>
              <a:gd name="connsiteX38" fmla="*/ 324532 w 540885"/>
              <a:gd name="connsiteY38" fmla="*/ 372421 h 496091"/>
              <a:gd name="connsiteX39" fmla="*/ 366507 w 540885"/>
              <a:gd name="connsiteY39" fmla="*/ 363688 h 496091"/>
              <a:gd name="connsiteX40" fmla="*/ 374958 w 540885"/>
              <a:gd name="connsiteY40" fmla="*/ 349039 h 496091"/>
              <a:gd name="connsiteX41" fmla="*/ 360591 w 540885"/>
              <a:gd name="connsiteY41" fmla="*/ 310163 h 496091"/>
              <a:gd name="connsiteX42" fmla="*/ 361717 w 540885"/>
              <a:gd name="connsiteY42" fmla="*/ 308190 h 496091"/>
              <a:gd name="connsiteX43" fmla="*/ 371577 w 540885"/>
              <a:gd name="connsiteY43" fmla="*/ 302557 h 496091"/>
              <a:gd name="connsiteX44" fmla="*/ 388198 w 540885"/>
              <a:gd name="connsiteY44" fmla="*/ 292978 h 496091"/>
              <a:gd name="connsiteX45" fmla="*/ 396649 w 540885"/>
              <a:gd name="connsiteY45" fmla="*/ 288471 h 496091"/>
              <a:gd name="connsiteX46" fmla="*/ 180295 w 540885"/>
              <a:gd name="connsiteY46" fmla="*/ 175788 h 496091"/>
              <a:gd name="connsiteX47" fmla="*/ 129305 w 540885"/>
              <a:gd name="connsiteY47" fmla="*/ 196916 h 496091"/>
              <a:gd name="connsiteX48" fmla="*/ 108177 w 540885"/>
              <a:gd name="connsiteY48" fmla="*/ 247906 h 496091"/>
              <a:gd name="connsiteX49" fmla="*/ 129305 w 540885"/>
              <a:gd name="connsiteY49" fmla="*/ 298895 h 496091"/>
              <a:gd name="connsiteX50" fmla="*/ 180295 w 540885"/>
              <a:gd name="connsiteY50" fmla="*/ 320024 h 496091"/>
              <a:gd name="connsiteX51" fmla="*/ 231285 w 540885"/>
              <a:gd name="connsiteY51" fmla="*/ 298895 h 496091"/>
              <a:gd name="connsiteX52" fmla="*/ 252413 w 540885"/>
              <a:gd name="connsiteY52" fmla="*/ 247906 h 496091"/>
              <a:gd name="connsiteX53" fmla="*/ 231285 w 540885"/>
              <a:gd name="connsiteY53" fmla="*/ 196916 h 496091"/>
              <a:gd name="connsiteX54" fmla="*/ 180295 w 540885"/>
              <a:gd name="connsiteY54" fmla="*/ 175788 h 496091"/>
              <a:gd name="connsiteX55" fmla="*/ 432708 w 540885"/>
              <a:gd name="connsiteY55" fmla="*/ 67611 h 496091"/>
              <a:gd name="connsiteX56" fmla="*/ 407355 w 540885"/>
              <a:gd name="connsiteY56" fmla="*/ 78316 h 496091"/>
              <a:gd name="connsiteX57" fmla="*/ 396649 w 540885"/>
              <a:gd name="connsiteY57" fmla="*/ 103670 h 496091"/>
              <a:gd name="connsiteX58" fmla="*/ 407213 w 540885"/>
              <a:gd name="connsiteY58" fmla="*/ 129165 h 496091"/>
              <a:gd name="connsiteX59" fmla="*/ 432708 w 540885"/>
              <a:gd name="connsiteY59" fmla="*/ 139729 h 496091"/>
              <a:gd name="connsiteX60" fmla="*/ 458203 w 540885"/>
              <a:gd name="connsiteY60" fmla="*/ 129165 h 496091"/>
              <a:gd name="connsiteX61" fmla="*/ 468767 w 540885"/>
              <a:gd name="connsiteY61" fmla="*/ 103670 h 496091"/>
              <a:gd name="connsiteX62" fmla="*/ 458063 w 540885"/>
              <a:gd name="connsiteY62" fmla="*/ 78316 h 496091"/>
              <a:gd name="connsiteX63" fmla="*/ 432708 w 540885"/>
              <a:gd name="connsiteY63" fmla="*/ 67611 h 496091"/>
              <a:gd name="connsiteX64" fmla="*/ 154096 w 540885"/>
              <a:gd name="connsiteY64" fmla="*/ 67611 h 496091"/>
              <a:gd name="connsiteX65" fmla="*/ 206494 w 540885"/>
              <a:gd name="connsiteY65" fmla="*/ 67611 h 496091"/>
              <a:gd name="connsiteX66" fmla="*/ 212128 w 540885"/>
              <a:gd name="connsiteY66" fmla="*/ 69724 h 496091"/>
              <a:gd name="connsiteX67" fmla="*/ 214945 w 540885"/>
              <a:gd name="connsiteY67" fmla="*/ 74654 h 496091"/>
              <a:gd name="connsiteX68" fmla="*/ 221425 w 540885"/>
              <a:gd name="connsiteY68" fmla="*/ 117755 h 496091"/>
              <a:gd name="connsiteX69" fmla="*/ 242553 w 540885"/>
              <a:gd name="connsiteY69" fmla="*/ 126488 h 496091"/>
              <a:gd name="connsiteX70" fmla="*/ 275795 w 540885"/>
              <a:gd name="connsiteY70" fmla="*/ 101416 h 496091"/>
              <a:gd name="connsiteX71" fmla="*/ 281429 w 540885"/>
              <a:gd name="connsiteY71" fmla="*/ 99444 h 496091"/>
              <a:gd name="connsiteX72" fmla="*/ 287345 w 540885"/>
              <a:gd name="connsiteY72" fmla="*/ 101698 h 496091"/>
              <a:gd name="connsiteX73" fmla="*/ 327911 w 540885"/>
              <a:gd name="connsiteY73" fmla="*/ 146772 h 496091"/>
              <a:gd name="connsiteX74" fmla="*/ 325939 w 540885"/>
              <a:gd name="connsiteY74" fmla="*/ 152124 h 496091"/>
              <a:gd name="connsiteX75" fmla="*/ 314108 w 540885"/>
              <a:gd name="connsiteY75" fmla="*/ 167337 h 496091"/>
              <a:gd name="connsiteX76" fmla="*/ 301430 w 540885"/>
              <a:gd name="connsiteY76" fmla="*/ 184239 h 496091"/>
              <a:gd name="connsiteX77" fmla="*/ 311008 w 540885"/>
              <a:gd name="connsiteY77" fmla="*/ 207339 h 496091"/>
              <a:gd name="connsiteX78" fmla="*/ 353828 w 540885"/>
              <a:gd name="connsiteY78" fmla="*/ 213819 h 496091"/>
              <a:gd name="connsiteX79" fmla="*/ 358618 w 540885"/>
              <a:gd name="connsiteY79" fmla="*/ 216777 h 496091"/>
              <a:gd name="connsiteX80" fmla="*/ 360590 w 540885"/>
              <a:gd name="connsiteY80" fmla="*/ 222270 h 496091"/>
              <a:gd name="connsiteX81" fmla="*/ 360590 w 540885"/>
              <a:gd name="connsiteY81" fmla="*/ 274386 h 496091"/>
              <a:gd name="connsiteX82" fmla="*/ 358618 w 540885"/>
              <a:gd name="connsiteY82" fmla="*/ 279880 h 496091"/>
              <a:gd name="connsiteX83" fmla="*/ 354110 w 540885"/>
              <a:gd name="connsiteY83" fmla="*/ 282838 h 496091"/>
              <a:gd name="connsiteX84" fmla="*/ 310445 w 540885"/>
              <a:gd name="connsiteY84" fmla="*/ 289599 h 496091"/>
              <a:gd name="connsiteX85" fmla="*/ 301430 w 540885"/>
              <a:gd name="connsiteY85" fmla="*/ 311009 h 496091"/>
              <a:gd name="connsiteX86" fmla="*/ 326784 w 540885"/>
              <a:gd name="connsiteY86" fmla="*/ 343405 h 496091"/>
              <a:gd name="connsiteX87" fmla="*/ 328756 w 540885"/>
              <a:gd name="connsiteY87" fmla="*/ 349040 h 496091"/>
              <a:gd name="connsiteX88" fmla="*/ 326784 w 540885"/>
              <a:gd name="connsiteY88" fmla="*/ 354392 h 496091"/>
              <a:gd name="connsiteX89" fmla="*/ 303543 w 540885"/>
              <a:gd name="connsiteY89" fmla="*/ 379605 h 496091"/>
              <a:gd name="connsiteX90" fmla="*/ 281429 w 540885"/>
              <a:gd name="connsiteY90" fmla="*/ 396367 h 496091"/>
              <a:gd name="connsiteX91" fmla="*/ 275513 w 540885"/>
              <a:gd name="connsiteY91" fmla="*/ 394395 h 496091"/>
              <a:gd name="connsiteX92" fmla="*/ 243117 w 540885"/>
              <a:gd name="connsiteY92" fmla="*/ 369041 h 496091"/>
              <a:gd name="connsiteX93" fmla="*/ 221425 w 540885"/>
              <a:gd name="connsiteY93" fmla="*/ 377774 h 496091"/>
              <a:gd name="connsiteX94" fmla="*/ 214945 w 540885"/>
              <a:gd name="connsiteY94" fmla="*/ 421439 h 496091"/>
              <a:gd name="connsiteX95" fmla="*/ 206494 w 540885"/>
              <a:gd name="connsiteY95" fmla="*/ 428200 h 496091"/>
              <a:gd name="connsiteX96" fmla="*/ 154096 w 540885"/>
              <a:gd name="connsiteY96" fmla="*/ 428200 h 496091"/>
              <a:gd name="connsiteX97" fmla="*/ 148462 w 540885"/>
              <a:gd name="connsiteY97" fmla="*/ 426087 h 496091"/>
              <a:gd name="connsiteX98" fmla="*/ 145645 w 540885"/>
              <a:gd name="connsiteY98" fmla="*/ 421158 h 496091"/>
              <a:gd name="connsiteX99" fmla="*/ 139165 w 540885"/>
              <a:gd name="connsiteY99" fmla="*/ 378056 h 496091"/>
              <a:gd name="connsiteX100" fmla="*/ 118037 w 540885"/>
              <a:gd name="connsiteY100" fmla="*/ 369323 h 496091"/>
              <a:gd name="connsiteX101" fmla="*/ 84795 w 540885"/>
              <a:gd name="connsiteY101" fmla="*/ 394395 h 496091"/>
              <a:gd name="connsiteX102" fmla="*/ 79161 w 540885"/>
              <a:gd name="connsiteY102" fmla="*/ 396367 h 496091"/>
              <a:gd name="connsiteX103" fmla="*/ 73245 w 540885"/>
              <a:gd name="connsiteY103" fmla="*/ 394113 h 496091"/>
              <a:gd name="connsiteX104" fmla="*/ 32679 w 540885"/>
              <a:gd name="connsiteY104" fmla="*/ 349040 h 496091"/>
              <a:gd name="connsiteX105" fmla="*/ 34651 w 540885"/>
              <a:gd name="connsiteY105" fmla="*/ 343687 h 496091"/>
              <a:gd name="connsiteX106" fmla="*/ 46201 w 540885"/>
              <a:gd name="connsiteY106" fmla="*/ 328756 h 496091"/>
              <a:gd name="connsiteX107" fmla="*/ 59441 w 540885"/>
              <a:gd name="connsiteY107" fmla="*/ 311572 h 496091"/>
              <a:gd name="connsiteX108" fmla="*/ 49581 w 540885"/>
              <a:gd name="connsiteY108" fmla="*/ 288472 h 496091"/>
              <a:gd name="connsiteX109" fmla="*/ 6761 w 540885"/>
              <a:gd name="connsiteY109" fmla="*/ 281711 h 496091"/>
              <a:gd name="connsiteX110" fmla="*/ 1972 w 540885"/>
              <a:gd name="connsiteY110" fmla="*/ 279034 h 496091"/>
              <a:gd name="connsiteX111" fmla="*/ 0 w 540885"/>
              <a:gd name="connsiteY111" fmla="*/ 273541 h 496091"/>
              <a:gd name="connsiteX112" fmla="*/ 0 w 540885"/>
              <a:gd name="connsiteY112" fmla="*/ 221425 h 496091"/>
              <a:gd name="connsiteX113" fmla="*/ 1972 w 540885"/>
              <a:gd name="connsiteY113" fmla="*/ 215932 h 496091"/>
              <a:gd name="connsiteX114" fmla="*/ 6480 w 540885"/>
              <a:gd name="connsiteY114" fmla="*/ 212973 h 496091"/>
              <a:gd name="connsiteX115" fmla="*/ 50145 w 540885"/>
              <a:gd name="connsiteY115" fmla="*/ 206213 h 496091"/>
              <a:gd name="connsiteX116" fmla="*/ 59159 w 540885"/>
              <a:gd name="connsiteY116" fmla="*/ 184802 h 496091"/>
              <a:gd name="connsiteX117" fmla="*/ 33806 w 540885"/>
              <a:gd name="connsiteY117" fmla="*/ 152406 h 496091"/>
              <a:gd name="connsiteX118" fmla="*/ 31834 w 540885"/>
              <a:gd name="connsiteY118" fmla="*/ 146772 h 496091"/>
              <a:gd name="connsiteX119" fmla="*/ 33806 w 540885"/>
              <a:gd name="connsiteY119" fmla="*/ 141137 h 496091"/>
              <a:gd name="connsiteX120" fmla="*/ 56906 w 540885"/>
              <a:gd name="connsiteY120" fmla="*/ 116065 h 496091"/>
              <a:gd name="connsiteX121" fmla="*/ 79161 w 540885"/>
              <a:gd name="connsiteY121" fmla="*/ 99444 h 496091"/>
              <a:gd name="connsiteX122" fmla="*/ 85077 w 540885"/>
              <a:gd name="connsiteY122" fmla="*/ 101416 h 496091"/>
              <a:gd name="connsiteX123" fmla="*/ 117474 w 540885"/>
              <a:gd name="connsiteY123" fmla="*/ 126770 h 496091"/>
              <a:gd name="connsiteX124" fmla="*/ 139165 w 540885"/>
              <a:gd name="connsiteY124" fmla="*/ 117755 h 496091"/>
              <a:gd name="connsiteX125" fmla="*/ 145645 w 540885"/>
              <a:gd name="connsiteY125" fmla="*/ 74372 h 496091"/>
              <a:gd name="connsiteX126" fmla="*/ 154096 w 540885"/>
              <a:gd name="connsiteY126" fmla="*/ 67611 h 496091"/>
              <a:gd name="connsiteX127" fmla="*/ 396649 w 540885"/>
              <a:gd name="connsiteY127" fmla="*/ 0 h 496091"/>
              <a:gd name="connsiteX128" fmla="*/ 409608 w 540885"/>
              <a:gd name="connsiteY128" fmla="*/ 13100 h 496091"/>
              <a:gd name="connsiteX129" fmla="*/ 424257 w 540885"/>
              <a:gd name="connsiteY129" fmla="*/ 32116 h 496091"/>
              <a:gd name="connsiteX130" fmla="*/ 432708 w 540885"/>
              <a:gd name="connsiteY130" fmla="*/ 31552 h 496091"/>
              <a:gd name="connsiteX131" fmla="*/ 441160 w 540885"/>
              <a:gd name="connsiteY131" fmla="*/ 32116 h 496091"/>
              <a:gd name="connsiteX132" fmla="*/ 467077 w 540885"/>
              <a:gd name="connsiteY132" fmla="*/ 564 h 496091"/>
              <a:gd name="connsiteX133" fmla="*/ 468767 w 540885"/>
              <a:gd name="connsiteY133" fmla="*/ 0 h 496091"/>
              <a:gd name="connsiteX134" fmla="*/ 503699 w 540885"/>
              <a:gd name="connsiteY134" fmla="*/ 19720 h 496091"/>
              <a:gd name="connsiteX135" fmla="*/ 504826 w 540885"/>
              <a:gd name="connsiteY135" fmla="*/ 21692 h 496091"/>
              <a:gd name="connsiteX136" fmla="*/ 490459 w 540885"/>
              <a:gd name="connsiteY136" fmla="*/ 60568 h 496091"/>
              <a:gd name="connsiteX137" fmla="*/ 498910 w 540885"/>
              <a:gd name="connsiteY137" fmla="*/ 75217 h 496091"/>
              <a:gd name="connsiteX138" fmla="*/ 540885 w 540885"/>
              <a:gd name="connsiteY138" fmla="*/ 83950 h 496091"/>
              <a:gd name="connsiteX139" fmla="*/ 540885 w 540885"/>
              <a:gd name="connsiteY139" fmla="*/ 123390 h 496091"/>
              <a:gd name="connsiteX140" fmla="*/ 498910 w 540885"/>
              <a:gd name="connsiteY140" fmla="*/ 132123 h 496091"/>
              <a:gd name="connsiteX141" fmla="*/ 490459 w 540885"/>
              <a:gd name="connsiteY141" fmla="*/ 146772 h 496091"/>
              <a:gd name="connsiteX142" fmla="*/ 504826 w 540885"/>
              <a:gd name="connsiteY142" fmla="*/ 185648 h 496091"/>
              <a:gd name="connsiteX143" fmla="*/ 503699 w 540885"/>
              <a:gd name="connsiteY143" fmla="*/ 187619 h 496091"/>
              <a:gd name="connsiteX144" fmla="*/ 468767 w 540885"/>
              <a:gd name="connsiteY144" fmla="*/ 207621 h 496091"/>
              <a:gd name="connsiteX145" fmla="*/ 455809 w 540885"/>
              <a:gd name="connsiteY145" fmla="*/ 194381 h 496091"/>
              <a:gd name="connsiteX146" fmla="*/ 441160 w 540885"/>
              <a:gd name="connsiteY146" fmla="*/ 175224 h 496091"/>
              <a:gd name="connsiteX147" fmla="*/ 432708 w 540885"/>
              <a:gd name="connsiteY147" fmla="*/ 175788 h 496091"/>
              <a:gd name="connsiteX148" fmla="*/ 424257 w 540885"/>
              <a:gd name="connsiteY148" fmla="*/ 175224 h 496091"/>
              <a:gd name="connsiteX149" fmla="*/ 409608 w 540885"/>
              <a:gd name="connsiteY149" fmla="*/ 194381 h 496091"/>
              <a:gd name="connsiteX150" fmla="*/ 396649 w 540885"/>
              <a:gd name="connsiteY150" fmla="*/ 207621 h 496091"/>
              <a:gd name="connsiteX151" fmla="*/ 361717 w 540885"/>
              <a:gd name="connsiteY151" fmla="*/ 187619 h 496091"/>
              <a:gd name="connsiteX152" fmla="*/ 360591 w 540885"/>
              <a:gd name="connsiteY152" fmla="*/ 185648 h 496091"/>
              <a:gd name="connsiteX153" fmla="*/ 374958 w 540885"/>
              <a:gd name="connsiteY153" fmla="*/ 146772 h 496091"/>
              <a:gd name="connsiteX154" fmla="*/ 366507 w 540885"/>
              <a:gd name="connsiteY154" fmla="*/ 132123 h 496091"/>
              <a:gd name="connsiteX155" fmla="*/ 324532 w 540885"/>
              <a:gd name="connsiteY155" fmla="*/ 123390 h 496091"/>
              <a:gd name="connsiteX156" fmla="*/ 324532 w 540885"/>
              <a:gd name="connsiteY156" fmla="*/ 83950 h 496091"/>
              <a:gd name="connsiteX157" fmla="*/ 366507 w 540885"/>
              <a:gd name="connsiteY157" fmla="*/ 75217 h 496091"/>
              <a:gd name="connsiteX158" fmla="*/ 374958 w 540885"/>
              <a:gd name="connsiteY158" fmla="*/ 60568 h 496091"/>
              <a:gd name="connsiteX159" fmla="*/ 360591 w 540885"/>
              <a:gd name="connsiteY159" fmla="*/ 21692 h 496091"/>
              <a:gd name="connsiteX160" fmla="*/ 361717 w 540885"/>
              <a:gd name="connsiteY160" fmla="*/ 19720 h 496091"/>
              <a:gd name="connsiteX161" fmla="*/ 371577 w 540885"/>
              <a:gd name="connsiteY161" fmla="*/ 14086 h 496091"/>
              <a:gd name="connsiteX162" fmla="*/ 388198 w 540885"/>
              <a:gd name="connsiteY162" fmla="*/ 4508 h 496091"/>
              <a:gd name="connsiteX163" fmla="*/ 396649 w 540885"/>
              <a:gd name="connsiteY163" fmla="*/ 0 h 49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40885" h="496091">
                <a:moveTo>
                  <a:pt x="432708" y="356081"/>
                </a:moveTo>
                <a:cubicBezTo>
                  <a:pt x="422942" y="356081"/>
                  <a:pt x="414491" y="359650"/>
                  <a:pt x="407355" y="366786"/>
                </a:cubicBezTo>
                <a:cubicBezTo>
                  <a:pt x="400218" y="373923"/>
                  <a:pt x="396649" y="382375"/>
                  <a:pt x="396649" y="392140"/>
                </a:cubicBezTo>
                <a:cubicBezTo>
                  <a:pt x="396649" y="402094"/>
                  <a:pt x="400171" y="410592"/>
                  <a:pt x="407213" y="417635"/>
                </a:cubicBezTo>
                <a:cubicBezTo>
                  <a:pt x="414257" y="424678"/>
                  <a:pt x="422754" y="428199"/>
                  <a:pt x="432708" y="428199"/>
                </a:cubicBezTo>
                <a:cubicBezTo>
                  <a:pt x="442662" y="428199"/>
                  <a:pt x="451161" y="424678"/>
                  <a:pt x="458203" y="417635"/>
                </a:cubicBezTo>
                <a:cubicBezTo>
                  <a:pt x="465246" y="410592"/>
                  <a:pt x="468767" y="402094"/>
                  <a:pt x="468767" y="392140"/>
                </a:cubicBezTo>
                <a:cubicBezTo>
                  <a:pt x="468767" y="382375"/>
                  <a:pt x="465199" y="373923"/>
                  <a:pt x="458063" y="366786"/>
                </a:cubicBezTo>
                <a:cubicBezTo>
                  <a:pt x="450925" y="359650"/>
                  <a:pt x="442474" y="356081"/>
                  <a:pt x="432708" y="356081"/>
                </a:cubicBezTo>
                <a:close/>
                <a:moveTo>
                  <a:pt x="396649" y="288471"/>
                </a:moveTo>
                <a:cubicBezTo>
                  <a:pt x="398152" y="288471"/>
                  <a:pt x="402471" y="292838"/>
                  <a:pt x="409608" y="301570"/>
                </a:cubicBezTo>
                <a:cubicBezTo>
                  <a:pt x="416744" y="310303"/>
                  <a:pt x="421628" y="316642"/>
                  <a:pt x="424257" y="320586"/>
                </a:cubicBezTo>
                <a:cubicBezTo>
                  <a:pt x="428013" y="320210"/>
                  <a:pt x="430830" y="320023"/>
                  <a:pt x="432708" y="320023"/>
                </a:cubicBezTo>
                <a:cubicBezTo>
                  <a:pt x="434586" y="320023"/>
                  <a:pt x="437403" y="320210"/>
                  <a:pt x="441160" y="320586"/>
                </a:cubicBezTo>
                <a:cubicBezTo>
                  <a:pt x="450738" y="307251"/>
                  <a:pt x="459377" y="296734"/>
                  <a:pt x="467077" y="289034"/>
                </a:cubicBezTo>
                <a:lnTo>
                  <a:pt x="468767" y="288471"/>
                </a:lnTo>
                <a:cubicBezTo>
                  <a:pt x="469518" y="288471"/>
                  <a:pt x="481162" y="295044"/>
                  <a:pt x="503699" y="308190"/>
                </a:cubicBezTo>
                <a:cubicBezTo>
                  <a:pt x="504450" y="308754"/>
                  <a:pt x="504826" y="309412"/>
                  <a:pt x="504826" y="310163"/>
                </a:cubicBezTo>
                <a:cubicBezTo>
                  <a:pt x="504826" y="314858"/>
                  <a:pt x="500037" y="327816"/>
                  <a:pt x="490459" y="349039"/>
                </a:cubicBezTo>
                <a:cubicBezTo>
                  <a:pt x="493651" y="353358"/>
                  <a:pt x="496468" y="358241"/>
                  <a:pt x="498910" y="363688"/>
                </a:cubicBezTo>
                <a:cubicBezTo>
                  <a:pt x="526893" y="366505"/>
                  <a:pt x="540885" y="369416"/>
                  <a:pt x="540885" y="372421"/>
                </a:cubicBezTo>
                <a:lnTo>
                  <a:pt x="540885" y="411860"/>
                </a:lnTo>
                <a:cubicBezTo>
                  <a:pt x="540885" y="414865"/>
                  <a:pt x="526893" y="417776"/>
                  <a:pt x="498910" y="420593"/>
                </a:cubicBezTo>
                <a:cubicBezTo>
                  <a:pt x="496657" y="425664"/>
                  <a:pt x="493839" y="430547"/>
                  <a:pt x="490459" y="435242"/>
                </a:cubicBezTo>
                <a:cubicBezTo>
                  <a:pt x="500037" y="456464"/>
                  <a:pt x="504826" y="469423"/>
                  <a:pt x="504826" y="474118"/>
                </a:cubicBezTo>
                <a:cubicBezTo>
                  <a:pt x="504826" y="474869"/>
                  <a:pt x="504450" y="475527"/>
                  <a:pt x="503699" y="476090"/>
                </a:cubicBezTo>
                <a:cubicBezTo>
                  <a:pt x="480787" y="489424"/>
                  <a:pt x="469143" y="496091"/>
                  <a:pt x="468767" y="496091"/>
                </a:cubicBezTo>
                <a:cubicBezTo>
                  <a:pt x="467265" y="496091"/>
                  <a:pt x="462945" y="491678"/>
                  <a:pt x="455809" y="482851"/>
                </a:cubicBezTo>
                <a:cubicBezTo>
                  <a:pt x="448672" y="474024"/>
                  <a:pt x="443788" y="467639"/>
                  <a:pt x="441160" y="463695"/>
                </a:cubicBezTo>
                <a:cubicBezTo>
                  <a:pt x="437403" y="464070"/>
                  <a:pt x="434586" y="464258"/>
                  <a:pt x="432708" y="464258"/>
                </a:cubicBezTo>
                <a:cubicBezTo>
                  <a:pt x="430830" y="464258"/>
                  <a:pt x="428013" y="464070"/>
                  <a:pt x="424257" y="463695"/>
                </a:cubicBezTo>
                <a:cubicBezTo>
                  <a:pt x="421628" y="467639"/>
                  <a:pt x="416744" y="474024"/>
                  <a:pt x="409608" y="482851"/>
                </a:cubicBezTo>
                <a:cubicBezTo>
                  <a:pt x="402471" y="491678"/>
                  <a:pt x="398152" y="496091"/>
                  <a:pt x="396649" y="496091"/>
                </a:cubicBezTo>
                <a:cubicBezTo>
                  <a:pt x="396274" y="496091"/>
                  <a:pt x="384629" y="489424"/>
                  <a:pt x="361717" y="476090"/>
                </a:cubicBezTo>
                <a:cubicBezTo>
                  <a:pt x="360966" y="475527"/>
                  <a:pt x="360591" y="474869"/>
                  <a:pt x="360591" y="474118"/>
                </a:cubicBezTo>
                <a:cubicBezTo>
                  <a:pt x="360591" y="469423"/>
                  <a:pt x="365380" y="456464"/>
                  <a:pt x="374958" y="435242"/>
                </a:cubicBezTo>
                <a:cubicBezTo>
                  <a:pt x="371577" y="430547"/>
                  <a:pt x="368760" y="425664"/>
                  <a:pt x="366507" y="420593"/>
                </a:cubicBezTo>
                <a:cubicBezTo>
                  <a:pt x="338523" y="417776"/>
                  <a:pt x="324532" y="414865"/>
                  <a:pt x="324532" y="411860"/>
                </a:cubicBezTo>
                <a:lnTo>
                  <a:pt x="324532" y="372421"/>
                </a:lnTo>
                <a:cubicBezTo>
                  <a:pt x="324532" y="369416"/>
                  <a:pt x="338523" y="366505"/>
                  <a:pt x="366507" y="363688"/>
                </a:cubicBezTo>
                <a:cubicBezTo>
                  <a:pt x="368948" y="358241"/>
                  <a:pt x="371765" y="353358"/>
                  <a:pt x="374958" y="349039"/>
                </a:cubicBezTo>
                <a:cubicBezTo>
                  <a:pt x="365380" y="327816"/>
                  <a:pt x="360591" y="314858"/>
                  <a:pt x="360591" y="310163"/>
                </a:cubicBezTo>
                <a:cubicBezTo>
                  <a:pt x="360591" y="309412"/>
                  <a:pt x="360966" y="308754"/>
                  <a:pt x="361717" y="308190"/>
                </a:cubicBezTo>
                <a:cubicBezTo>
                  <a:pt x="362468" y="307815"/>
                  <a:pt x="365755" y="305937"/>
                  <a:pt x="371577" y="302557"/>
                </a:cubicBezTo>
                <a:cubicBezTo>
                  <a:pt x="377399" y="299176"/>
                  <a:pt x="382939" y="295983"/>
                  <a:pt x="388198" y="292978"/>
                </a:cubicBezTo>
                <a:cubicBezTo>
                  <a:pt x="393457" y="289974"/>
                  <a:pt x="396274" y="288471"/>
                  <a:pt x="396649" y="288471"/>
                </a:cubicBezTo>
                <a:close/>
                <a:moveTo>
                  <a:pt x="180295" y="175788"/>
                </a:moveTo>
                <a:cubicBezTo>
                  <a:pt x="160387" y="175788"/>
                  <a:pt x="143391" y="182830"/>
                  <a:pt x="129305" y="196916"/>
                </a:cubicBezTo>
                <a:cubicBezTo>
                  <a:pt x="115220" y="211002"/>
                  <a:pt x="108177" y="227998"/>
                  <a:pt x="108177" y="247906"/>
                </a:cubicBezTo>
                <a:cubicBezTo>
                  <a:pt x="108177" y="267813"/>
                  <a:pt x="115220" y="284810"/>
                  <a:pt x="129305" y="298895"/>
                </a:cubicBezTo>
                <a:cubicBezTo>
                  <a:pt x="143391" y="312981"/>
                  <a:pt x="160387" y="320024"/>
                  <a:pt x="180295" y="320024"/>
                </a:cubicBezTo>
                <a:cubicBezTo>
                  <a:pt x="200202" y="320024"/>
                  <a:pt x="217199" y="312981"/>
                  <a:pt x="231285" y="298895"/>
                </a:cubicBezTo>
                <a:cubicBezTo>
                  <a:pt x="245370" y="284810"/>
                  <a:pt x="252413" y="267813"/>
                  <a:pt x="252413" y="247906"/>
                </a:cubicBezTo>
                <a:cubicBezTo>
                  <a:pt x="252413" y="227998"/>
                  <a:pt x="245370" y="211002"/>
                  <a:pt x="231285" y="196916"/>
                </a:cubicBezTo>
                <a:cubicBezTo>
                  <a:pt x="217199" y="182830"/>
                  <a:pt x="200202" y="175788"/>
                  <a:pt x="180295" y="175788"/>
                </a:cubicBezTo>
                <a:close/>
                <a:moveTo>
                  <a:pt x="432708" y="67611"/>
                </a:moveTo>
                <a:cubicBezTo>
                  <a:pt x="422942" y="67611"/>
                  <a:pt x="414491" y="71179"/>
                  <a:pt x="407355" y="78316"/>
                </a:cubicBezTo>
                <a:cubicBezTo>
                  <a:pt x="400218" y="85453"/>
                  <a:pt x="396649" y="93904"/>
                  <a:pt x="396649" y="103670"/>
                </a:cubicBezTo>
                <a:cubicBezTo>
                  <a:pt x="396649" y="113624"/>
                  <a:pt x="400171" y="122122"/>
                  <a:pt x="407213" y="129165"/>
                </a:cubicBezTo>
                <a:cubicBezTo>
                  <a:pt x="414257" y="136207"/>
                  <a:pt x="422754" y="139729"/>
                  <a:pt x="432708" y="139729"/>
                </a:cubicBezTo>
                <a:cubicBezTo>
                  <a:pt x="442662" y="139729"/>
                  <a:pt x="451161" y="136207"/>
                  <a:pt x="458203" y="129165"/>
                </a:cubicBezTo>
                <a:cubicBezTo>
                  <a:pt x="465246" y="122122"/>
                  <a:pt x="468767" y="113624"/>
                  <a:pt x="468767" y="103670"/>
                </a:cubicBezTo>
                <a:cubicBezTo>
                  <a:pt x="468767" y="93904"/>
                  <a:pt x="465199" y="85453"/>
                  <a:pt x="458063" y="78316"/>
                </a:cubicBezTo>
                <a:cubicBezTo>
                  <a:pt x="450925" y="71179"/>
                  <a:pt x="442474" y="67611"/>
                  <a:pt x="432708" y="67611"/>
                </a:cubicBezTo>
                <a:close/>
                <a:moveTo>
                  <a:pt x="154096" y="67611"/>
                </a:moveTo>
                <a:lnTo>
                  <a:pt x="206494" y="67611"/>
                </a:lnTo>
                <a:cubicBezTo>
                  <a:pt x="208559" y="67611"/>
                  <a:pt x="210438" y="68315"/>
                  <a:pt x="212128" y="69724"/>
                </a:cubicBezTo>
                <a:cubicBezTo>
                  <a:pt x="213818" y="71132"/>
                  <a:pt x="214757" y="72775"/>
                  <a:pt x="214945" y="74654"/>
                </a:cubicBezTo>
                <a:lnTo>
                  <a:pt x="221425" y="117755"/>
                </a:lnTo>
                <a:cubicBezTo>
                  <a:pt x="227810" y="119633"/>
                  <a:pt x="234853" y="122545"/>
                  <a:pt x="242553" y="126488"/>
                </a:cubicBezTo>
                <a:lnTo>
                  <a:pt x="275795" y="101416"/>
                </a:lnTo>
                <a:cubicBezTo>
                  <a:pt x="277297" y="100102"/>
                  <a:pt x="279175" y="99444"/>
                  <a:pt x="281429" y="99444"/>
                </a:cubicBezTo>
                <a:cubicBezTo>
                  <a:pt x="283494" y="99444"/>
                  <a:pt x="285466" y="100195"/>
                  <a:pt x="287345" y="101698"/>
                </a:cubicBezTo>
                <a:cubicBezTo>
                  <a:pt x="314389" y="126676"/>
                  <a:pt x="327911" y="141701"/>
                  <a:pt x="327911" y="146772"/>
                </a:cubicBezTo>
                <a:cubicBezTo>
                  <a:pt x="327911" y="148462"/>
                  <a:pt x="327254" y="150246"/>
                  <a:pt x="325939" y="152124"/>
                </a:cubicBezTo>
                <a:cubicBezTo>
                  <a:pt x="323685" y="155129"/>
                  <a:pt x="319742" y="160200"/>
                  <a:pt x="314108" y="167337"/>
                </a:cubicBezTo>
                <a:cubicBezTo>
                  <a:pt x="308473" y="174473"/>
                  <a:pt x="304248" y="180107"/>
                  <a:pt x="301430" y="184239"/>
                </a:cubicBezTo>
                <a:cubicBezTo>
                  <a:pt x="305749" y="193254"/>
                  <a:pt x="308942" y="200954"/>
                  <a:pt x="311008" y="207339"/>
                </a:cubicBezTo>
                <a:lnTo>
                  <a:pt x="353828" y="213819"/>
                </a:lnTo>
                <a:cubicBezTo>
                  <a:pt x="355706" y="214194"/>
                  <a:pt x="357303" y="215180"/>
                  <a:pt x="358618" y="216777"/>
                </a:cubicBezTo>
                <a:cubicBezTo>
                  <a:pt x="359932" y="218373"/>
                  <a:pt x="360590" y="220204"/>
                  <a:pt x="360590" y="222270"/>
                </a:cubicBezTo>
                <a:lnTo>
                  <a:pt x="360590" y="274386"/>
                </a:lnTo>
                <a:cubicBezTo>
                  <a:pt x="360590" y="276265"/>
                  <a:pt x="359932" y="278095"/>
                  <a:pt x="358618" y="279880"/>
                </a:cubicBezTo>
                <a:cubicBezTo>
                  <a:pt x="357303" y="281664"/>
                  <a:pt x="355800" y="282650"/>
                  <a:pt x="354110" y="282838"/>
                </a:cubicBezTo>
                <a:lnTo>
                  <a:pt x="310445" y="289599"/>
                </a:lnTo>
                <a:cubicBezTo>
                  <a:pt x="308379" y="296172"/>
                  <a:pt x="305374" y="303309"/>
                  <a:pt x="301430" y="311009"/>
                </a:cubicBezTo>
                <a:cubicBezTo>
                  <a:pt x="307816" y="320024"/>
                  <a:pt x="316267" y="330822"/>
                  <a:pt x="326784" y="343405"/>
                </a:cubicBezTo>
                <a:cubicBezTo>
                  <a:pt x="328099" y="345283"/>
                  <a:pt x="328756" y="347161"/>
                  <a:pt x="328756" y="349040"/>
                </a:cubicBezTo>
                <a:cubicBezTo>
                  <a:pt x="328756" y="351293"/>
                  <a:pt x="328099" y="353077"/>
                  <a:pt x="326784" y="354392"/>
                </a:cubicBezTo>
                <a:cubicBezTo>
                  <a:pt x="322465" y="360026"/>
                  <a:pt x="314717" y="368431"/>
                  <a:pt x="303543" y="379605"/>
                </a:cubicBezTo>
                <a:cubicBezTo>
                  <a:pt x="292368" y="390780"/>
                  <a:pt x="284997" y="396367"/>
                  <a:pt x="281429" y="396367"/>
                </a:cubicBezTo>
                <a:cubicBezTo>
                  <a:pt x="279363" y="396367"/>
                  <a:pt x="277391" y="395710"/>
                  <a:pt x="275513" y="394395"/>
                </a:cubicBezTo>
                <a:lnTo>
                  <a:pt x="243117" y="369041"/>
                </a:lnTo>
                <a:cubicBezTo>
                  <a:pt x="236167" y="372609"/>
                  <a:pt x="228937" y="375520"/>
                  <a:pt x="221425" y="377774"/>
                </a:cubicBezTo>
                <a:cubicBezTo>
                  <a:pt x="219359" y="398057"/>
                  <a:pt x="217199" y="412612"/>
                  <a:pt x="214945" y="421439"/>
                </a:cubicBezTo>
                <a:cubicBezTo>
                  <a:pt x="213630" y="425947"/>
                  <a:pt x="210813" y="428200"/>
                  <a:pt x="206494" y="428200"/>
                </a:cubicBezTo>
                <a:lnTo>
                  <a:pt x="154096" y="428200"/>
                </a:lnTo>
                <a:cubicBezTo>
                  <a:pt x="152030" y="428200"/>
                  <a:pt x="150152" y="427496"/>
                  <a:pt x="148462" y="426087"/>
                </a:cubicBezTo>
                <a:cubicBezTo>
                  <a:pt x="146771" y="424679"/>
                  <a:pt x="145832" y="423035"/>
                  <a:pt x="145645" y="421158"/>
                </a:cubicBezTo>
                <a:lnTo>
                  <a:pt x="139165" y="378056"/>
                </a:lnTo>
                <a:cubicBezTo>
                  <a:pt x="132779" y="376178"/>
                  <a:pt x="125737" y="373267"/>
                  <a:pt x="118037" y="369323"/>
                </a:cubicBezTo>
                <a:lnTo>
                  <a:pt x="84795" y="394395"/>
                </a:lnTo>
                <a:cubicBezTo>
                  <a:pt x="83480" y="395710"/>
                  <a:pt x="81602" y="396367"/>
                  <a:pt x="79161" y="396367"/>
                </a:cubicBezTo>
                <a:cubicBezTo>
                  <a:pt x="77095" y="396367"/>
                  <a:pt x="75123" y="395616"/>
                  <a:pt x="73245" y="394113"/>
                </a:cubicBezTo>
                <a:cubicBezTo>
                  <a:pt x="46201" y="369135"/>
                  <a:pt x="32679" y="354110"/>
                  <a:pt x="32679" y="349040"/>
                </a:cubicBezTo>
                <a:cubicBezTo>
                  <a:pt x="32679" y="347349"/>
                  <a:pt x="33336" y="345565"/>
                  <a:pt x="34651" y="343687"/>
                </a:cubicBezTo>
                <a:cubicBezTo>
                  <a:pt x="36529" y="341058"/>
                  <a:pt x="40378" y="336081"/>
                  <a:pt x="46201" y="328756"/>
                </a:cubicBezTo>
                <a:cubicBezTo>
                  <a:pt x="52022" y="321432"/>
                  <a:pt x="56436" y="315704"/>
                  <a:pt x="59441" y="311572"/>
                </a:cubicBezTo>
                <a:cubicBezTo>
                  <a:pt x="55122" y="303309"/>
                  <a:pt x="51835" y="295608"/>
                  <a:pt x="49581" y="288472"/>
                </a:cubicBezTo>
                <a:lnTo>
                  <a:pt x="6761" y="281711"/>
                </a:lnTo>
                <a:cubicBezTo>
                  <a:pt x="4883" y="281523"/>
                  <a:pt x="3286" y="280631"/>
                  <a:pt x="1972" y="279034"/>
                </a:cubicBezTo>
                <a:cubicBezTo>
                  <a:pt x="657" y="277438"/>
                  <a:pt x="0" y="275607"/>
                  <a:pt x="0" y="273541"/>
                </a:cubicBezTo>
                <a:lnTo>
                  <a:pt x="0" y="221425"/>
                </a:lnTo>
                <a:cubicBezTo>
                  <a:pt x="0" y="219547"/>
                  <a:pt x="657" y="217715"/>
                  <a:pt x="1972" y="215932"/>
                </a:cubicBezTo>
                <a:cubicBezTo>
                  <a:pt x="3286" y="214147"/>
                  <a:pt x="4789" y="213161"/>
                  <a:pt x="6480" y="212973"/>
                </a:cubicBezTo>
                <a:lnTo>
                  <a:pt x="50145" y="206213"/>
                </a:lnTo>
                <a:cubicBezTo>
                  <a:pt x="52210" y="199639"/>
                  <a:pt x="55215" y="192503"/>
                  <a:pt x="59159" y="184802"/>
                </a:cubicBezTo>
                <a:cubicBezTo>
                  <a:pt x="52774" y="175788"/>
                  <a:pt x="44322" y="164989"/>
                  <a:pt x="33806" y="152406"/>
                </a:cubicBezTo>
                <a:cubicBezTo>
                  <a:pt x="32490" y="150340"/>
                  <a:pt x="31834" y="148462"/>
                  <a:pt x="31834" y="146772"/>
                </a:cubicBezTo>
                <a:cubicBezTo>
                  <a:pt x="31834" y="144518"/>
                  <a:pt x="32490" y="142640"/>
                  <a:pt x="33806" y="141137"/>
                </a:cubicBezTo>
                <a:cubicBezTo>
                  <a:pt x="37937" y="135503"/>
                  <a:pt x="45637" y="127146"/>
                  <a:pt x="56906" y="116065"/>
                </a:cubicBezTo>
                <a:cubicBezTo>
                  <a:pt x="68174" y="104984"/>
                  <a:pt x="75592" y="99444"/>
                  <a:pt x="79161" y="99444"/>
                </a:cubicBezTo>
                <a:cubicBezTo>
                  <a:pt x="81226" y="99444"/>
                  <a:pt x="83198" y="100102"/>
                  <a:pt x="85077" y="101416"/>
                </a:cubicBezTo>
                <a:lnTo>
                  <a:pt x="117474" y="126770"/>
                </a:lnTo>
                <a:cubicBezTo>
                  <a:pt x="123859" y="123390"/>
                  <a:pt x="131089" y="120385"/>
                  <a:pt x="139165" y="117755"/>
                </a:cubicBezTo>
                <a:cubicBezTo>
                  <a:pt x="141231" y="97472"/>
                  <a:pt x="143391" y="83011"/>
                  <a:pt x="145645" y="74372"/>
                </a:cubicBezTo>
                <a:cubicBezTo>
                  <a:pt x="146959" y="69865"/>
                  <a:pt x="149776" y="67611"/>
                  <a:pt x="154096" y="67611"/>
                </a:cubicBezTo>
                <a:close/>
                <a:moveTo>
                  <a:pt x="396649" y="0"/>
                </a:moveTo>
                <a:cubicBezTo>
                  <a:pt x="398152" y="0"/>
                  <a:pt x="402471" y="4367"/>
                  <a:pt x="409608" y="13100"/>
                </a:cubicBezTo>
                <a:cubicBezTo>
                  <a:pt x="416744" y="21833"/>
                  <a:pt x="421628" y="28171"/>
                  <a:pt x="424257" y="32116"/>
                </a:cubicBezTo>
                <a:cubicBezTo>
                  <a:pt x="428013" y="31740"/>
                  <a:pt x="430830" y="31552"/>
                  <a:pt x="432708" y="31552"/>
                </a:cubicBezTo>
                <a:cubicBezTo>
                  <a:pt x="434586" y="31552"/>
                  <a:pt x="437403" y="31740"/>
                  <a:pt x="441160" y="32116"/>
                </a:cubicBezTo>
                <a:cubicBezTo>
                  <a:pt x="450738" y="18781"/>
                  <a:pt x="459377" y="8264"/>
                  <a:pt x="467077" y="564"/>
                </a:cubicBezTo>
                <a:lnTo>
                  <a:pt x="468767" y="0"/>
                </a:lnTo>
                <a:cubicBezTo>
                  <a:pt x="469518" y="0"/>
                  <a:pt x="481162" y="6574"/>
                  <a:pt x="503699" y="19720"/>
                </a:cubicBezTo>
                <a:cubicBezTo>
                  <a:pt x="504450" y="20284"/>
                  <a:pt x="504826" y="20941"/>
                  <a:pt x="504826" y="21692"/>
                </a:cubicBezTo>
                <a:cubicBezTo>
                  <a:pt x="504826" y="26387"/>
                  <a:pt x="500037" y="39346"/>
                  <a:pt x="490459" y="60568"/>
                </a:cubicBezTo>
                <a:cubicBezTo>
                  <a:pt x="493651" y="64888"/>
                  <a:pt x="496468" y="69771"/>
                  <a:pt x="498910" y="75217"/>
                </a:cubicBezTo>
                <a:cubicBezTo>
                  <a:pt x="526893" y="78034"/>
                  <a:pt x="540885" y="80945"/>
                  <a:pt x="540885" y="83950"/>
                </a:cubicBezTo>
                <a:lnTo>
                  <a:pt x="540885" y="123390"/>
                </a:lnTo>
                <a:cubicBezTo>
                  <a:pt x="540885" y="126395"/>
                  <a:pt x="526893" y="129305"/>
                  <a:pt x="498910" y="132123"/>
                </a:cubicBezTo>
                <a:cubicBezTo>
                  <a:pt x="496657" y="137194"/>
                  <a:pt x="493839" y="142076"/>
                  <a:pt x="490459" y="146772"/>
                </a:cubicBezTo>
                <a:cubicBezTo>
                  <a:pt x="500037" y="167994"/>
                  <a:pt x="504826" y="180952"/>
                  <a:pt x="504826" y="185648"/>
                </a:cubicBezTo>
                <a:cubicBezTo>
                  <a:pt x="504826" y="186399"/>
                  <a:pt x="504450" y="187056"/>
                  <a:pt x="503699" y="187619"/>
                </a:cubicBezTo>
                <a:cubicBezTo>
                  <a:pt x="480787" y="200954"/>
                  <a:pt x="469143" y="207621"/>
                  <a:pt x="468767" y="207621"/>
                </a:cubicBezTo>
                <a:cubicBezTo>
                  <a:pt x="467265" y="207621"/>
                  <a:pt x="462945" y="203207"/>
                  <a:pt x="455809" y="194381"/>
                </a:cubicBezTo>
                <a:cubicBezTo>
                  <a:pt x="448672" y="185554"/>
                  <a:pt x="443788" y="179168"/>
                  <a:pt x="441160" y="175224"/>
                </a:cubicBezTo>
                <a:cubicBezTo>
                  <a:pt x="437403" y="175600"/>
                  <a:pt x="434586" y="175788"/>
                  <a:pt x="432708" y="175788"/>
                </a:cubicBezTo>
                <a:cubicBezTo>
                  <a:pt x="430830" y="175788"/>
                  <a:pt x="428013" y="175600"/>
                  <a:pt x="424257" y="175224"/>
                </a:cubicBezTo>
                <a:cubicBezTo>
                  <a:pt x="421628" y="179168"/>
                  <a:pt x="416744" y="185554"/>
                  <a:pt x="409608" y="194381"/>
                </a:cubicBezTo>
                <a:cubicBezTo>
                  <a:pt x="402471" y="203207"/>
                  <a:pt x="398152" y="207621"/>
                  <a:pt x="396649" y="207621"/>
                </a:cubicBezTo>
                <a:cubicBezTo>
                  <a:pt x="396274" y="207621"/>
                  <a:pt x="384629" y="200954"/>
                  <a:pt x="361717" y="187619"/>
                </a:cubicBezTo>
                <a:cubicBezTo>
                  <a:pt x="360966" y="187056"/>
                  <a:pt x="360591" y="186399"/>
                  <a:pt x="360591" y="185648"/>
                </a:cubicBezTo>
                <a:cubicBezTo>
                  <a:pt x="360591" y="180952"/>
                  <a:pt x="365380" y="167994"/>
                  <a:pt x="374958" y="146772"/>
                </a:cubicBezTo>
                <a:cubicBezTo>
                  <a:pt x="371577" y="142076"/>
                  <a:pt x="368760" y="137194"/>
                  <a:pt x="366507" y="132123"/>
                </a:cubicBezTo>
                <a:cubicBezTo>
                  <a:pt x="338523" y="129305"/>
                  <a:pt x="324532" y="126395"/>
                  <a:pt x="324532" y="123390"/>
                </a:cubicBezTo>
                <a:lnTo>
                  <a:pt x="324532" y="83950"/>
                </a:lnTo>
                <a:cubicBezTo>
                  <a:pt x="324532" y="80945"/>
                  <a:pt x="338523" y="78034"/>
                  <a:pt x="366507" y="75217"/>
                </a:cubicBezTo>
                <a:cubicBezTo>
                  <a:pt x="368948" y="69771"/>
                  <a:pt x="371765" y="64888"/>
                  <a:pt x="374958" y="60568"/>
                </a:cubicBezTo>
                <a:cubicBezTo>
                  <a:pt x="365380" y="39346"/>
                  <a:pt x="360591" y="26387"/>
                  <a:pt x="360591" y="21692"/>
                </a:cubicBezTo>
                <a:cubicBezTo>
                  <a:pt x="360591" y="20941"/>
                  <a:pt x="360966" y="20284"/>
                  <a:pt x="361717" y="19720"/>
                </a:cubicBezTo>
                <a:cubicBezTo>
                  <a:pt x="362468" y="19345"/>
                  <a:pt x="365755" y="17467"/>
                  <a:pt x="371577" y="14086"/>
                </a:cubicBezTo>
                <a:cubicBezTo>
                  <a:pt x="377399" y="10705"/>
                  <a:pt x="382939" y="7513"/>
                  <a:pt x="388198" y="4508"/>
                </a:cubicBezTo>
                <a:cubicBezTo>
                  <a:pt x="393457" y="1503"/>
                  <a:pt x="396274" y="0"/>
                  <a:pt x="396649" y="0"/>
                </a:cubicBez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entury Gothic"/>
              <a:ea typeface="+mn-ea"/>
              <a:cs typeface="+mn-cs"/>
              <a:sym typeface="Arial"/>
            </a:endParaRPr>
          </a:p>
        </p:txBody>
      </p:sp>
      <p:grpSp>
        <p:nvGrpSpPr>
          <p:cNvPr id="21" name="Group 24">
            <a:extLst>
              <a:ext uri="{FF2B5EF4-FFF2-40B4-BE49-F238E27FC236}">
                <a16:creationId xmlns:a16="http://schemas.microsoft.com/office/drawing/2014/main" id="{F4405F76-9A6B-4E03-A4ED-A31AF00F16F0}"/>
              </a:ext>
            </a:extLst>
          </p:cNvPr>
          <p:cNvGrpSpPr/>
          <p:nvPr/>
        </p:nvGrpSpPr>
        <p:grpSpPr>
          <a:xfrm>
            <a:off x="2251360" y="1469981"/>
            <a:ext cx="687163" cy="428894"/>
            <a:chOff x="2800354" y="3246436"/>
            <a:chExt cx="684214" cy="387350"/>
          </a:xfrm>
        </p:grpSpPr>
        <p:sp>
          <p:nvSpPr>
            <p:cNvPr id="22" name="Freeform 829">
              <a:extLst>
                <a:ext uri="{FF2B5EF4-FFF2-40B4-BE49-F238E27FC236}">
                  <a16:creationId xmlns:a16="http://schemas.microsoft.com/office/drawing/2014/main" id="{27E60D9B-21F3-48BC-B3D1-477EB7B4D94E}"/>
                </a:ext>
              </a:extLst>
            </p:cNvPr>
            <p:cNvSpPr>
              <a:spLocks/>
            </p:cNvSpPr>
            <p:nvPr/>
          </p:nvSpPr>
          <p:spPr bwMode="auto">
            <a:xfrm>
              <a:off x="2800354" y="3246436"/>
              <a:ext cx="684214" cy="387350"/>
            </a:xfrm>
            <a:custGeom>
              <a:avLst/>
              <a:gdLst/>
              <a:ahLst/>
              <a:cxnLst>
                <a:cxn ang="0">
                  <a:pos x="121" y="87"/>
                </a:cxn>
                <a:cxn ang="0">
                  <a:pos x="167" y="122"/>
                </a:cxn>
                <a:cxn ang="0">
                  <a:pos x="215" y="75"/>
                </a:cxn>
                <a:cxn ang="0">
                  <a:pos x="193" y="35"/>
                </a:cxn>
                <a:cxn ang="0">
                  <a:pos x="149" y="14"/>
                </a:cxn>
                <a:cxn ang="0">
                  <a:pos x="133" y="0"/>
                </a:cxn>
                <a:cxn ang="0">
                  <a:pos x="118" y="9"/>
                </a:cxn>
                <a:cxn ang="0">
                  <a:pos x="105" y="9"/>
                </a:cxn>
                <a:cxn ang="0">
                  <a:pos x="97" y="9"/>
                </a:cxn>
                <a:cxn ang="0">
                  <a:pos x="82" y="0"/>
                </a:cxn>
                <a:cxn ang="0">
                  <a:pos x="66" y="14"/>
                </a:cxn>
                <a:cxn ang="0">
                  <a:pos x="13" y="43"/>
                </a:cxn>
                <a:cxn ang="0">
                  <a:pos x="0" y="75"/>
                </a:cxn>
                <a:cxn ang="0">
                  <a:pos x="48" y="122"/>
                </a:cxn>
                <a:cxn ang="0">
                  <a:pos x="94" y="87"/>
                </a:cxn>
              </a:cxnLst>
              <a:rect l="0" t="0" r="r" b="b"/>
              <a:pathLst>
                <a:path w="215" h="122">
                  <a:moveTo>
                    <a:pt x="121" y="87"/>
                  </a:moveTo>
                  <a:cubicBezTo>
                    <a:pt x="127" y="107"/>
                    <a:pt x="145" y="122"/>
                    <a:pt x="167" y="122"/>
                  </a:cubicBezTo>
                  <a:cubicBezTo>
                    <a:pt x="194" y="122"/>
                    <a:pt x="215" y="101"/>
                    <a:pt x="215" y="75"/>
                  </a:cubicBezTo>
                  <a:cubicBezTo>
                    <a:pt x="215" y="58"/>
                    <a:pt x="206" y="43"/>
                    <a:pt x="193" y="35"/>
                  </a:cubicBezTo>
                  <a:cubicBezTo>
                    <a:pt x="184" y="28"/>
                    <a:pt x="170" y="20"/>
                    <a:pt x="149" y="14"/>
                  </a:cubicBezTo>
                  <a:cubicBezTo>
                    <a:pt x="148" y="6"/>
                    <a:pt x="141" y="0"/>
                    <a:pt x="133" y="0"/>
                  </a:cubicBezTo>
                  <a:cubicBezTo>
                    <a:pt x="126" y="0"/>
                    <a:pt x="121" y="4"/>
                    <a:pt x="118" y="9"/>
                  </a:cubicBezTo>
                  <a:cubicBezTo>
                    <a:pt x="114" y="9"/>
                    <a:pt x="110" y="9"/>
                    <a:pt x="105" y="9"/>
                  </a:cubicBezTo>
                  <a:cubicBezTo>
                    <a:pt x="103" y="9"/>
                    <a:pt x="100" y="9"/>
                    <a:pt x="97" y="9"/>
                  </a:cubicBezTo>
                  <a:cubicBezTo>
                    <a:pt x="94" y="3"/>
                    <a:pt x="89" y="0"/>
                    <a:pt x="82" y="0"/>
                  </a:cubicBezTo>
                  <a:cubicBezTo>
                    <a:pt x="74" y="0"/>
                    <a:pt x="67" y="6"/>
                    <a:pt x="66" y="14"/>
                  </a:cubicBezTo>
                  <a:cubicBezTo>
                    <a:pt x="30" y="23"/>
                    <a:pt x="15" y="41"/>
                    <a:pt x="13" y="43"/>
                  </a:cubicBezTo>
                  <a:cubicBezTo>
                    <a:pt x="5" y="51"/>
                    <a:pt x="0" y="62"/>
                    <a:pt x="0" y="75"/>
                  </a:cubicBezTo>
                  <a:cubicBezTo>
                    <a:pt x="0" y="101"/>
                    <a:pt x="22" y="122"/>
                    <a:pt x="48" y="122"/>
                  </a:cubicBezTo>
                  <a:cubicBezTo>
                    <a:pt x="70" y="122"/>
                    <a:pt x="89" y="107"/>
                    <a:pt x="94" y="87"/>
                  </a:cubicBezTo>
                </a:path>
              </a:pathLst>
            </a:custGeom>
            <a:noFill/>
            <a:ln w="285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23" name="Freeform 830">
              <a:extLst>
                <a:ext uri="{FF2B5EF4-FFF2-40B4-BE49-F238E27FC236}">
                  <a16:creationId xmlns:a16="http://schemas.microsoft.com/office/drawing/2014/main" id="{C25B0C11-EBBB-462E-BE53-AD787C56E4AE}"/>
                </a:ext>
              </a:extLst>
            </p:cNvPr>
            <p:cNvSpPr>
              <a:spLocks/>
            </p:cNvSpPr>
            <p:nvPr/>
          </p:nvSpPr>
          <p:spPr bwMode="auto">
            <a:xfrm>
              <a:off x="3092445" y="3382960"/>
              <a:ext cx="95250" cy="82550"/>
            </a:xfrm>
            <a:custGeom>
              <a:avLst/>
              <a:gdLst/>
              <a:ahLst/>
              <a:cxnLst>
                <a:cxn ang="0">
                  <a:pos x="15" y="0"/>
                </a:cxn>
                <a:cxn ang="0">
                  <a:pos x="30" y="15"/>
                </a:cxn>
                <a:cxn ang="0">
                  <a:pos x="28" y="26"/>
                </a:cxn>
                <a:cxn ang="0">
                  <a:pos x="3" y="26"/>
                </a:cxn>
                <a:cxn ang="0">
                  <a:pos x="0" y="15"/>
                </a:cxn>
                <a:cxn ang="0">
                  <a:pos x="15" y="0"/>
                </a:cxn>
              </a:cxnLst>
              <a:rect l="0" t="0" r="r" b="b"/>
              <a:pathLst>
                <a:path w="30" h="26">
                  <a:moveTo>
                    <a:pt x="15" y="0"/>
                  </a:moveTo>
                  <a:cubicBezTo>
                    <a:pt x="24" y="0"/>
                    <a:pt x="30" y="7"/>
                    <a:pt x="30" y="15"/>
                  </a:cubicBezTo>
                  <a:cubicBezTo>
                    <a:pt x="30" y="16"/>
                    <a:pt x="29" y="23"/>
                    <a:pt x="28" y="26"/>
                  </a:cubicBezTo>
                  <a:cubicBezTo>
                    <a:pt x="3" y="26"/>
                    <a:pt x="3" y="26"/>
                    <a:pt x="3" y="26"/>
                  </a:cubicBezTo>
                  <a:cubicBezTo>
                    <a:pt x="2" y="22"/>
                    <a:pt x="0" y="15"/>
                    <a:pt x="0" y="15"/>
                  </a:cubicBezTo>
                  <a:cubicBezTo>
                    <a:pt x="0" y="7"/>
                    <a:pt x="7" y="0"/>
                    <a:pt x="15" y="0"/>
                  </a:cubicBezTo>
                  <a:close/>
                </a:path>
              </a:pathLst>
            </a:custGeom>
            <a:noFill/>
            <a:ln w="285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24" name="Oval 831">
              <a:extLst>
                <a:ext uri="{FF2B5EF4-FFF2-40B4-BE49-F238E27FC236}">
                  <a16:creationId xmlns:a16="http://schemas.microsoft.com/office/drawing/2014/main" id="{FED0572C-D479-4435-A5BC-F4EFEFC170ED}"/>
                </a:ext>
              </a:extLst>
            </p:cNvPr>
            <p:cNvSpPr>
              <a:spLocks noChangeArrowheads="1"/>
            </p:cNvSpPr>
            <p:nvPr/>
          </p:nvSpPr>
          <p:spPr bwMode="auto">
            <a:xfrm>
              <a:off x="2847974" y="3379788"/>
              <a:ext cx="206375" cy="209550"/>
            </a:xfrm>
            <a:prstGeom prst="ellipse">
              <a:avLst/>
            </a:prstGeom>
            <a:noFill/>
            <a:ln w="285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25" name="Oval 832">
              <a:extLst>
                <a:ext uri="{FF2B5EF4-FFF2-40B4-BE49-F238E27FC236}">
                  <a16:creationId xmlns:a16="http://schemas.microsoft.com/office/drawing/2014/main" id="{907DB3AA-F685-4C46-8B74-C12B4E9B773B}"/>
                </a:ext>
              </a:extLst>
            </p:cNvPr>
            <p:cNvSpPr>
              <a:spLocks noChangeArrowheads="1"/>
            </p:cNvSpPr>
            <p:nvPr/>
          </p:nvSpPr>
          <p:spPr bwMode="auto">
            <a:xfrm>
              <a:off x="3232149" y="3386137"/>
              <a:ext cx="201613" cy="200025"/>
            </a:xfrm>
            <a:prstGeom prst="ellipse">
              <a:avLst/>
            </a:prstGeom>
            <a:noFill/>
            <a:ln w="285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grpSp>
      <p:sp>
        <p:nvSpPr>
          <p:cNvPr id="26" name="Freeform 419">
            <a:extLst>
              <a:ext uri="{FF2B5EF4-FFF2-40B4-BE49-F238E27FC236}">
                <a16:creationId xmlns:a16="http://schemas.microsoft.com/office/drawing/2014/main" id="{77828D47-4009-409F-826F-CD405290953A}"/>
              </a:ext>
            </a:extLst>
          </p:cNvPr>
          <p:cNvSpPr/>
          <p:nvPr/>
        </p:nvSpPr>
        <p:spPr>
          <a:xfrm>
            <a:off x="2353480" y="2365775"/>
            <a:ext cx="613184" cy="568488"/>
          </a:xfrm>
          <a:custGeom>
            <a:avLst/>
            <a:gdLst>
              <a:gd name="connsiteX0" fmla="*/ 81132 w 468766"/>
              <a:gd name="connsiteY0" fmla="*/ 36059 h 432707"/>
              <a:gd name="connsiteX1" fmla="*/ 152968 w 468766"/>
              <a:gd name="connsiteY1" fmla="*/ 36059 h 432707"/>
              <a:gd name="connsiteX2" fmla="*/ 159307 w 468766"/>
              <a:gd name="connsiteY2" fmla="*/ 38735 h 432707"/>
              <a:gd name="connsiteX3" fmla="*/ 161983 w 468766"/>
              <a:gd name="connsiteY3" fmla="*/ 45074 h 432707"/>
              <a:gd name="connsiteX4" fmla="*/ 154659 w 468766"/>
              <a:gd name="connsiteY4" fmla="*/ 54088 h 432707"/>
              <a:gd name="connsiteX5" fmla="*/ 117191 w 468766"/>
              <a:gd name="connsiteY5" fmla="*/ 70991 h 432707"/>
              <a:gd name="connsiteX6" fmla="*/ 112684 w 468766"/>
              <a:gd name="connsiteY6" fmla="*/ 72118 h 432707"/>
              <a:gd name="connsiteX7" fmla="*/ 81132 w 468766"/>
              <a:gd name="connsiteY7" fmla="*/ 72118 h 432707"/>
              <a:gd name="connsiteX8" fmla="*/ 49299 w 468766"/>
              <a:gd name="connsiteY8" fmla="*/ 85358 h 432707"/>
              <a:gd name="connsiteX9" fmla="*/ 36059 w 468766"/>
              <a:gd name="connsiteY9" fmla="*/ 117191 h 432707"/>
              <a:gd name="connsiteX10" fmla="*/ 36059 w 468766"/>
              <a:gd name="connsiteY10" fmla="*/ 351574 h 432707"/>
              <a:gd name="connsiteX11" fmla="*/ 49299 w 468766"/>
              <a:gd name="connsiteY11" fmla="*/ 383408 h 432707"/>
              <a:gd name="connsiteX12" fmla="*/ 81132 w 468766"/>
              <a:gd name="connsiteY12" fmla="*/ 396648 h 432707"/>
              <a:gd name="connsiteX13" fmla="*/ 315515 w 468766"/>
              <a:gd name="connsiteY13" fmla="*/ 396648 h 432707"/>
              <a:gd name="connsiteX14" fmla="*/ 347349 w 468766"/>
              <a:gd name="connsiteY14" fmla="*/ 383408 h 432707"/>
              <a:gd name="connsiteX15" fmla="*/ 360589 w 468766"/>
              <a:gd name="connsiteY15" fmla="*/ 351574 h 432707"/>
              <a:gd name="connsiteX16" fmla="*/ 360589 w 468766"/>
              <a:gd name="connsiteY16" fmla="*/ 291289 h 432707"/>
              <a:gd name="connsiteX17" fmla="*/ 365660 w 468766"/>
              <a:gd name="connsiteY17" fmla="*/ 283119 h 432707"/>
              <a:gd name="connsiteX18" fmla="*/ 380872 w 468766"/>
              <a:gd name="connsiteY18" fmla="*/ 272696 h 432707"/>
              <a:gd name="connsiteX19" fmla="*/ 390732 w 468766"/>
              <a:gd name="connsiteY19" fmla="*/ 270442 h 432707"/>
              <a:gd name="connsiteX20" fmla="*/ 396648 w 468766"/>
              <a:gd name="connsiteY20" fmla="*/ 278611 h 432707"/>
              <a:gd name="connsiteX21" fmla="*/ 396648 w 468766"/>
              <a:gd name="connsiteY21" fmla="*/ 351574 h 432707"/>
              <a:gd name="connsiteX22" fmla="*/ 372843 w 468766"/>
              <a:gd name="connsiteY22" fmla="*/ 408903 h 432707"/>
              <a:gd name="connsiteX23" fmla="*/ 315515 w 468766"/>
              <a:gd name="connsiteY23" fmla="*/ 432707 h 432707"/>
              <a:gd name="connsiteX24" fmla="*/ 81132 w 468766"/>
              <a:gd name="connsiteY24" fmla="*/ 432707 h 432707"/>
              <a:gd name="connsiteX25" fmla="*/ 23804 w 468766"/>
              <a:gd name="connsiteY25" fmla="*/ 408903 h 432707"/>
              <a:gd name="connsiteX26" fmla="*/ 0 w 468766"/>
              <a:gd name="connsiteY26" fmla="*/ 351574 h 432707"/>
              <a:gd name="connsiteX27" fmla="*/ 0 w 468766"/>
              <a:gd name="connsiteY27" fmla="*/ 117191 h 432707"/>
              <a:gd name="connsiteX28" fmla="*/ 23804 w 468766"/>
              <a:gd name="connsiteY28" fmla="*/ 59863 h 432707"/>
              <a:gd name="connsiteX29" fmla="*/ 81132 w 468766"/>
              <a:gd name="connsiteY29" fmla="*/ 36059 h 432707"/>
              <a:gd name="connsiteX30" fmla="*/ 342560 w 468766"/>
              <a:gd name="connsiteY30" fmla="*/ 0 h 432707"/>
              <a:gd name="connsiteX31" fmla="*/ 355237 w 468766"/>
              <a:gd name="connsiteY31" fmla="*/ 5353 h 432707"/>
              <a:gd name="connsiteX32" fmla="*/ 463413 w 468766"/>
              <a:gd name="connsiteY32" fmla="*/ 113529 h 432707"/>
              <a:gd name="connsiteX33" fmla="*/ 468766 w 468766"/>
              <a:gd name="connsiteY33" fmla="*/ 126206 h 432707"/>
              <a:gd name="connsiteX34" fmla="*/ 463413 w 468766"/>
              <a:gd name="connsiteY34" fmla="*/ 138883 h 432707"/>
              <a:gd name="connsiteX35" fmla="*/ 355237 w 468766"/>
              <a:gd name="connsiteY35" fmla="*/ 247060 h 432707"/>
              <a:gd name="connsiteX36" fmla="*/ 342560 w 468766"/>
              <a:gd name="connsiteY36" fmla="*/ 252412 h 432707"/>
              <a:gd name="connsiteX37" fmla="*/ 335517 w 468766"/>
              <a:gd name="connsiteY37" fmla="*/ 251004 h 432707"/>
              <a:gd name="connsiteX38" fmla="*/ 324530 w 468766"/>
              <a:gd name="connsiteY38" fmla="*/ 234383 h 432707"/>
              <a:gd name="connsiteX39" fmla="*/ 324530 w 468766"/>
              <a:gd name="connsiteY39" fmla="*/ 180295 h 432707"/>
              <a:gd name="connsiteX40" fmla="*/ 279456 w 468766"/>
              <a:gd name="connsiteY40" fmla="*/ 180295 h 432707"/>
              <a:gd name="connsiteX41" fmla="*/ 156067 w 468766"/>
              <a:gd name="connsiteY41" fmla="*/ 217199 h 432707"/>
              <a:gd name="connsiteX42" fmla="*/ 135221 w 468766"/>
              <a:gd name="connsiteY42" fmla="*/ 350448 h 432707"/>
              <a:gd name="connsiteX43" fmla="*/ 129586 w 468766"/>
              <a:gd name="connsiteY43" fmla="*/ 360026 h 432707"/>
              <a:gd name="connsiteX44" fmla="*/ 126206 w 468766"/>
              <a:gd name="connsiteY44" fmla="*/ 360589 h 432707"/>
              <a:gd name="connsiteX45" fmla="*/ 118881 w 468766"/>
              <a:gd name="connsiteY45" fmla="*/ 356927 h 432707"/>
              <a:gd name="connsiteX46" fmla="*/ 112966 w 468766"/>
              <a:gd name="connsiteY46" fmla="*/ 348194 h 432707"/>
              <a:gd name="connsiteX47" fmla="*/ 101838 w 468766"/>
              <a:gd name="connsiteY47" fmla="*/ 328897 h 432707"/>
              <a:gd name="connsiteX48" fmla="*/ 87893 w 468766"/>
              <a:gd name="connsiteY48" fmla="*/ 300867 h 432707"/>
              <a:gd name="connsiteX49" fmla="*/ 77047 w 468766"/>
              <a:gd name="connsiteY49" fmla="*/ 268752 h 432707"/>
              <a:gd name="connsiteX50" fmla="*/ 72118 w 468766"/>
              <a:gd name="connsiteY50" fmla="*/ 234383 h 432707"/>
              <a:gd name="connsiteX51" fmla="*/ 73103 w 468766"/>
              <a:gd name="connsiteY51" fmla="*/ 208747 h 432707"/>
              <a:gd name="connsiteX52" fmla="*/ 77047 w 468766"/>
              <a:gd name="connsiteY52" fmla="*/ 183393 h 432707"/>
              <a:gd name="connsiteX53" fmla="*/ 84935 w 468766"/>
              <a:gd name="connsiteY53" fmla="*/ 158603 h 432707"/>
              <a:gd name="connsiteX54" fmla="*/ 98176 w 468766"/>
              <a:gd name="connsiteY54" fmla="*/ 135643 h 432707"/>
              <a:gd name="connsiteX55" fmla="*/ 117473 w 468766"/>
              <a:gd name="connsiteY55" fmla="*/ 114797 h 432707"/>
              <a:gd name="connsiteX56" fmla="*/ 144095 w 468766"/>
              <a:gd name="connsiteY56" fmla="*/ 97472 h 432707"/>
              <a:gd name="connsiteX57" fmla="*/ 179167 w 468766"/>
              <a:gd name="connsiteY57" fmla="*/ 83809 h 432707"/>
              <a:gd name="connsiteX58" fmla="*/ 224100 w 468766"/>
              <a:gd name="connsiteY58" fmla="*/ 75217 h 432707"/>
              <a:gd name="connsiteX59" fmla="*/ 279456 w 468766"/>
              <a:gd name="connsiteY59" fmla="*/ 72118 h 432707"/>
              <a:gd name="connsiteX60" fmla="*/ 324530 w 468766"/>
              <a:gd name="connsiteY60" fmla="*/ 72118 h 432707"/>
              <a:gd name="connsiteX61" fmla="*/ 324530 w 468766"/>
              <a:gd name="connsiteY61" fmla="*/ 18029 h 432707"/>
              <a:gd name="connsiteX62" fmla="*/ 335517 w 468766"/>
              <a:gd name="connsiteY62" fmla="*/ 1409 h 432707"/>
              <a:gd name="connsiteX63" fmla="*/ 342560 w 468766"/>
              <a:gd name="connsiteY63"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8766" h="432707">
                <a:moveTo>
                  <a:pt x="81132" y="36059"/>
                </a:moveTo>
                <a:lnTo>
                  <a:pt x="152968" y="36059"/>
                </a:lnTo>
                <a:cubicBezTo>
                  <a:pt x="155410" y="36059"/>
                  <a:pt x="157523" y="36951"/>
                  <a:pt x="159307" y="38735"/>
                </a:cubicBezTo>
                <a:cubicBezTo>
                  <a:pt x="161091" y="40519"/>
                  <a:pt x="161983" y="42632"/>
                  <a:pt x="161983" y="45074"/>
                </a:cubicBezTo>
                <a:cubicBezTo>
                  <a:pt x="161983" y="50144"/>
                  <a:pt x="159542" y="53149"/>
                  <a:pt x="154659" y="54088"/>
                </a:cubicBezTo>
                <a:cubicBezTo>
                  <a:pt x="140198" y="58971"/>
                  <a:pt x="127708" y="64606"/>
                  <a:pt x="117191" y="70991"/>
                </a:cubicBezTo>
                <a:cubicBezTo>
                  <a:pt x="115313" y="71742"/>
                  <a:pt x="113811" y="72118"/>
                  <a:pt x="112684" y="72118"/>
                </a:cubicBezTo>
                <a:lnTo>
                  <a:pt x="81132" y="72118"/>
                </a:lnTo>
                <a:cubicBezTo>
                  <a:pt x="68737" y="72118"/>
                  <a:pt x="58126" y="76531"/>
                  <a:pt x="49299" y="85358"/>
                </a:cubicBezTo>
                <a:cubicBezTo>
                  <a:pt x="40472" y="94185"/>
                  <a:pt x="36059" y="104796"/>
                  <a:pt x="36059" y="117191"/>
                </a:cubicBezTo>
                <a:lnTo>
                  <a:pt x="36059" y="351574"/>
                </a:lnTo>
                <a:cubicBezTo>
                  <a:pt x="36059" y="363970"/>
                  <a:pt x="40472" y="374581"/>
                  <a:pt x="49299" y="383408"/>
                </a:cubicBezTo>
                <a:cubicBezTo>
                  <a:pt x="58126" y="392235"/>
                  <a:pt x="68737" y="396648"/>
                  <a:pt x="81132" y="396648"/>
                </a:cubicBezTo>
                <a:lnTo>
                  <a:pt x="315515" y="396648"/>
                </a:lnTo>
                <a:cubicBezTo>
                  <a:pt x="327910" y="396648"/>
                  <a:pt x="338522" y="392235"/>
                  <a:pt x="347349" y="383408"/>
                </a:cubicBezTo>
                <a:cubicBezTo>
                  <a:pt x="356175" y="374581"/>
                  <a:pt x="360589" y="363970"/>
                  <a:pt x="360589" y="351574"/>
                </a:cubicBezTo>
                <a:lnTo>
                  <a:pt x="360589" y="291289"/>
                </a:lnTo>
                <a:cubicBezTo>
                  <a:pt x="360589" y="287720"/>
                  <a:pt x="362279" y="284997"/>
                  <a:pt x="365660" y="283119"/>
                </a:cubicBezTo>
                <a:cubicBezTo>
                  <a:pt x="370918" y="280677"/>
                  <a:pt x="375989" y="277203"/>
                  <a:pt x="380872" y="272696"/>
                </a:cubicBezTo>
                <a:cubicBezTo>
                  <a:pt x="383877" y="269691"/>
                  <a:pt x="387164" y="268939"/>
                  <a:pt x="390732" y="270442"/>
                </a:cubicBezTo>
                <a:cubicBezTo>
                  <a:pt x="394676" y="272132"/>
                  <a:pt x="396648" y="274855"/>
                  <a:pt x="396648" y="278611"/>
                </a:cubicBezTo>
                <a:lnTo>
                  <a:pt x="396648" y="351574"/>
                </a:lnTo>
                <a:cubicBezTo>
                  <a:pt x="396648" y="373924"/>
                  <a:pt x="388713" y="393033"/>
                  <a:pt x="372843" y="408903"/>
                </a:cubicBezTo>
                <a:cubicBezTo>
                  <a:pt x="356974" y="424772"/>
                  <a:pt x="337864" y="432707"/>
                  <a:pt x="315515" y="432707"/>
                </a:cubicBezTo>
                <a:lnTo>
                  <a:pt x="81132" y="432707"/>
                </a:lnTo>
                <a:cubicBezTo>
                  <a:pt x="58783" y="432707"/>
                  <a:pt x="39674" y="424772"/>
                  <a:pt x="23804" y="408903"/>
                </a:cubicBezTo>
                <a:cubicBezTo>
                  <a:pt x="7934" y="393033"/>
                  <a:pt x="0" y="373924"/>
                  <a:pt x="0" y="351574"/>
                </a:cubicBezTo>
                <a:lnTo>
                  <a:pt x="0" y="117191"/>
                </a:lnTo>
                <a:cubicBezTo>
                  <a:pt x="0" y="94842"/>
                  <a:pt x="7934" y="75733"/>
                  <a:pt x="23804" y="59863"/>
                </a:cubicBezTo>
                <a:cubicBezTo>
                  <a:pt x="39674" y="43994"/>
                  <a:pt x="58783" y="36059"/>
                  <a:pt x="81132" y="36059"/>
                </a:cubicBezTo>
                <a:close/>
                <a:moveTo>
                  <a:pt x="342560" y="0"/>
                </a:moveTo>
                <a:cubicBezTo>
                  <a:pt x="347442" y="0"/>
                  <a:pt x="351668" y="1784"/>
                  <a:pt x="355237" y="5353"/>
                </a:cubicBezTo>
                <a:lnTo>
                  <a:pt x="463413" y="113529"/>
                </a:lnTo>
                <a:cubicBezTo>
                  <a:pt x="466981" y="117097"/>
                  <a:pt x="468766" y="121323"/>
                  <a:pt x="468766" y="126206"/>
                </a:cubicBezTo>
                <a:cubicBezTo>
                  <a:pt x="468766" y="131089"/>
                  <a:pt x="466981" y="135315"/>
                  <a:pt x="463413" y="138883"/>
                </a:cubicBezTo>
                <a:lnTo>
                  <a:pt x="355237" y="247060"/>
                </a:lnTo>
                <a:cubicBezTo>
                  <a:pt x="351856" y="250628"/>
                  <a:pt x="347630" y="252412"/>
                  <a:pt x="342560" y="252412"/>
                </a:cubicBezTo>
                <a:cubicBezTo>
                  <a:pt x="340306" y="252412"/>
                  <a:pt x="337958" y="251943"/>
                  <a:pt x="335517" y="251004"/>
                </a:cubicBezTo>
                <a:cubicBezTo>
                  <a:pt x="328192" y="247811"/>
                  <a:pt x="324530" y="242271"/>
                  <a:pt x="324530" y="234383"/>
                </a:cubicBezTo>
                <a:lnTo>
                  <a:pt x="324530" y="180295"/>
                </a:lnTo>
                <a:lnTo>
                  <a:pt x="279456" y="180295"/>
                </a:lnTo>
                <a:cubicBezTo>
                  <a:pt x="218795" y="180295"/>
                  <a:pt x="177665" y="192596"/>
                  <a:pt x="156067" y="217199"/>
                </a:cubicBezTo>
                <a:cubicBezTo>
                  <a:pt x="133718" y="242928"/>
                  <a:pt x="126769" y="287345"/>
                  <a:pt x="135221" y="350448"/>
                </a:cubicBezTo>
                <a:cubicBezTo>
                  <a:pt x="135784" y="354767"/>
                  <a:pt x="133906" y="357960"/>
                  <a:pt x="129586" y="360026"/>
                </a:cubicBezTo>
                <a:cubicBezTo>
                  <a:pt x="128084" y="360402"/>
                  <a:pt x="126957" y="360589"/>
                  <a:pt x="126206" y="360589"/>
                </a:cubicBezTo>
                <a:cubicBezTo>
                  <a:pt x="123201" y="360589"/>
                  <a:pt x="120759" y="359368"/>
                  <a:pt x="118881" y="356927"/>
                </a:cubicBezTo>
                <a:cubicBezTo>
                  <a:pt x="117003" y="354298"/>
                  <a:pt x="115031" y="351387"/>
                  <a:pt x="112966" y="348194"/>
                </a:cubicBezTo>
                <a:cubicBezTo>
                  <a:pt x="110900" y="345001"/>
                  <a:pt x="107190" y="338569"/>
                  <a:pt x="101838" y="328897"/>
                </a:cubicBezTo>
                <a:cubicBezTo>
                  <a:pt x="96485" y="319225"/>
                  <a:pt x="91837" y="309881"/>
                  <a:pt x="87893" y="300867"/>
                </a:cubicBezTo>
                <a:cubicBezTo>
                  <a:pt x="83949" y="291852"/>
                  <a:pt x="80334" y="281147"/>
                  <a:pt x="77047" y="268752"/>
                </a:cubicBezTo>
                <a:cubicBezTo>
                  <a:pt x="73761" y="256356"/>
                  <a:pt x="72118" y="244900"/>
                  <a:pt x="72118" y="234383"/>
                </a:cubicBezTo>
                <a:cubicBezTo>
                  <a:pt x="72118" y="225180"/>
                  <a:pt x="72446" y="216635"/>
                  <a:pt x="73103" y="208747"/>
                </a:cubicBezTo>
                <a:cubicBezTo>
                  <a:pt x="73761" y="200860"/>
                  <a:pt x="75075" y="192408"/>
                  <a:pt x="77047" y="183393"/>
                </a:cubicBezTo>
                <a:cubicBezTo>
                  <a:pt x="79019" y="174379"/>
                  <a:pt x="81649" y="166115"/>
                  <a:pt x="84935" y="158603"/>
                </a:cubicBezTo>
                <a:cubicBezTo>
                  <a:pt x="88222" y="151091"/>
                  <a:pt x="92635" y="143437"/>
                  <a:pt x="98176" y="135643"/>
                </a:cubicBezTo>
                <a:cubicBezTo>
                  <a:pt x="103716" y="127849"/>
                  <a:pt x="110148" y="120901"/>
                  <a:pt x="117473" y="114797"/>
                </a:cubicBezTo>
                <a:cubicBezTo>
                  <a:pt x="124797" y="108693"/>
                  <a:pt x="133671" y="102918"/>
                  <a:pt x="144095" y="97472"/>
                </a:cubicBezTo>
                <a:cubicBezTo>
                  <a:pt x="154518" y="92025"/>
                  <a:pt x="166209" y="87471"/>
                  <a:pt x="179167" y="83809"/>
                </a:cubicBezTo>
                <a:cubicBezTo>
                  <a:pt x="192126" y="80147"/>
                  <a:pt x="207104" y="77282"/>
                  <a:pt x="224100" y="75217"/>
                </a:cubicBezTo>
                <a:cubicBezTo>
                  <a:pt x="241097" y="73151"/>
                  <a:pt x="259549" y="72118"/>
                  <a:pt x="279456" y="72118"/>
                </a:cubicBezTo>
                <a:lnTo>
                  <a:pt x="324530" y="72118"/>
                </a:lnTo>
                <a:lnTo>
                  <a:pt x="324530" y="18029"/>
                </a:lnTo>
                <a:cubicBezTo>
                  <a:pt x="324530" y="10142"/>
                  <a:pt x="328192" y="4601"/>
                  <a:pt x="335517" y="1409"/>
                </a:cubicBezTo>
                <a:cubicBezTo>
                  <a:pt x="337958" y="469"/>
                  <a:pt x="340306" y="0"/>
                  <a:pt x="342560" y="0"/>
                </a:cubicBezTo>
                <a:close/>
              </a:path>
            </a:pathLst>
          </a:cu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entury Gothic"/>
              <a:ea typeface="+mn-ea"/>
              <a:cs typeface="+mn-cs"/>
              <a:sym typeface="Arial"/>
            </a:endParaRPr>
          </a:p>
        </p:txBody>
      </p:sp>
      <p:sp>
        <p:nvSpPr>
          <p:cNvPr id="28" name="Arrow: Pentagon 27">
            <a:extLst>
              <a:ext uri="{FF2B5EF4-FFF2-40B4-BE49-F238E27FC236}">
                <a16:creationId xmlns:a16="http://schemas.microsoft.com/office/drawing/2014/main" id="{278B4EF9-C8FD-4D1A-8486-35E525C31305}"/>
              </a:ext>
            </a:extLst>
          </p:cNvPr>
          <p:cNvSpPr/>
          <p:nvPr/>
        </p:nvSpPr>
        <p:spPr>
          <a:xfrm>
            <a:off x="5489330" y="1165167"/>
            <a:ext cx="372102" cy="736988"/>
          </a:xfrm>
          <a:prstGeom prst="homePlate">
            <a:avLst/>
          </a:prstGeom>
          <a:gradFill>
            <a:gsLst>
              <a:gs pos="52000">
                <a:schemeClr val="accent1"/>
              </a:gs>
              <a:gs pos="14000">
                <a:srgbClr val="34B77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pic>
        <p:nvPicPr>
          <p:cNvPr id="31745" name="Graphic 31744" descr="Hourglass">
            <a:extLst>
              <a:ext uri="{FF2B5EF4-FFF2-40B4-BE49-F238E27FC236}">
                <a16:creationId xmlns:a16="http://schemas.microsoft.com/office/drawing/2014/main" id="{A7584C1F-77DB-4FB5-BA6A-B4EC295DDE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48916" y="3372077"/>
            <a:ext cx="523220" cy="523220"/>
          </a:xfrm>
          <a:prstGeom prst="rect">
            <a:avLst/>
          </a:prstGeom>
        </p:spPr>
      </p:pic>
      <p:sp>
        <p:nvSpPr>
          <p:cNvPr id="50" name="Rectangle 49">
            <a:extLst>
              <a:ext uri="{FF2B5EF4-FFF2-40B4-BE49-F238E27FC236}">
                <a16:creationId xmlns:a16="http://schemas.microsoft.com/office/drawing/2014/main" id="{38A187BD-5306-4068-BE13-119589AD3F34}"/>
              </a:ext>
            </a:extLst>
          </p:cNvPr>
          <p:cNvSpPr>
            <a:spLocks/>
          </p:cNvSpPr>
          <p:nvPr/>
        </p:nvSpPr>
        <p:spPr>
          <a:xfrm>
            <a:off x="8344847" y="2257521"/>
            <a:ext cx="1703528" cy="1123384"/>
          </a:xfrm>
          <a:prstGeom prst="rect">
            <a:avLst/>
          </a:prstGeom>
        </p:spPr>
        <p:txBody>
          <a:bodyPr wrap="square">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143D">
                    <a:lumMod val="75000"/>
                    <a:lumOff val="25000"/>
                  </a:srgbClr>
                </a:solidFill>
                <a:effectLst/>
                <a:uLnTx/>
                <a:uFillTx/>
                <a:latin typeface="Century Gothic"/>
                <a:ea typeface="+mn-ea"/>
                <a:cs typeface="+mn-cs"/>
              </a:rPr>
              <a:t>Data Organization</a:t>
            </a: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Century Gothic"/>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entury Gothic"/>
                <a:ea typeface="+mn-ea"/>
                <a:cs typeface="+mn-cs"/>
              </a:rPr>
              <a:t>Dynamic Metadata Driven transformation and organization of data</a:t>
            </a:r>
          </a:p>
        </p:txBody>
      </p:sp>
      <p:sp>
        <p:nvSpPr>
          <p:cNvPr id="52" name="Rectangle 51">
            <a:extLst>
              <a:ext uri="{FF2B5EF4-FFF2-40B4-BE49-F238E27FC236}">
                <a16:creationId xmlns:a16="http://schemas.microsoft.com/office/drawing/2014/main" id="{47865F65-A13F-4FAD-9728-230CEA46B0CA}"/>
              </a:ext>
            </a:extLst>
          </p:cNvPr>
          <p:cNvSpPr>
            <a:spLocks/>
          </p:cNvSpPr>
          <p:nvPr/>
        </p:nvSpPr>
        <p:spPr>
          <a:xfrm>
            <a:off x="7523950" y="1109178"/>
            <a:ext cx="3643018" cy="600164"/>
          </a:xfrm>
          <a:prstGeom prst="rect">
            <a:avLst/>
          </a:prstGeom>
        </p:spPr>
        <p:txBody>
          <a:bodyPr wrap="square">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Century Gothic"/>
                <a:ea typeface="+mn-ea"/>
                <a:cs typeface="+mn-cs"/>
              </a:rPr>
              <a:t>Comprehensive Credit Cards Data and Message Model to support operational and analytical use cases</a:t>
            </a:r>
          </a:p>
        </p:txBody>
      </p:sp>
      <p:cxnSp>
        <p:nvCxnSpPr>
          <p:cNvPr id="57" name="Straight Connector 56">
            <a:extLst>
              <a:ext uri="{FF2B5EF4-FFF2-40B4-BE49-F238E27FC236}">
                <a16:creationId xmlns:a16="http://schemas.microsoft.com/office/drawing/2014/main" id="{6838E3A7-5271-4584-82EF-841027F0D90B}"/>
              </a:ext>
            </a:extLst>
          </p:cNvPr>
          <p:cNvCxnSpPr>
            <a:cxnSpLocks/>
          </p:cNvCxnSpPr>
          <p:nvPr/>
        </p:nvCxnSpPr>
        <p:spPr>
          <a:xfrm>
            <a:off x="8344847" y="2104188"/>
            <a:ext cx="0" cy="1194308"/>
          </a:xfrm>
          <a:prstGeom prst="line">
            <a:avLst/>
          </a:prstGeom>
          <a:noFill/>
          <a:ln w="9525" cap="flat" cmpd="sng" algn="ctr">
            <a:solidFill>
              <a:srgbClr val="2B143D"/>
            </a:solidFill>
            <a:prstDash val="dash"/>
            <a:miter lim="800000"/>
          </a:ln>
          <a:effectLst/>
        </p:spPr>
      </p:cxnSp>
      <p:cxnSp>
        <p:nvCxnSpPr>
          <p:cNvPr id="63" name="Straight Connector 62">
            <a:extLst>
              <a:ext uri="{FF2B5EF4-FFF2-40B4-BE49-F238E27FC236}">
                <a16:creationId xmlns:a16="http://schemas.microsoft.com/office/drawing/2014/main" id="{F21703EA-B8FD-4579-A0DE-AE5C6A03C990}"/>
              </a:ext>
            </a:extLst>
          </p:cNvPr>
          <p:cNvCxnSpPr>
            <a:cxnSpLocks/>
          </p:cNvCxnSpPr>
          <p:nvPr/>
        </p:nvCxnSpPr>
        <p:spPr>
          <a:xfrm flipH="1" flipV="1">
            <a:off x="6134460" y="3374946"/>
            <a:ext cx="5852160" cy="15388"/>
          </a:xfrm>
          <a:prstGeom prst="line">
            <a:avLst/>
          </a:prstGeom>
          <a:noFill/>
          <a:ln w="9525" cap="flat" cmpd="sng" algn="ctr">
            <a:solidFill>
              <a:srgbClr val="2B143D"/>
            </a:solidFill>
            <a:prstDash val="dash"/>
            <a:miter lim="800000"/>
          </a:ln>
          <a:effectLst/>
        </p:spPr>
      </p:cxnSp>
      <p:cxnSp>
        <p:nvCxnSpPr>
          <p:cNvPr id="64" name="Straight Connector 63">
            <a:extLst>
              <a:ext uri="{FF2B5EF4-FFF2-40B4-BE49-F238E27FC236}">
                <a16:creationId xmlns:a16="http://schemas.microsoft.com/office/drawing/2014/main" id="{44348907-7DDB-468D-87CD-AC6BF66B61D1}"/>
              </a:ext>
            </a:extLst>
          </p:cNvPr>
          <p:cNvCxnSpPr>
            <a:cxnSpLocks/>
          </p:cNvCxnSpPr>
          <p:nvPr/>
        </p:nvCxnSpPr>
        <p:spPr>
          <a:xfrm>
            <a:off x="10162956" y="2126532"/>
            <a:ext cx="0" cy="1194308"/>
          </a:xfrm>
          <a:prstGeom prst="line">
            <a:avLst/>
          </a:prstGeom>
          <a:noFill/>
          <a:ln w="9525" cap="flat" cmpd="sng" algn="ctr">
            <a:solidFill>
              <a:srgbClr val="2B143D"/>
            </a:solidFill>
            <a:prstDash val="dash"/>
            <a:miter lim="800000"/>
          </a:ln>
          <a:effectLst/>
        </p:spPr>
      </p:cxnSp>
      <p:sp>
        <p:nvSpPr>
          <p:cNvPr id="66" name="Rectangle 65">
            <a:extLst>
              <a:ext uri="{FF2B5EF4-FFF2-40B4-BE49-F238E27FC236}">
                <a16:creationId xmlns:a16="http://schemas.microsoft.com/office/drawing/2014/main" id="{35BF2ED3-3AE6-4263-B496-BBD450F41ED3}"/>
              </a:ext>
            </a:extLst>
          </p:cNvPr>
          <p:cNvSpPr>
            <a:spLocks/>
          </p:cNvSpPr>
          <p:nvPr/>
        </p:nvSpPr>
        <p:spPr>
          <a:xfrm>
            <a:off x="10272761" y="2150227"/>
            <a:ext cx="1629580" cy="1123384"/>
          </a:xfrm>
          <a:prstGeom prst="rect">
            <a:avLst/>
          </a:prstGeom>
        </p:spPr>
        <p:txBody>
          <a:bodyPr wrap="square">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143D">
                    <a:lumMod val="75000"/>
                    <a:lumOff val="25000"/>
                  </a:srgbClr>
                </a:solidFill>
                <a:effectLst/>
                <a:uLnTx/>
                <a:uFillTx/>
                <a:latin typeface="Century Gothic"/>
                <a:ea typeface="+mn-ea"/>
                <a:cs typeface="+mn-cs"/>
              </a:rPr>
              <a:t>API</a:t>
            </a: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Century Gothic"/>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entury Gothic"/>
                <a:ea typeface="+mn-ea"/>
                <a:cs typeface="+mn-cs"/>
              </a:rPr>
              <a:t>Generic and Dynamically instantiated data access APIs</a:t>
            </a:r>
          </a:p>
        </p:txBody>
      </p:sp>
      <p:cxnSp>
        <p:nvCxnSpPr>
          <p:cNvPr id="76" name="Straight Connector 75">
            <a:extLst>
              <a:ext uri="{FF2B5EF4-FFF2-40B4-BE49-F238E27FC236}">
                <a16:creationId xmlns:a16="http://schemas.microsoft.com/office/drawing/2014/main" id="{69341622-832B-454D-870C-2D4B22C5E5BA}"/>
              </a:ext>
            </a:extLst>
          </p:cNvPr>
          <p:cNvCxnSpPr>
            <a:cxnSpLocks/>
          </p:cNvCxnSpPr>
          <p:nvPr/>
        </p:nvCxnSpPr>
        <p:spPr>
          <a:xfrm flipH="1">
            <a:off x="6134459" y="4391011"/>
            <a:ext cx="5852160" cy="0"/>
          </a:xfrm>
          <a:prstGeom prst="line">
            <a:avLst/>
          </a:prstGeom>
          <a:noFill/>
          <a:ln w="9525" cap="flat" cmpd="sng" algn="ctr">
            <a:solidFill>
              <a:schemeClr val="bg1">
                <a:lumMod val="50000"/>
              </a:schemeClr>
            </a:solidFill>
            <a:prstDash val="dash"/>
            <a:miter lim="800000"/>
          </a:ln>
          <a:effectLst/>
        </p:spPr>
      </p:cxnSp>
      <p:sp>
        <p:nvSpPr>
          <p:cNvPr id="78" name="Rounded Rectangle 14">
            <a:extLst>
              <a:ext uri="{FF2B5EF4-FFF2-40B4-BE49-F238E27FC236}">
                <a16:creationId xmlns:a16="http://schemas.microsoft.com/office/drawing/2014/main" id="{9E012AD0-9DDE-4F7F-B2F5-1AD6E90394ED}"/>
              </a:ext>
            </a:extLst>
          </p:cNvPr>
          <p:cNvSpPr/>
          <p:nvPr/>
        </p:nvSpPr>
        <p:spPr>
          <a:xfrm>
            <a:off x="6653207" y="3465461"/>
            <a:ext cx="1691640" cy="720000"/>
          </a:xfrm>
          <a:prstGeom prst="roundRect">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5E616">
                    <a:lumMod val="50000"/>
                  </a:srgbClr>
                </a:solidFill>
                <a:effectLst/>
                <a:uLnTx/>
                <a:uFillTx/>
                <a:latin typeface="Century Gothic"/>
                <a:ea typeface="+mn-ea"/>
                <a:cs typeface="+mn-cs"/>
              </a:rPr>
              <a:t>Support Real Time Ingestion of Fiserv Data</a:t>
            </a:r>
          </a:p>
        </p:txBody>
      </p:sp>
      <p:sp>
        <p:nvSpPr>
          <p:cNvPr id="79" name="Rounded Rectangle 14">
            <a:extLst>
              <a:ext uri="{FF2B5EF4-FFF2-40B4-BE49-F238E27FC236}">
                <a16:creationId xmlns:a16="http://schemas.microsoft.com/office/drawing/2014/main" id="{2E6A6889-6A2E-44B4-9BE3-A4CDA14584C3}"/>
              </a:ext>
            </a:extLst>
          </p:cNvPr>
          <p:cNvSpPr/>
          <p:nvPr/>
        </p:nvSpPr>
        <p:spPr>
          <a:xfrm>
            <a:off x="8471316" y="3465461"/>
            <a:ext cx="1691640" cy="720000"/>
          </a:xfrm>
          <a:prstGeom prst="roundRect">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5E616">
                    <a:lumMod val="50000"/>
                  </a:srgbClr>
                </a:solidFill>
                <a:effectLst/>
                <a:uLnTx/>
                <a:uFillTx/>
                <a:latin typeface="Century Gothic"/>
                <a:ea typeface="+mn-ea"/>
                <a:cs typeface="+mn-cs"/>
              </a:rPr>
              <a:t>Support propagation of business events to analytical applications in real-time</a:t>
            </a:r>
          </a:p>
        </p:txBody>
      </p:sp>
      <p:sp>
        <p:nvSpPr>
          <p:cNvPr id="81" name="Plaque 80">
            <a:extLst>
              <a:ext uri="{FF2B5EF4-FFF2-40B4-BE49-F238E27FC236}">
                <a16:creationId xmlns:a16="http://schemas.microsoft.com/office/drawing/2014/main" id="{5AF615B0-FA2A-4045-8B79-D87374543332}"/>
              </a:ext>
            </a:extLst>
          </p:cNvPr>
          <p:cNvSpPr>
            <a:spLocks/>
          </p:cNvSpPr>
          <p:nvPr/>
        </p:nvSpPr>
        <p:spPr>
          <a:xfrm>
            <a:off x="6278699" y="5027240"/>
            <a:ext cx="1051322" cy="468000"/>
          </a:xfrm>
          <a:prstGeom prst="plaque">
            <a:avLst/>
          </a:prstGeom>
          <a:solidFill>
            <a:schemeClr val="bg2">
              <a:lumMod val="90000"/>
            </a:schemeClr>
          </a:solidFill>
          <a:ln w="12700" cap="flat" cmpd="sng" algn="ctr">
            <a:noFill/>
            <a:prstDash val="solid"/>
            <a:miter lim="800000"/>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Century Gothic"/>
                <a:ea typeface="+mn-ea"/>
                <a:cs typeface="+mn-cs"/>
              </a:rPr>
              <a:t>Customer Insights</a:t>
            </a:r>
          </a:p>
        </p:txBody>
      </p:sp>
      <p:sp>
        <p:nvSpPr>
          <p:cNvPr id="82" name="Plaque 81">
            <a:extLst>
              <a:ext uri="{FF2B5EF4-FFF2-40B4-BE49-F238E27FC236}">
                <a16:creationId xmlns:a16="http://schemas.microsoft.com/office/drawing/2014/main" id="{CCD16E71-058B-4B33-82E5-208F815BBB20}"/>
              </a:ext>
            </a:extLst>
          </p:cNvPr>
          <p:cNvSpPr>
            <a:spLocks/>
          </p:cNvSpPr>
          <p:nvPr/>
        </p:nvSpPr>
        <p:spPr>
          <a:xfrm>
            <a:off x="7393107" y="5013469"/>
            <a:ext cx="1146877" cy="468000"/>
          </a:xfrm>
          <a:prstGeom prst="plaque">
            <a:avLst/>
          </a:prstGeom>
          <a:solidFill>
            <a:schemeClr val="bg2">
              <a:lumMod val="90000"/>
            </a:schemeClr>
          </a:solidFill>
          <a:ln w="12700" cap="flat" cmpd="sng" algn="ctr">
            <a:noFill/>
            <a:prstDash val="solid"/>
            <a:miter lim="800000"/>
          </a:ln>
          <a:effectLst/>
        </p:spPr>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Century Gothic"/>
                <a:ea typeface="+mn-ea"/>
                <a:cs typeface="+mn-cs"/>
              </a:rPr>
              <a:t>Marketing Insights</a:t>
            </a:r>
          </a:p>
        </p:txBody>
      </p:sp>
      <p:sp>
        <p:nvSpPr>
          <p:cNvPr id="83" name="Rounded Rectangle 14">
            <a:extLst>
              <a:ext uri="{FF2B5EF4-FFF2-40B4-BE49-F238E27FC236}">
                <a16:creationId xmlns:a16="http://schemas.microsoft.com/office/drawing/2014/main" id="{9E145E41-6705-41DD-879C-98657B935421}"/>
              </a:ext>
            </a:extLst>
          </p:cNvPr>
          <p:cNvSpPr/>
          <p:nvPr/>
        </p:nvSpPr>
        <p:spPr>
          <a:xfrm>
            <a:off x="6297760" y="4567660"/>
            <a:ext cx="2242224" cy="375024"/>
          </a:xfrm>
          <a:prstGeom prst="roundRect">
            <a:avLst/>
          </a:prstGeom>
          <a:solidFill>
            <a:schemeClr val="accent1">
              <a:lumMod val="50000"/>
            </a:schemeClr>
          </a:solidFill>
          <a:ln w="12700" cap="flat" cmpd="sng" algn="ctr">
            <a:noFill/>
            <a:prstDash val="solid"/>
            <a:miter lim="800000"/>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5746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12ABDB">
                    <a:lumMod val="60000"/>
                    <a:lumOff val="40000"/>
                  </a:srgbClr>
                </a:solidFill>
                <a:effectLst/>
                <a:uLnTx/>
                <a:uFillTx/>
                <a:latin typeface="Century Gothic"/>
                <a:ea typeface="+mn-ea"/>
                <a:cs typeface="+mn-cs"/>
              </a:rPr>
              <a:t>AI/ML Decision Analytics</a:t>
            </a:r>
            <a:endParaRPr kumimoji="0" lang="en-US" sz="1100" b="0" i="0" u="none" strike="noStrike" kern="0" cap="none" spc="0" normalizeH="0" baseline="0" noProof="0">
              <a:ln>
                <a:noFill/>
              </a:ln>
              <a:solidFill>
                <a:srgbClr val="FFFFFF"/>
              </a:solidFill>
              <a:effectLst/>
              <a:uLnTx/>
              <a:uFillTx/>
              <a:latin typeface="Century Gothic"/>
              <a:ea typeface="+mn-ea"/>
              <a:cs typeface="+mn-cs"/>
            </a:endParaRPr>
          </a:p>
        </p:txBody>
      </p:sp>
      <p:pic>
        <p:nvPicPr>
          <p:cNvPr id="84" name="Graphic 38">
            <a:extLst>
              <a:ext uri="{FF2B5EF4-FFF2-40B4-BE49-F238E27FC236}">
                <a16:creationId xmlns:a16="http://schemas.microsoft.com/office/drawing/2014/main" id="{062F26D5-1FCA-42A0-B41F-78FCC91ABE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96000" y="3426250"/>
            <a:ext cx="649756" cy="594756"/>
          </a:xfrm>
          <a:prstGeom prst="rect">
            <a:avLst/>
          </a:prstGeom>
        </p:spPr>
      </p:pic>
      <p:sp>
        <p:nvSpPr>
          <p:cNvPr id="86" name="Rounded Rectangle 14">
            <a:extLst>
              <a:ext uri="{FF2B5EF4-FFF2-40B4-BE49-F238E27FC236}">
                <a16:creationId xmlns:a16="http://schemas.microsoft.com/office/drawing/2014/main" id="{505F41D3-CD86-49F3-A0EE-A4562ECD1129}"/>
              </a:ext>
            </a:extLst>
          </p:cNvPr>
          <p:cNvSpPr/>
          <p:nvPr/>
        </p:nvSpPr>
        <p:spPr>
          <a:xfrm>
            <a:off x="10914397" y="4555466"/>
            <a:ext cx="1069848" cy="920333"/>
          </a:xfrm>
          <a:prstGeom prst="roundRect">
            <a:avLst/>
          </a:prstGeom>
          <a:solidFill>
            <a:schemeClr val="accent1">
              <a:lumMod val="50000"/>
            </a:schemeClr>
          </a:solidFill>
          <a:ln w="12700" cap="flat" cmpd="sng" algn="ctr">
            <a:noFill/>
            <a:prstDash val="solid"/>
            <a:miter lim="800000"/>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5746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12ABDB">
                    <a:lumMod val="60000"/>
                    <a:lumOff val="40000"/>
                  </a:srgbClr>
                </a:solidFill>
                <a:effectLst/>
                <a:uLnTx/>
                <a:uFillTx/>
                <a:latin typeface="Century Gothic"/>
                <a:ea typeface="+mn-ea"/>
                <a:cs typeface="+mn-cs"/>
              </a:rPr>
              <a:t>COTS Models</a:t>
            </a:r>
            <a:endParaRPr kumimoji="0" lang="en-US" sz="1100" b="0" i="0" u="none" strike="noStrike" kern="0" cap="none" spc="0" normalizeH="0" baseline="0" noProof="0">
              <a:ln>
                <a:noFill/>
              </a:ln>
              <a:solidFill>
                <a:srgbClr val="FFFFFF"/>
              </a:solidFill>
              <a:effectLst/>
              <a:uLnTx/>
              <a:uFillTx/>
              <a:latin typeface="Century Gothic"/>
              <a:ea typeface="+mn-ea"/>
              <a:cs typeface="+mn-cs"/>
            </a:endParaRPr>
          </a:p>
        </p:txBody>
      </p:sp>
      <p:sp>
        <p:nvSpPr>
          <p:cNvPr id="87" name="Rounded Rectangle 14">
            <a:extLst>
              <a:ext uri="{FF2B5EF4-FFF2-40B4-BE49-F238E27FC236}">
                <a16:creationId xmlns:a16="http://schemas.microsoft.com/office/drawing/2014/main" id="{3A838BF2-02E3-4EA5-AB6C-4534189BD773}"/>
              </a:ext>
            </a:extLst>
          </p:cNvPr>
          <p:cNvSpPr/>
          <p:nvPr/>
        </p:nvSpPr>
        <p:spPr>
          <a:xfrm>
            <a:off x="8680771" y="4555466"/>
            <a:ext cx="1065192" cy="920333"/>
          </a:xfrm>
          <a:prstGeom prst="roundRect">
            <a:avLst/>
          </a:prstGeom>
          <a:solidFill>
            <a:schemeClr val="accent1">
              <a:lumMod val="50000"/>
            </a:schemeClr>
          </a:solidFill>
          <a:ln w="12700" cap="flat" cmpd="sng" algn="ctr">
            <a:noFill/>
            <a:prstDash val="solid"/>
            <a:miter lim="800000"/>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5746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12ABDB">
                    <a:lumMod val="60000"/>
                    <a:lumOff val="40000"/>
                  </a:srgbClr>
                </a:solidFill>
                <a:effectLst/>
                <a:uLnTx/>
                <a:uFillTx/>
                <a:latin typeface="Century Gothic"/>
                <a:ea typeface="+mn-ea"/>
                <a:cs typeface="+mn-cs"/>
              </a:rPr>
              <a:t>Data Science Workbench</a:t>
            </a:r>
            <a:endParaRPr kumimoji="0" lang="en-US" sz="1100" b="0" i="0" u="none" strike="noStrike" kern="0" cap="none" spc="0" normalizeH="0" baseline="0" noProof="0">
              <a:ln>
                <a:noFill/>
              </a:ln>
              <a:solidFill>
                <a:srgbClr val="FFFFFF"/>
              </a:solidFill>
              <a:effectLst/>
              <a:uLnTx/>
              <a:uFillTx/>
              <a:latin typeface="Century Gothic"/>
              <a:ea typeface="+mn-ea"/>
              <a:cs typeface="+mn-cs"/>
            </a:endParaRPr>
          </a:p>
        </p:txBody>
      </p:sp>
      <p:cxnSp>
        <p:nvCxnSpPr>
          <p:cNvPr id="88" name="Straight Connector 87">
            <a:extLst>
              <a:ext uri="{FF2B5EF4-FFF2-40B4-BE49-F238E27FC236}">
                <a16:creationId xmlns:a16="http://schemas.microsoft.com/office/drawing/2014/main" id="{B5CD6226-1D85-4384-8EB7-A3ED312E38F5}"/>
              </a:ext>
            </a:extLst>
          </p:cNvPr>
          <p:cNvCxnSpPr>
            <a:cxnSpLocks/>
          </p:cNvCxnSpPr>
          <p:nvPr/>
        </p:nvCxnSpPr>
        <p:spPr>
          <a:xfrm flipH="1">
            <a:off x="6096000" y="1961177"/>
            <a:ext cx="5852160" cy="0"/>
          </a:xfrm>
          <a:prstGeom prst="line">
            <a:avLst/>
          </a:prstGeom>
          <a:noFill/>
          <a:ln w="9525" cap="flat" cmpd="sng" algn="ctr">
            <a:solidFill>
              <a:schemeClr val="bg1">
                <a:lumMod val="50000"/>
              </a:schemeClr>
            </a:solidFill>
            <a:prstDash val="dash"/>
            <a:miter lim="800000"/>
          </a:ln>
          <a:effectLst/>
        </p:spPr>
      </p:cxnSp>
      <p:grpSp>
        <p:nvGrpSpPr>
          <p:cNvPr id="31758" name="Group 31757">
            <a:extLst>
              <a:ext uri="{FF2B5EF4-FFF2-40B4-BE49-F238E27FC236}">
                <a16:creationId xmlns:a16="http://schemas.microsoft.com/office/drawing/2014/main" id="{A8C9317B-ECB4-4125-81B0-5472DB401C64}"/>
              </a:ext>
            </a:extLst>
          </p:cNvPr>
          <p:cNvGrpSpPr/>
          <p:nvPr/>
        </p:nvGrpSpPr>
        <p:grpSpPr>
          <a:xfrm>
            <a:off x="6096000" y="873589"/>
            <a:ext cx="1427950" cy="922833"/>
            <a:chOff x="686630" y="1521564"/>
            <a:chExt cx="2913018" cy="1959525"/>
          </a:xfrm>
        </p:grpSpPr>
        <p:pic>
          <p:nvPicPr>
            <p:cNvPr id="89" name="Picture 88">
              <a:extLst>
                <a:ext uri="{FF2B5EF4-FFF2-40B4-BE49-F238E27FC236}">
                  <a16:creationId xmlns:a16="http://schemas.microsoft.com/office/drawing/2014/main" id="{506E108F-CEA3-4945-BB38-996659B7323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6630" y="2581089"/>
              <a:ext cx="900000" cy="900000"/>
            </a:xfrm>
            <a:prstGeom prst="rect">
              <a:avLst/>
            </a:prstGeom>
          </p:spPr>
        </p:pic>
        <p:pic>
          <p:nvPicPr>
            <p:cNvPr id="90" name="Picture 89">
              <a:extLst>
                <a:ext uri="{FF2B5EF4-FFF2-40B4-BE49-F238E27FC236}">
                  <a16:creationId xmlns:a16="http://schemas.microsoft.com/office/drawing/2014/main" id="{CE363A92-8A4D-4F3C-BD0F-753037C1C82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93139" y="2581089"/>
              <a:ext cx="900000" cy="900000"/>
            </a:xfrm>
            <a:prstGeom prst="rect">
              <a:avLst/>
            </a:prstGeom>
          </p:spPr>
        </p:pic>
        <p:pic>
          <p:nvPicPr>
            <p:cNvPr id="91" name="Picture 90">
              <a:extLst>
                <a:ext uri="{FF2B5EF4-FFF2-40B4-BE49-F238E27FC236}">
                  <a16:creationId xmlns:a16="http://schemas.microsoft.com/office/drawing/2014/main" id="{FF9A502F-07DA-44AB-8D4B-832DE58164C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699648" y="2581089"/>
              <a:ext cx="900000" cy="900000"/>
            </a:xfrm>
            <a:prstGeom prst="rect">
              <a:avLst/>
            </a:prstGeom>
          </p:spPr>
        </p:pic>
        <p:pic>
          <p:nvPicPr>
            <p:cNvPr id="92" name="Picture 91">
              <a:extLst>
                <a:ext uri="{FF2B5EF4-FFF2-40B4-BE49-F238E27FC236}">
                  <a16:creationId xmlns:a16="http://schemas.microsoft.com/office/drawing/2014/main" id="{E5366D52-4FFA-4D80-87F6-C1282C41B82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97529" y="1521564"/>
              <a:ext cx="900000" cy="900000"/>
            </a:xfrm>
            <a:prstGeom prst="rect">
              <a:avLst/>
            </a:prstGeom>
          </p:spPr>
        </p:pic>
        <p:cxnSp>
          <p:nvCxnSpPr>
            <p:cNvPr id="93" name="Connector: Elbow 92">
              <a:extLst>
                <a:ext uri="{FF2B5EF4-FFF2-40B4-BE49-F238E27FC236}">
                  <a16:creationId xmlns:a16="http://schemas.microsoft.com/office/drawing/2014/main" id="{4B2A757E-42E6-4D60-A228-14C7C0FBC102}"/>
                </a:ext>
              </a:extLst>
            </p:cNvPr>
            <p:cNvCxnSpPr>
              <a:cxnSpLocks/>
              <a:stCxn id="89" idx="0"/>
              <a:endCxn id="92" idx="1"/>
            </p:cNvCxnSpPr>
            <p:nvPr/>
          </p:nvCxnSpPr>
          <p:spPr>
            <a:xfrm rot="5400000" flipH="1" flipV="1">
              <a:off x="862317" y="2245878"/>
              <a:ext cx="609525" cy="60899"/>
            </a:xfrm>
            <a:prstGeom prst="bentConnector2">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8F594F94-2589-42E1-9FBC-6EED6E99294B}"/>
                </a:ext>
              </a:extLst>
            </p:cNvPr>
            <p:cNvCxnSpPr>
              <a:cxnSpLocks/>
              <a:stCxn id="90" idx="0"/>
              <a:endCxn id="92" idx="3"/>
            </p:cNvCxnSpPr>
            <p:nvPr/>
          </p:nvCxnSpPr>
          <p:spPr>
            <a:xfrm rot="16200000" flipV="1">
              <a:off x="1815572" y="2253522"/>
              <a:ext cx="609525" cy="45610"/>
            </a:xfrm>
            <a:prstGeom prst="bentConnector2">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8B505A17-99BE-4AAA-B12D-346577191FA8}"/>
                </a:ext>
              </a:extLst>
            </p:cNvPr>
            <p:cNvCxnSpPr>
              <a:cxnSpLocks/>
              <a:stCxn id="91" idx="0"/>
              <a:endCxn id="92" idx="3"/>
            </p:cNvCxnSpPr>
            <p:nvPr/>
          </p:nvCxnSpPr>
          <p:spPr>
            <a:xfrm rot="16200000" flipV="1">
              <a:off x="2318827" y="1750267"/>
              <a:ext cx="609525" cy="1052119"/>
            </a:xfrm>
            <a:prstGeom prst="bentConnector2">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sp>
        <p:nvSpPr>
          <p:cNvPr id="97" name="Rectangle 96">
            <a:extLst>
              <a:ext uri="{FF2B5EF4-FFF2-40B4-BE49-F238E27FC236}">
                <a16:creationId xmlns:a16="http://schemas.microsoft.com/office/drawing/2014/main" id="{4C907165-3AF1-496C-A9FD-7B858E48F8CE}"/>
              </a:ext>
            </a:extLst>
          </p:cNvPr>
          <p:cNvSpPr>
            <a:spLocks/>
          </p:cNvSpPr>
          <p:nvPr/>
        </p:nvSpPr>
        <p:spPr>
          <a:xfrm>
            <a:off x="6522567" y="2224289"/>
            <a:ext cx="1614908"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143D">
                    <a:lumMod val="75000"/>
                    <a:lumOff val="25000"/>
                  </a:srgbClr>
                </a:solidFill>
                <a:effectLst/>
                <a:uLnTx/>
                <a:uFillTx/>
                <a:latin typeface="Century Gothic"/>
                <a:ea typeface="+mn-ea"/>
                <a:cs typeface="+mn-cs"/>
              </a:rPr>
              <a:t>Ingestion</a:t>
            </a:r>
            <a:endParaRPr kumimoji="0" lang="en-US" sz="1600" b="1" i="0" u="none" strike="noStrike" kern="1200" cap="none" spc="0" normalizeH="0" baseline="0" noProof="0" dirty="0">
              <a:ln>
                <a:noFill/>
              </a:ln>
              <a:solidFill>
                <a:srgbClr val="2B143D">
                  <a:lumMod val="75000"/>
                  <a:lumOff val="25000"/>
                </a:srgbClr>
              </a:solidFill>
              <a:effectLst/>
              <a:uLnTx/>
              <a:uFillTx/>
              <a:latin typeface="Century Gothic"/>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Century Gothic"/>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entury Gothic"/>
                <a:ea typeface="+mn-ea"/>
                <a:cs typeface="+mn-cs"/>
              </a:rPr>
              <a:t>Dynamic Metadata Driven ingestion of EBCDIC Data</a:t>
            </a:r>
          </a:p>
        </p:txBody>
      </p:sp>
      <p:sp>
        <p:nvSpPr>
          <p:cNvPr id="102" name="Rectangle 101">
            <a:extLst>
              <a:ext uri="{FF2B5EF4-FFF2-40B4-BE49-F238E27FC236}">
                <a16:creationId xmlns:a16="http://schemas.microsoft.com/office/drawing/2014/main" id="{760B1320-168D-4DDA-82FE-EC47084CD8A6}"/>
              </a:ext>
            </a:extLst>
          </p:cNvPr>
          <p:cNvSpPr>
            <a:spLocks/>
          </p:cNvSpPr>
          <p:nvPr/>
        </p:nvSpPr>
        <p:spPr>
          <a:xfrm>
            <a:off x="1834546" y="5962099"/>
            <a:ext cx="9474409"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0AD"/>
                </a:solidFill>
                <a:effectLst/>
                <a:uLnTx/>
                <a:uFillTx/>
                <a:latin typeface="Century Gothic"/>
                <a:ea typeface="Open Sans Light" pitchFamily="34" charset="0"/>
                <a:cs typeface="Open Sans Light" pitchFamily="34" charset="0"/>
              </a:rPr>
              <a:t>Partnership with servicing platform provider is critical as we embark on this journey</a:t>
            </a:r>
            <a:endParaRPr kumimoji="0" lang="en-US" sz="1200" b="0" i="0" u="none" strike="noStrike" kern="1200" cap="none" spc="0" normalizeH="0" baseline="0" noProof="0">
              <a:ln>
                <a:noFill/>
              </a:ln>
              <a:solidFill>
                <a:prstClr val="black"/>
              </a:solidFill>
              <a:effectLst/>
              <a:uLnTx/>
              <a:uFillTx/>
              <a:latin typeface="Century Gothic"/>
              <a:ea typeface="Open Sans Light" panose="020B0306030504020204" pitchFamily="34" charset="0"/>
              <a:cs typeface="Open Sans Light" panose="020B0306030504020204" pitchFamily="34" charset="0"/>
            </a:endParaRPr>
          </a:p>
        </p:txBody>
      </p:sp>
      <p:sp>
        <p:nvSpPr>
          <p:cNvPr id="53" name="Title 3">
            <a:extLst>
              <a:ext uri="{FF2B5EF4-FFF2-40B4-BE49-F238E27FC236}">
                <a16:creationId xmlns:a16="http://schemas.microsoft.com/office/drawing/2014/main" id="{67DE6502-E4A7-45E2-B500-DFF34D4BBD82}"/>
              </a:ext>
            </a:extLst>
          </p:cNvPr>
          <p:cNvSpPr txBox="1">
            <a:spLocks/>
          </p:cNvSpPr>
          <p:nvPr/>
        </p:nvSpPr>
        <p:spPr>
          <a:xfrm>
            <a:off x="0" y="-10451"/>
            <a:ext cx="12192000" cy="897460"/>
          </a:xfrm>
          <a:prstGeom prst="rect">
            <a:avLst/>
          </a:prstGeom>
        </p:spPr>
        <p:txBody>
          <a:bodyPr vert="horz" lIns="297529" tIns="33059" rIns="165294" bIns="33059" rtlCol="0" anchor="ctr" anchorCtr="0">
            <a:noAutofit/>
          </a:bodyPr>
          <a:lstStyle>
            <a:lvl1pPr algn="l" defTabSz="914342" rtl="0" eaLnBrk="1" latinLnBrk="0" hangingPunct="1">
              <a:lnSpc>
                <a:spcPct val="85000"/>
              </a:lnSpc>
              <a:spcBef>
                <a:spcPct val="0"/>
              </a:spcBef>
              <a:buNone/>
              <a:defRPr lang="en-US" sz="2400" b="0" kern="1200" noProof="0" dirty="0">
                <a:solidFill>
                  <a:schemeClr val="tx1"/>
                </a:solidFill>
                <a:latin typeface="Arial Narrow" pitchFamily="34" charset="0"/>
                <a:ea typeface="+mj-ea"/>
                <a:cs typeface="+mj-cs"/>
              </a:defRPr>
            </a:lvl1pPr>
          </a:lstStyle>
          <a:p>
            <a:pPr marL="0" marR="0" lvl="0" indent="0" algn="l" defTabSz="914342" rtl="0" eaLnBrk="1" fontAlgn="auto" latinLnBrk="0" hangingPunct="1">
              <a:lnSpc>
                <a:spcPct val="85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Narrow" pitchFamily="34" charset="0"/>
                <a:ea typeface="+mj-ea"/>
                <a:cs typeface="+mj-cs"/>
              </a:rPr>
              <a:t>What our go-forward solution approach should account for….</a:t>
            </a:r>
          </a:p>
        </p:txBody>
      </p:sp>
      <p:sp>
        <p:nvSpPr>
          <p:cNvPr id="56" name="Rounded Rectangle 14">
            <a:extLst>
              <a:ext uri="{FF2B5EF4-FFF2-40B4-BE49-F238E27FC236}">
                <a16:creationId xmlns:a16="http://schemas.microsoft.com/office/drawing/2014/main" id="{657B674F-65E4-47A9-8B1B-D6886BEBBA3F}"/>
              </a:ext>
            </a:extLst>
          </p:cNvPr>
          <p:cNvSpPr/>
          <p:nvPr/>
        </p:nvSpPr>
        <p:spPr>
          <a:xfrm>
            <a:off x="10289424" y="3465461"/>
            <a:ext cx="1691640" cy="720000"/>
          </a:xfrm>
          <a:prstGeom prst="roundRect">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5E616">
                    <a:lumMod val="50000"/>
                  </a:srgbClr>
                </a:solidFill>
                <a:effectLst/>
                <a:uLnTx/>
                <a:uFillTx/>
                <a:latin typeface="Century Gothic"/>
                <a:ea typeface="+mn-ea"/>
                <a:cs typeface="+mn-cs"/>
              </a:rPr>
              <a:t>Integrate operational and analytical insights in real-time into digital channels</a:t>
            </a:r>
          </a:p>
        </p:txBody>
      </p:sp>
      <p:sp>
        <p:nvSpPr>
          <p:cNvPr id="58" name="Rounded Rectangle 14">
            <a:extLst>
              <a:ext uri="{FF2B5EF4-FFF2-40B4-BE49-F238E27FC236}">
                <a16:creationId xmlns:a16="http://schemas.microsoft.com/office/drawing/2014/main" id="{37B73429-904D-4803-B67F-53F8A9893B67}"/>
              </a:ext>
            </a:extLst>
          </p:cNvPr>
          <p:cNvSpPr/>
          <p:nvPr/>
        </p:nvSpPr>
        <p:spPr>
          <a:xfrm>
            <a:off x="9795256" y="4555466"/>
            <a:ext cx="1069848" cy="920333"/>
          </a:xfrm>
          <a:prstGeom prst="roundRect">
            <a:avLst/>
          </a:prstGeom>
          <a:solidFill>
            <a:schemeClr val="accent1">
              <a:lumMod val="50000"/>
            </a:schemeClr>
          </a:solidFill>
          <a:ln w="12700" cap="flat" cmpd="sng" algn="ctr">
            <a:noFill/>
            <a:prstDash val="solid"/>
            <a:miter lim="800000"/>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5746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12ABDB">
                    <a:lumMod val="60000"/>
                    <a:lumOff val="40000"/>
                  </a:srgbClr>
                </a:solidFill>
                <a:effectLst/>
                <a:uLnTx/>
                <a:uFillTx/>
                <a:latin typeface="Century Gothic"/>
                <a:ea typeface="+mn-ea"/>
                <a:cs typeface="+mn-cs"/>
              </a:rPr>
              <a:t>Homegrown Models</a:t>
            </a:r>
            <a:endParaRPr kumimoji="0" lang="en-US" sz="1100" b="0" i="0" u="none" strike="noStrike" kern="0" cap="none" spc="0" normalizeH="0" baseline="0" noProof="0">
              <a:ln>
                <a:noFill/>
              </a:ln>
              <a:solidFill>
                <a:srgbClr val="FFFFFF"/>
              </a:solidFill>
              <a:effectLst/>
              <a:uLnTx/>
              <a:uFillTx/>
              <a:latin typeface="Century Gothic"/>
              <a:ea typeface="+mn-ea"/>
              <a:cs typeface="+mn-cs"/>
            </a:endParaRPr>
          </a:p>
        </p:txBody>
      </p:sp>
      <p:sp>
        <p:nvSpPr>
          <p:cNvPr id="55" name="Arrow: Pentagon 54">
            <a:extLst>
              <a:ext uri="{FF2B5EF4-FFF2-40B4-BE49-F238E27FC236}">
                <a16:creationId xmlns:a16="http://schemas.microsoft.com/office/drawing/2014/main" id="{FDDFA558-4C3A-428C-8AF5-67DDA477ECF1}"/>
              </a:ext>
            </a:extLst>
          </p:cNvPr>
          <p:cNvSpPr/>
          <p:nvPr/>
        </p:nvSpPr>
        <p:spPr>
          <a:xfrm>
            <a:off x="5489330" y="2355192"/>
            <a:ext cx="372102" cy="736988"/>
          </a:xfrm>
          <a:prstGeom prst="homePlate">
            <a:avLst/>
          </a:prstGeom>
          <a:gradFill>
            <a:gsLst>
              <a:gs pos="52000">
                <a:schemeClr val="accent1"/>
              </a:gs>
              <a:gs pos="14000">
                <a:srgbClr val="34B77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
        <p:nvSpPr>
          <p:cNvPr id="59" name="Arrow: Pentagon 58">
            <a:extLst>
              <a:ext uri="{FF2B5EF4-FFF2-40B4-BE49-F238E27FC236}">
                <a16:creationId xmlns:a16="http://schemas.microsoft.com/office/drawing/2014/main" id="{78D37104-486D-4E3E-BDAB-E45379E80E27}"/>
              </a:ext>
            </a:extLst>
          </p:cNvPr>
          <p:cNvSpPr/>
          <p:nvPr/>
        </p:nvSpPr>
        <p:spPr>
          <a:xfrm>
            <a:off x="5489330" y="3562462"/>
            <a:ext cx="372102" cy="736988"/>
          </a:xfrm>
          <a:prstGeom prst="homePlate">
            <a:avLst/>
          </a:prstGeom>
          <a:gradFill>
            <a:gsLst>
              <a:gs pos="52000">
                <a:schemeClr val="accent1"/>
              </a:gs>
              <a:gs pos="14000">
                <a:srgbClr val="34B77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
        <p:nvSpPr>
          <p:cNvPr id="60" name="Arrow: Pentagon 59">
            <a:extLst>
              <a:ext uri="{FF2B5EF4-FFF2-40B4-BE49-F238E27FC236}">
                <a16:creationId xmlns:a16="http://schemas.microsoft.com/office/drawing/2014/main" id="{4FCE3928-3F5C-48DB-B8C9-7BE5A451DD7D}"/>
              </a:ext>
            </a:extLst>
          </p:cNvPr>
          <p:cNvSpPr/>
          <p:nvPr/>
        </p:nvSpPr>
        <p:spPr>
          <a:xfrm>
            <a:off x="5489330" y="4628701"/>
            <a:ext cx="372102" cy="736988"/>
          </a:xfrm>
          <a:prstGeom prst="homePlate">
            <a:avLst/>
          </a:prstGeom>
          <a:gradFill>
            <a:gsLst>
              <a:gs pos="52000">
                <a:schemeClr val="accent1"/>
              </a:gs>
              <a:gs pos="14000">
                <a:srgbClr val="34B77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3154307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tangle 168">
            <a:extLst>
              <a:ext uri="{FF2B5EF4-FFF2-40B4-BE49-F238E27FC236}">
                <a16:creationId xmlns:a16="http://schemas.microsoft.com/office/drawing/2014/main" id="{6E2EA2F9-3C06-4970-A892-DA50A77B5726}"/>
              </a:ext>
            </a:extLst>
          </p:cNvPr>
          <p:cNvSpPr/>
          <p:nvPr/>
        </p:nvSpPr>
        <p:spPr>
          <a:xfrm>
            <a:off x="6782538" y="5820537"/>
            <a:ext cx="2738671" cy="912658"/>
          </a:xfrm>
          <a:prstGeom prst="rect">
            <a:avLst/>
          </a:prstGeom>
          <a:solidFill>
            <a:srgbClr val="2F55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806482D6-DD97-4A28-90D7-A4C207C4E7A5}"/>
              </a:ext>
            </a:extLst>
          </p:cNvPr>
          <p:cNvSpPr/>
          <p:nvPr/>
        </p:nvSpPr>
        <p:spPr>
          <a:xfrm>
            <a:off x="1650669" y="5824455"/>
            <a:ext cx="3614060" cy="93213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7A2B81FF-3F16-4C55-A61E-6A77F8B14BA9}"/>
              </a:ext>
            </a:extLst>
          </p:cNvPr>
          <p:cNvSpPr/>
          <p:nvPr/>
        </p:nvSpPr>
        <p:spPr>
          <a:xfrm>
            <a:off x="1227081" y="4611910"/>
            <a:ext cx="8294128" cy="87312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9DB50C04-7FE2-46DF-80A0-568CAB7FAA5A}"/>
              </a:ext>
            </a:extLst>
          </p:cNvPr>
          <p:cNvSpPr/>
          <p:nvPr/>
        </p:nvSpPr>
        <p:spPr>
          <a:xfrm>
            <a:off x="3089494" y="2686461"/>
            <a:ext cx="3908345" cy="1672144"/>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CCODS ( Operational Data Layer)</a:t>
            </a:r>
          </a:p>
        </p:txBody>
      </p:sp>
      <p:sp>
        <p:nvSpPr>
          <p:cNvPr id="57" name="Rectangle 56">
            <a:extLst>
              <a:ext uri="{FF2B5EF4-FFF2-40B4-BE49-F238E27FC236}">
                <a16:creationId xmlns:a16="http://schemas.microsoft.com/office/drawing/2014/main" id="{4D20CD65-7695-415C-837D-ED85FD29DB43}"/>
              </a:ext>
            </a:extLst>
          </p:cNvPr>
          <p:cNvSpPr/>
          <p:nvPr/>
        </p:nvSpPr>
        <p:spPr>
          <a:xfrm>
            <a:off x="7477441" y="2677225"/>
            <a:ext cx="2043768" cy="1672142"/>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Insights Generation</a:t>
            </a:r>
          </a:p>
        </p:txBody>
      </p:sp>
      <p:sp>
        <p:nvSpPr>
          <p:cNvPr id="49" name="Rectangle 48">
            <a:extLst>
              <a:ext uri="{FF2B5EF4-FFF2-40B4-BE49-F238E27FC236}">
                <a16:creationId xmlns:a16="http://schemas.microsoft.com/office/drawing/2014/main" id="{B023B63B-FDD6-4B46-A271-441198B29FAE}"/>
              </a:ext>
            </a:extLst>
          </p:cNvPr>
          <p:cNvSpPr/>
          <p:nvPr/>
        </p:nvSpPr>
        <p:spPr>
          <a:xfrm>
            <a:off x="1227080" y="575374"/>
            <a:ext cx="8294129" cy="1748422"/>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8143ED22-F72C-4458-BC79-76EF871D09AE}"/>
              </a:ext>
            </a:extLst>
          </p:cNvPr>
          <p:cNvSpPr/>
          <p:nvPr/>
        </p:nvSpPr>
        <p:spPr>
          <a:xfrm>
            <a:off x="5200432" y="772377"/>
            <a:ext cx="1073791" cy="562804"/>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CCHUB</a:t>
            </a:r>
          </a:p>
        </p:txBody>
      </p:sp>
      <p:sp>
        <p:nvSpPr>
          <p:cNvPr id="13" name="Rectangle: Rounded Corners 12">
            <a:extLst>
              <a:ext uri="{FF2B5EF4-FFF2-40B4-BE49-F238E27FC236}">
                <a16:creationId xmlns:a16="http://schemas.microsoft.com/office/drawing/2014/main" id="{5B711C0A-4A06-4C6D-9363-C5A16E15DCDB}"/>
              </a:ext>
            </a:extLst>
          </p:cNvPr>
          <p:cNvSpPr/>
          <p:nvPr/>
        </p:nvSpPr>
        <p:spPr>
          <a:xfrm>
            <a:off x="5222280" y="1682111"/>
            <a:ext cx="1073791" cy="544975"/>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Streaming Adapter</a:t>
            </a:r>
          </a:p>
        </p:txBody>
      </p:sp>
      <p:sp>
        <p:nvSpPr>
          <p:cNvPr id="14" name="Rectangle: Rounded Corners 13">
            <a:extLst>
              <a:ext uri="{FF2B5EF4-FFF2-40B4-BE49-F238E27FC236}">
                <a16:creationId xmlns:a16="http://schemas.microsoft.com/office/drawing/2014/main" id="{425C520C-297E-4412-B01B-780E164F4B2E}"/>
              </a:ext>
            </a:extLst>
          </p:cNvPr>
          <p:cNvSpPr/>
          <p:nvPr/>
        </p:nvSpPr>
        <p:spPr>
          <a:xfrm>
            <a:off x="6782537" y="769433"/>
            <a:ext cx="1073791" cy="562803"/>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Meta Data Ingestion Framework</a:t>
            </a:r>
          </a:p>
        </p:txBody>
      </p:sp>
      <p:sp>
        <p:nvSpPr>
          <p:cNvPr id="15" name="Rectangle: Rounded Corners 14">
            <a:extLst>
              <a:ext uri="{FF2B5EF4-FFF2-40B4-BE49-F238E27FC236}">
                <a16:creationId xmlns:a16="http://schemas.microsoft.com/office/drawing/2014/main" id="{55BB4A42-5165-4683-92D0-298389937222}"/>
              </a:ext>
            </a:extLst>
          </p:cNvPr>
          <p:cNvSpPr/>
          <p:nvPr/>
        </p:nvSpPr>
        <p:spPr>
          <a:xfrm>
            <a:off x="6783968" y="1682933"/>
            <a:ext cx="1073791" cy="540852"/>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eta Data Driven Transformation</a:t>
            </a:r>
          </a:p>
        </p:txBody>
      </p:sp>
      <p:sp>
        <p:nvSpPr>
          <p:cNvPr id="20" name="Rectangle 19">
            <a:extLst>
              <a:ext uri="{FF2B5EF4-FFF2-40B4-BE49-F238E27FC236}">
                <a16:creationId xmlns:a16="http://schemas.microsoft.com/office/drawing/2014/main" id="{49EEF118-C494-4709-9E49-ABCE24C6D0A2}"/>
              </a:ext>
            </a:extLst>
          </p:cNvPr>
          <p:cNvSpPr/>
          <p:nvPr/>
        </p:nvSpPr>
        <p:spPr>
          <a:xfrm>
            <a:off x="3482776" y="2923901"/>
            <a:ext cx="1645920" cy="295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Customer</a:t>
            </a:r>
          </a:p>
        </p:txBody>
      </p:sp>
      <p:sp>
        <p:nvSpPr>
          <p:cNvPr id="21" name="Rectangle 20">
            <a:extLst>
              <a:ext uri="{FF2B5EF4-FFF2-40B4-BE49-F238E27FC236}">
                <a16:creationId xmlns:a16="http://schemas.microsoft.com/office/drawing/2014/main" id="{DEA9E26A-3BC9-4DDB-B90F-6CF23343D913}"/>
              </a:ext>
            </a:extLst>
          </p:cNvPr>
          <p:cNvSpPr/>
          <p:nvPr/>
        </p:nvSpPr>
        <p:spPr>
          <a:xfrm>
            <a:off x="5239434" y="2923895"/>
            <a:ext cx="1645920" cy="295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ccount</a:t>
            </a:r>
          </a:p>
        </p:txBody>
      </p:sp>
      <p:sp>
        <p:nvSpPr>
          <p:cNvPr id="22" name="Rectangle 21">
            <a:extLst>
              <a:ext uri="{FF2B5EF4-FFF2-40B4-BE49-F238E27FC236}">
                <a16:creationId xmlns:a16="http://schemas.microsoft.com/office/drawing/2014/main" id="{A4C1D554-9F44-4C13-97B7-54DAC46E7A41}"/>
              </a:ext>
            </a:extLst>
          </p:cNvPr>
          <p:cNvSpPr/>
          <p:nvPr/>
        </p:nvSpPr>
        <p:spPr>
          <a:xfrm>
            <a:off x="3482776" y="3269148"/>
            <a:ext cx="1645920" cy="295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Embosser</a:t>
            </a:r>
          </a:p>
        </p:txBody>
      </p:sp>
      <p:sp>
        <p:nvSpPr>
          <p:cNvPr id="23" name="Rectangle 22">
            <a:extLst>
              <a:ext uri="{FF2B5EF4-FFF2-40B4-BE49-F238E27FC236}">
                <a16:creationId xmlns:a16="http://schemas.microsoft.com/office/drawing/2014/main" id="{6DAFEB8E-A3E7-4DA3-9B08-5236E0D62318}"/>
              </a:ext>
            </a:extLst>
          </p:cNvPr>
          <p:cNvSpPr/>
          <p:nvPr/>
        </p:nvSpPr>
        <p:spPr>
          <a:xfrm>
            <a:off x="3482776" y="3614395"/>
            <a:ext cx="1645920" cy="295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Promotions</a:t>
            </a:r>
          </a:p>
        </p:txBody>
      </p:sp>
      <p:sp>
        <p:nvSpPr>
          <p:cNvPr id="24" name="Rectangle 23">
            <a:extLst>
              <a:ext uri="{FF2B5EF4-FFF2-40B4-BE49-F238E27FC236}">
                <a16:creationId xmlns:a16="http://schemas.microsoft.com/office/drawing/2014/main" id="{9BB55683-BCCB-406C-9297-52ACDBE89174}"/>
              </a:ext>
            </a:extLst>
          </p:cNvPr>
          <p:cNvSpPr/>
          <p:nvPr/>
        </p:nvSpPr>
        <p:spPr>
          <a:xfrm>
            <a:off x="5239434" y="3267963"/>
            <a:ext cx="1645920" cy="295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uthorizations</a:t>
            </a:r>
          </a:p>
        </p:txBody>
      </p:sp>
      <p:sp>
        <p:nvSpPr>
          <p:cNvPr id="25" name="Rectangle 24">
            <a:extLst>
              <a:ext uri="{FF2B5EF4-FFF2-40B4-BE49-F238E27FC236}">
                <a16:creationId xmlns:a16="http://schemas.microsoft.com/office/drawing/2014/main" id="{48FC5EA4-8AEA-4D10-ADAD-84B0ADBBC0F2}"/>
              </a:ext>
            </a:extLst>
          </p:cNvPr>
          <p:cNvSpPr/>
          <p:nvPr/>
        </p:nvSpPr>
        <p:spPr>
          <a:xfrm>
            <a:off x="5239434" y="3612031"/>
            <a:ext cx="1645920" cy="295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Rewards</a:t>
            </a:r>
          </a:p>
        </p:txBody>
      </p:sp>
      <p:sp>
        <p:nvSpPr>
          <p:cNvPr id="27" name="Rectangle 26">
            <a:extLst>
              <a:ext uri="{FF2B5EF4-FFF2-40B4-BE49-F238E27FC236}">
                <a16:creationId xmlns:a16="http://schemas.microsoft.com/office/drawing/2014/main" id="{B584A93A-100A-491C-994D-46B67EC54A05}"/>
              </a:ext>
            </a:extLst>
          </p:cNvPr>
          <p:cNvSpPr/>
          <p:nvPr/>
        </p:nvSpPr>
        <p:spPr>
          <a:xfrm>
            <a:off x="5239434" y="3956100"/>
            <a:ext cx="1645920" cy="295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Disputes</a:t>
            </a:r>
          </a:p>
        </p:txBody>
      </p:sp>
      <p:sp>
        <p:nvSpPr>
          <p:cNvPr id="28" name="Rectangle 27">
            <a:extLst>
              <a:ext uri="{FF2B5EF4-FFF2-40B4-BE49-F238E27FC236}">
                <a16:creationId xmlns:a16="http://schemas.microsoft.com/office/drawing/2014/main" id="{F169E44A-8B84-4E3B-9353-145D0479FBFE}"/>
              </a:ext>
            </a:extLst>
          </p:cNvPr>
          <p:cNvSpPr/>
          <p:nvPr/>
        </p:nvSpPr>
        <p:spPr>
          <a:xfrm>
            <a:off x="3482776" y="3959641"/>
            <a:ext cx="1645920" cy="295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Statements</a:t>
            </a:r>
          </a:p>
        </p:txBody>
      </p:sp>
      <p:sp>
        <p:nvSpPr>
          <p:cNvPr id="30" name="Rectangle 29">
            <a:extLst>
              <a:ext uri="{FF2B5EF4-FFF2-40B4-BE49-F238E27FC236}">
                <a16:creationId xmlns:a16="http://schemas.microsoft.com/office/drawing/2014/main" id="{BD17CAD6-F504-47E7-AB0D-43385D3316E4}"/>
              </a:ext>
            </a:extLst>
          </p:cNvPr>
          <p:cNvSpPr/>
          <p:nvPr/>
        </p:nvSpPr>
        <p:spPr>
          <a:xfrm>
            <a:off x="3309047" y="4750355"/>
            <a:ext cx="1646958" cy="59613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Data API 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Dynamically Instantiated)</a:t>
            </a:r>
          </a:p>
        </p:txBody>
      </p:sp>
      <p:sp>
        <p:nvSpPr>
          <p:cNvPr id="32" name="Rectangle 31">
            <a:extLst>
              <a:ext uri="{FF2B5EF4-FFF2-40B4-BE49-F238E27FC236}">
                <a16:creationId xmlns:a16="http://schemas.microsoft.com/office/drawing/2014/main" id="{269718DF-AB80-4A57-BD7A-641CB987E84D}"/>
              </a:ext>
            </a:extLst>
          </p:cNvPr>
          <p:cNvSpPr/>
          <p:nvPr/>
        </p:nvSpPr>
        <p:spPr>
          <a:xfrm>
            <a:off x="3086851" y="2692134"/>
            <a:ext cx="321506" cy="167214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CODS</a:t>
            </a:r>
          </a:p>
        </p:txBody>
      </p:sp>
      <p:sp>
        <p:nvSpPr>
          <p:cNvPr id="40" name="Rectangle 39">
            <a:extLst>
              <a:ext uri="{FF2B5EF4-FFF2-40B4-BE49-F238E27FC236}">
                <a16:creationId xmlns:a16="http://schemas.microsoft.com/office/drawing/2014/main" id="{D8422FCD-2964-4CC0-8059-FFA57920BD64}"/>
              </a:ext>
            </a:extLst>
          </p:cNvPr>
          <p:cNvSpPr/>
          <p:nvPr/>
        </p:nvSpPr>
        <p:spPr>
          <a:xfrm>
            <a:off x="7746294" y="4734323"/>
            <a:ext cx="1646958" cy="59613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nalytical Insights API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771B40E9-4134-49FE-BCD6-518F97300577}"/>
              </a:ext>
            </a:extLst>
          </p:cNvPr>
          <p:cNvSpPr/>
          <p:nvPr/>
        </p:nvSpPr>
        <p:spPr>
          <a:xfrm>
            <a:off x="5200252" y="4742490"/>
            <a:ext cx="1645920" cy="59436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Real-time Business Event Propagation</a:t>
            </a:r>
          </a:p>
        </p:txBody>
      </p:sp>
      <p:pic>
        <p:nvPicPr>
          <p:cNvPr id="21510" name="Picture 6" descr="Image result for mobile">
            <a:extLst>
              <a:ext uri="{FF2B5EF4-FFF2-40B4-BE49-F238E27FC236}">
                <a16:creationId xmlns:a16="http://schemas.microsoft.com/office/drawing/2014/main" id="{F60D42D4-6FE6-47D5-AAAB-EA20088067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7128" y="5951428"/>
            <a:ext cx="758321" cy="568741"/>
          </a:xfrm>
          <a:prstGeom prst="rect">
            <a:avLst/>
          </a:prstGeom>
          <a:noFill/>
          <a:extLst>
            <a:ext uri="{909E8E84-426E-40DD-AFC4-6F175D3DCCD1}">
              <a14:hiddenFill xmlns:a14="http://schemas.microsoft.com/office/drawing/2010/main">
                <a:solidFill>
                  <a:srgbClr val="FFFFFF"/>
                </a:solidFill>
              </a14:hiddenFill>
            </a:ext>
          </a:extLst>
        </p:spPr>
      </p:pic>
      <p:pic>
        <p:nvPicPr>
          <p:cNvPr id="21512" name="Picture 8" descr="Image result for internet web">
            <a:extLst>
              <a:ext uri="{FF2B5EF4-FFF2-40B4-BE49-F238E27FC236}">
                <a16:creationId xmlns:a16="http://schemas.microsoft.com/office/drawing/2014/main" id="{BD075264-9D07-4FFE-98E8-75DFB681EAD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806" r="19597"/>
          <a:stretch/>
        </p:blipFill>
        <p:spPr bwMode="auto">
          <a:xfrm>
            <a:off x="2975494" y="5961801"/>
            <a:ext cx="723201" cy="540127"/>
          </a:xfrm>
          <a:prstGeom prst="rect">
            <a:avLst/>
          </a:prstGeom>
          <a:noFill/>
          <a:extLst>
            <a:ext uri="{909E8E84-426E-40DD-AFC4-6F175D3DCCD1}">
              <a14:hiddenFill xmlns:a14="http://schemas.microsoft.com/office/drawing/2010/main">
                <a:solidFill>
                  <a:srgbClr val="FFFFFF"/>
                </a:solidFill>
              </a14:hiddenFill>
            </a:ext>
          </a:extLst>
        </p:spPr>
      </p:pic>
      <p:pic>
        <p:nvPicPr>
          <p:cNvPr id="21514" name="Picture 10" descr="Image result for IVR">
            <a:extLst>
              <a:ext uri="{FF2B5EF4-FFF2-40B4-BE49-F238E27FC236}">
                <a16:creationId xmlns:a16="http://schemas.microsoft.com/office/drawing/2014/main" id="{D21E7564-71CF-4137-BE3B-0DB129E33F2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1367" r="17997"/>
          <a:stretch/>
        </p:blipFill>
        <p:spPr bwMode="auto">
          <a:xfrm>
            <a:off x="3836754" y="5987729"/>
            <a:ext cx="547915" cy="523183"/>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Rounded Corners 28">
            <a:extLst>
              <a:ext uri="{FF2B5EF4-FFF2-40B4-BE49-F238E27FC236}">
                <a16:creationId xmlns:a16="http://schemas.microsoft.com/office/drawing/2014/main" id="{AC04C05D-3810-49A3-BE83-DEDD44F745DA}"/>
              </a:ext>
            </a:extLst>
          </p:cNvPr>
          <p:cNvSpPr/>
          <p:nvPr/>
        </p:nvSpPr>
        <p:spPr>
          <a:xfrm>
            <a:off x="7252591" y="5850464"/>
            <a:ext cx="869084" cy="497346"/>
          </a:xfrm>
          <a:prstGeom prst="roundRect">
            <a:avLst/>
          </a:prstGeom>
          <a:blipFill dpi="0" rotWithShape="1">
            <a:blip r:embed="rId6">
              <a:extLst>
                <a:ext uri="{28A0092B-C50C-407E-A947-70E740481C1C}">
                  <a14:useLocalDpi xmlns:a14="http://schemas.microsoft.com/office/drawing/2010/main" val="0"/>
                </a:ext>
              </a:extLst>
            </a:blip>
            <a:srcRect/>
            <a:stretch>
              <a:fillRect/>
            </a:stretch>
          </a:blipFill>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04" name="Rectangle: Rounded Corners 21503">
            <a:extLst>
              <a:ext uri="{FF2B5EF4-FFF2-40B4-BE49-F238E27FC236}">
                <a16:creationId xmlns:a16="http://schemas.microsoft.com/office/drawing/2014/main" id="{EBA3F504-7735-43F5-9E62-CE38EB5FF7A9}"/>
              </a:ext>
            </a:extLst>
          </p:cNvPr>
          <p:cNvSpPr/>
          <p:nvPr/>
        </p:nvSpPr>
        <p:spPr>
          <a:xfrm>
            <a:off x="8338807" y="5850464"/>
            <a:ext cx="932035" cy="495882"/>
          </a:xfrm>
          <a:prstGeom prst="roundRect">
            <a:avLst/>
          </a:prstGeom>
          <a:blipFill dpi="0" rotWithShape="1">
            <a:blip r:embed="rId7">
              <a:extLst>
                <a:ext uri="{28A0092B-C50C-407E-A947-70E740481C1C}">
                  <a14:useLocalDpi xmlns:a14="http://schemas.microsoft.com/office/drawing/2010/main" val="0"/>
                </a:ext>
              </a:extLst>
            </a:blip>
            <a:srcRect/>
            <a:stretch>
              <a:fillRect/>
            </a:stretch>
          </a:blip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05" name="TextBox 21504">
            <a:extLst>
              <a:ext uri="{FF2B5EF4-FFF2-40B4-BE49-F238E27FC236}">
                <a16:creationId xmlns:a16="http://schemas.microsoft.com/office/drawing/2014/main" id="{084CFCE8-BF54-4B91-8C90-58F3B3EF8FCB}"/>
              </a:ext>
            </a:extLst>
          </p:cNvPr>
          <p:cNvSpPr txBox="1"/>
          <p:nvPr/>
        </p:nvSpPr>
        <p:spPr>
          <a:xfrm>
            <a:off x="2052907" y="6539621"/>
            <a:ext cx="12344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Mobile</a:t>
            </a:r>
          </a:p>
        </p:txBody>
      </p:sp>
      <p:sp>
        <p:nvSpPr>
          <p:cNvPr id="65" name="TextBox 64">
            <a:extLst>
              <a:ext uri="{FF2B5EF4-FFF2-40B4-BE49-F238E27FC236}">
                <a16:creationId xmlns:a16="http://schemas.microsoft.com/office/drawing/2014/main" id="{60427DBF-5CD8-4140-993D-5F7D726EA5BA}"/>
              </a:ext>
            </a:extLst>
          </p:cNvPr>
          <p:cNvSpPr txBox="1"/>
          <p:nvPr/>
        </p:nvSpPr>
        <p:spPr>
          <a:xfrm>
            <a:off x="3049382" y="6513267"/>
            <a:ext cx="5439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Web</a:t>
            </a:r>
          </a:p>
        </p:txBody>
      </p:sp>
      <p:sp>
        <p:nvSpPr>
          <p:cNvPr id="67" name="TextBox 66">
            <a:extLst>
              <a:ext uri="{FF2B5EF4-FFF2-40B4-BE49-F238E27FC236}">
                <a16:creationId xmlns:a16="http://schemas.microsoft.com/office/drawing/2014/main" id="{5966C211-4DFA-40D1-AAF3-9C0127906749}"/>
              </a:ext>
            </a:extLst>
          </p:cNvPr>
          <p:cNvSpPr txBox="1"/>
          <p:nvPr/>
        </p:nvSpPr>
        <p:spPr>
          <a:xfrm>
            <a:off x="7244923" y="6318049"/>
            <a:ext cx="123442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Operational Reporting</a:t>
            </a:r>
          </a:p>
        </p:txBody>
      </p:sp>
      <p:sp>
        <p:nvSpPr>
          <p:cNvPr id="68" name="TextBox 67">
            <a:extLst>
              <a:ext uri="{FF2B5EF4-FFF2-40B4-BE49-F238E27FC236}">
                <a16:creationId xmlns:a16="http://schemas.microsoft.com/office/drawing/2014/main" id="{93AA2FE2-7760-49C6-BA23-92C0A4D32A1D}"/>
              </a:ext>
            </a:extLst>
          </p:cNvPr>
          <p:cNvSpPr txBox="1"/>
          <p:nvPr/>
        </p:nvSpPr>
        <p:spPr>
          <a:xfrm>
            <a:off x="8412545" y="6353797"/>
            <a:ext cx="123442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Case Management</a:t>
            </a:r>
          </a:p>
        </p:txBody>
      </p:sp>
      <p:sp>
        <p:nvSpPr>
          <p:cNvPr id="104" name="TextBox 103">
            <a:extLst>
              <a:ext uri="{FF2B5EF4-FFF2-40B4-BE49-F238E27FC236}">
                <a16:creationId xmlns:a16="http://schemas.microsoft.com/office/drawing/2014/main" id="{0C000371-D26F-4980-9199-1F0451F65370}"/>
              </a:ext>
            </a:extLst>
          </p:cNvPr>
          <p:cNvSpPr txBox="1"/>
          <p:nvPr/>
        </p:nvSpPr>
        <p:spPr>
          <a:xfrm>
            <a:off x="3908898" y="6492875"/>
            <a:ext cx="55266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IVR</a:t>
            </a:r>
          </a:p>
        </p:txBody>
      </p:sp>
      <p:sp>
        <p:nvSpPr>
          <p:cNvPr id="63" name="Rectangle: Rounded Corners 62">
            <a:extLst>
              <a:ext uri="{FF2B5EF4-FFF2-40B4-BE49-F238E27FC236}">
                <a16:creationId xmlns:a16="http://schemas.microsoft.com/office/drawing/2014/main" id="{BA9B5733-A4F0-458A-BC7C-88C2C141AFD8}"/>
              </a:ext>
            </a:extLst>
          </p:cNvPr>
          <p:cNvSpPr/>
          <p:nvPr/>
        </p:nvSpPr>
        <p:spPr>
          <a:xfrm>
            <a:off x="7554166" y="2963412"/>
            <a:ext cx="1892928" cy="614073"/>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PI Wrapped Analytical Models ( AI/ML)</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Rectangle: Rounded Corners 68">
            <a:extLst>
              <a:ext uri="{FF2B5EF4-FFF2-40B4-BE49-F238E27FC236}">
                <a16:creationId xmlns:a16="http://schemas.microsoft.com/office/drawing/2014/main" id="{D2D11F33-E9B4-4A23-B981-A79D8B62F7F4}"/>
              </a:ext>
            </a:extLst>
          </p:cNvPr>
          <p:cNvSpPr/>
          <p:nvPr/>
        </p:nvSpPr>
        <p:spPr>
          <a:xfrm>
            <a:off x="7581920" y="3671159"/>
            <a:ext cx="1892928" cy="614073"/>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eterministic Rules Engine</a:t>
            </a:r>
          </a:p>
        </p:txBody>
      </p:sp>
      <p:cxnSp>
        <p:nvCxnSpPr>
          <p:cNvPr id="21529" name="Straight Arrow Connector 21528">
            <a:extLst>
              <a:ext uri="{FF2B5EF4-FFF2-40B4-BE49-F238E27FC236}">
                <a16:creationId xmlns:a16="http://schemas.microsoft.com/office/drawing/2014/main" id="{34AE7E2C-4F8D-4C71-BC82-C669FC5D3F32}"/>
              </a:ext>
            </a:extLst>
          </p:cNvPr>
          <p:cNvCxnSpPr>
            <a:cxnSpLocks/>
            <a:endCxn id="12" idx="1"/>
          </p:cNvCxnSpPr>
          <p:nvPr/>
        </p:nvCxnSpPr>
        <p:spPr>
          <a:xfrm>
            <a:off x="4489335" y="1050968"/>
            <a:ext cx="711097" cy="28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531" name="Straight Arrow Connector 21530">
            <a:extLst>
              <a:ext uri="{FF2B5EF4-FFF2-40B4-BE49-F238E27FC236}">
                <a16:creationId xmlns:a16="http://schemas.microsoft.com/office/drawing/2014/main" id="{F73DC46D-B692-4EB7-9EF7-BB298FBB6727}"/>
              </a:ext>
            </a:extLst>
          </p:cNvPr>
          <p:cNvCxnSpPr>
            <a:cxnSpLocks/>
            <a:endCxn id="13" idx="1"/>
          </p:cNvCxnSpPr>
          <p:nvPr/>
        </p:nvCxnSpPr>
        <p:spPr>
          <a:xfrm flipV="1">
            <a:off x="4489335" y="1954599"/>
            <a:ext cx="732945" cy="4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6870FA36-76A2-4BF7-A3CD-651CF66AC466}"/>
              </a:ext>
            </a:extLst>
          </p:cNvPr>
          <p:cNvCxnSpPr>
            <a:stCxn id="12" idx="3"/>
            <a:endCxn id="14" idx="1"/>
          </p:cNvCxnSpPr>
          <p:nvPr/>
        </p:nvCxnSpPr>
        <p:spPr>
          <a:xfrm flipV="1">
            <a:off x="6274223" y="1050835"/>
            <a:ext cx="508314" cy="29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BFD43DA-01C9-4245-AF8D-B4BA8FE43CD9}"/>
              </a:ext>
            </a:extLst>
          </p:cNvPr>
          <p:cNvCxnSpPr>
            <a:cxnSpLocks/>
            <a:stCxn id="13" idx="3"/>
            <a:endCxn id="15" idx="1"/>
          </p:cNvCxnSpPr>
          <p:nvPr/>
        </p:nvCxnSpPr>
        <p:spPr>
          <a:xfrm flipV="1">
            <a:off x="6296071" y="1953359"/>
            <a:ext cx="487897" cy="12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52E8F7D-5F32-449D-B8E7-831C644AF15A}"/>
              </a:ext>
            </a:extLst>
          </p:cNvPr>
          <p:cNvCxnSpPr>
            <a:stCxn id="14" idx="2"/>
            <a:endCxn id="15" idx="0"/>
          </p:cNvCxnSpPr>
          <p:nvPr/>
        </p:nvCxnSpPr>
        <p:spPr>
          <a:xfrm>
            <a:off x="7319433" y="1332236"/>
            <a:ext cx="1431" cy="3506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A6C77B34-113B-4584-88BD-2C558B464F23}"/>
              </a:ext>
            </a:extLst>
          </p:cNvPr>
          <p:cNvSpPr/>
          <p:nvPr/>
        </p:nvSpPr>
        <p:spPr>
          <a:xfrm>
            <a:off x="1236759" y="584738"/>
            <a:ext cx="508914" cy="1728211"/>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Data Acquisition</a:t>
            </a:r>
          </a:p>
        </p:txBody>
      </p:sp>
      <p:sp>
        <p:nvSpPr>
          <p:cNvPr id="138" name="Rectangle 137">
            <a:extLst>
              <a:ext uri="{FF2B5EF4-FFF2-40B4-BE49-F238E27FC236}">
                <a16:creationId xmlns:a16="http://schemas.microsoft.com/office/drawing/2014/main" id="{324B22C8-B2E2-48EA-AB91-5AA9460FE9C2}"/>
              </a:ext>
            </a:extLst>
          </p:cNvPr>
          <p:cNvSpPr/>
          <p:nvPr/>
        </p:nvSpPr>
        <p:spPr>
          <a:xfrm>
            <a:off x="1319445" y="4616063"/>
            <a:ext cx="414352" cy="873124"/>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rPr>
              <a:t>Data Distrib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rPr>
              <a:t>Layer </a:t>
            </a:r>
          </a:p>
        </p:txBody>
      </p:sp>
      <p:sp>
        <p:nvSpPr>
          <p:cNvPr id="149" name="Rectangle: Rounded Corners 148">
            <a:extLst>
              <a:ext uri="{FF2B5EF4-FFF2-40B4-BE49-F238E27FC236}">
                <a16:creationId xmlns:a16="http://schemas.microsoft.com/office/drawing/2014/main" id="{0C83935D-7878-4FAD-BCE5-39B3FEB7CBB6}"/>
              </a:ext>
            </a:extLst>
          </p:cNvPr>
          <p:cNvSpPr/>
          <p:nvPr/>
        </p:nvSpPr>
        <p:spPr>
          <a:xfrm>
            <a:off x="3152583" y="1391058"/>
            <a:ext cx="1275126" cy="358924"/>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ACAPS</a:t>
            </a:r>
          </a:p>
        </p:txBody>
      </p:sp>
      <p:grpSp>
        <p:nvGrpSpPr>
          <p:cNvPr id="150" name="Group 149">
            <a:extLst>
              <a:ext uri="{FF2B5EF4-FFF2-40B4-BE49-F238E27FC236}">
                <a16:creationId xmlns:a16="http://schemas.microsoft.com/office/drawing/2014/main" id="{B16F493A-1526-416B-BD51-976D42552E9E}"/>
              </a:ext>
            </a:extLst>
          </p:cNvPr>
          <p:cNvGrpSpPr/>
          <p:nvPr/>
        </p:nvGrpSpPr>
        <p:grpSpPr>
          <a:xfrm>
            <a:off x="3139198" y="902107"/>
            <a:ext cx="1275124" cy="359955"/>
            <a:chOff x="1424720" y="424676"/>
            <a:chExt cx="1275124" cy="421833"/>
          </a:xfrm>
        </p:grpSpPr>
        <p:sp>
          <p:nvSpPr>
            <p:cNvPr id="151" name="Rectangle: Rounded Corners 150">
              <a:extLst>
                <a:ext uri="{FF2B5EF4-FFF2-40B4-BE49-F238E27FC236}">
                  <a16:creationId xmlns:a16="http://schemas.microsoft.com/office/drawing/2014/main" id="{19FED01F-BBA0-485C-9A4E-BA2DF1566F85}"/>
                </a:ext>
              </a:extLst>
            </p:cNvPr>
            <p:cNvSpPr/>
            <p:nvPr/>
          </p:nvSpPr>
          <p:spPr>
            <a:xfrm>
              <a:off x="1424720" y="424676"/>
              <a:ext cx="1275124" cy="421833"/>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2" name="Picture 2">
              <a:extLst>
                <a:ext uri="{FF2B5EF4-FFF2-40B4-BE49-F238E27FC236}">
                  <a16:creationId xmlns:a16="http://schemas.microsoft.com/office/drawing/2014/main" id="{B8FF5EDA-6169-41E0-9CE4-A4F69D5193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68451" y="492910"/>
              <a:ext cx="593329" cy="298629"/>
            </a:xfrm>
            <a:prstGeom prst="rect">
              <a:avLst/>
            </a:prstGeom>
            <a:noFill/>
            <a:extLst>
              <a:ext uri="{909E8E84-426E-40DD-AFC4-6F175D3DCCD1}">
                <a14:hiddenFill xmlns:a14="http://schemas.microsoft.com/office/drawing/2010/main">
                  <a:solidFill>
                    <a:srgbClr val="FFFFFF"/>
                  </a:solidFill>
                </a14:hiddenFill>
              </a:ext>
            </a:extLst>
          </p:spPr>
        </p:pic>
      </p:grpSp>
      <p:sp>
        <p:nvSpPr>
          <p:cNvPr id="153" name="Rectangle: Rounded Corners 152">
            <a:extLst>
              <a:ext uri="{FF2B5EF4-FFF2-40B4-BE49-F238E27FC236}">
                <a16:creationId xmlns:a16="http://schemas.microsoft.com/office/drawing/2014/main" id="{5B11057F-E0EC-4FAB-BB8A-6808AFCB23B4}"/>
              </a:ext>
            </a:extLst>
          </p:cNvPr>
          <p:cNvSpPr/>
          <p:nvPr/>
        </p:nvSpPr>
        <p:spPr>
          <a:xfrm>
            <a:off x="3135558" y="1866652"/>
            <a:ext cx="1275126" cy="358924"/>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Other Data Sources</a:t>
            </a:r>
          </a:p>
        </p:txBody>
      </p:sp>
      <p:sp>
        <p:nvSpPr>
          <p:cNvPr id="154" name="Rectangle: Rounded Corners 153">
            <a:extLst>
              <a:ext uri="{FF2B5EF4-FFF2-40B4-BE49-F238E27FC236}">
                <a16:creationId xmlns:a16="http://schemas.microsoft.com/office/drawing/2014/main" id="{0FCF8FC5-115D-49F7-8CCF-CFF85D268793}"/>
              </a:ext>
            </a:extLst>
          </p:cNvPr>
          <p:cNvSpPr/>
          <p:nvPr/>
        </p:nvSpPr>
        <p:spPr>
          <a:xfrm>
            <a:off x="3082869" y="611990"/>
            <a:ext cx="1383363" cy="1648691"/>
          </a:xfrm>
          <a:prstGeom prst="roundRect">
            <a:avLst/>
          </a:prstGeom>
          <a:noFill/>
          <a:ln w="9525" cap="flat" cmpd="sng" algn="ctr">
            <a:solidFill>
              <a:srgbClr val="4701A7"/>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Data Sources</a:t>
            </a:r>
          </a:p>
        </p:txBody>
      </p:sp>
      <p:sp>
        <p:nvSpPr>
          <p:cNvPr id="110" name="TextBox 109">
            <a:extLst>
              <a:ext uri="{FF2B5EF4-FFF2-40B4-BE49-F238E27FC236}">
                <a16:creationId xmlns:a16="http://schemas.microsoft.com/office/drawing/2014/main" id="{61FE4910-4BE2-406D-A745-B9009957F275}"/>
              </a:ext>
            </a:extLst>
          </p:cNvPr>
          <p:cNvSpPr txBox="1"/>
          <p:nvPr/>
        </p:nvSpPr>
        <p:spPr>
          <a:xfrm>
            <a:off x="4630195" y="1000474"/>
            <a:ext cx="524327" cy="2098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Calibri" panose="020F0502020204030204"/>
                <a:ea typeface="+mn-ea"/>
                <a:cs typeface="+mn-cs"/>
              </a:rPr>
              <a:t>Batch</a:t>
            </a:r>
          </a:p>
        </p:txBody>
      </p:sp>
      <p:sp>
        <p:nvSpPr>
          <p:cNvPr id="157" name="TextBox 156">
            <a:extLst>
              <a:ext uri="{FF2B5EF4-FFF2-40B4-BE49-F238E27FC236}">
                <a16:creationId xmlns:a16="http://schemas.microsoft.com/office/drawing/2014/main" id="{F607DC95-4D57-4134-874D-548AAAE69868}"/>
              </a:ext>
            </a:extLst>
          </p:cNvPr>
          <p:cNvSpPr txBox="1"/>
          <p:nvPr/>
        </p:nvSpPr>
        <p:spPr>
          <a:xfrm>
            <a:off x="4616342" y="1925782"/>
            <a:ext cx="524327" cy="3357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Calibri" panose="020F0502020204030204"/>
                <a:ea typeface="+mn-ea"/>
                <a:cs typeface="+mn-cs"/>
              </a:rPr>
              <a:t>Real-time</a:t>
            </a:r>
          </a:p>
        </p:txBody>
      </p:sp>
      <p:sp>
        <p:nvSpPr>
          <p:cNvPr id="158" name="Arrow: Right 157">
            <a:extLst>
              <a:ext uri="{FF2B5EF4-FFF2-40B4-BE49-F238E27FC236}">
                <a16:creationId xmlns:a16="http://schemas.microsoft.com/office/drawing/2014/main" id="{5BC65A1F-C153-4668-B0D9-29CBD76C8A80}"/>
              </a:ext>
            </a:extLst>
          </p:cNvPr>
          <p:cNvSpPr/>
          <p:nvPr/>
        </p:nvSpPr>
        <p:spPr>
          <a:xfrm rot="5400000">
            <a:off x="4879096" y="2357393"/>
            <a:ext cx="328877" cy="316989"/>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59" name="Arrow: Up-Down 158">
            <a:extLst>
              <a:ext uri="{FF2B5EF4-FFF2-40B4-BE49-F238E27FC236}">
                <a16:creationId xmlns:a16="http://schemas.microsoft.com/office/drawing/2014/main" id="{CB38EB3E-D24F-4BBC-A6C6-1C3246885B61}"/>
              </a:ext>
            </a:extLst>
          </p:cNvPr>
          <p:cNvSpPr/>
          <p:nvPr/>
        </p:nvSpPr>
        <p:spPr>
          <a:xfrm rot="5400000">
            <a:off x="7097522" y="3313297"/>
            <a:ext cx="280638" cy="400900"/>
          </a:xfrm>
          <a:prstGeom prst="up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61" name="Arrow: Right 160">
            <a:extLst>
              <a:ext uri="{FF2B5EF4-FFF2-40B4-BE49-F238E27FC236}">
                <a16:creationId xmlns:a16="http://schemas.microsoft.com/office/drawing/2014/main" id="{58B29D68-C212-4882-AEC4-B1EED248300D}"/>
              </a:ext>
            </a:extLst>
          </p:cNvPr>
          <p:cNvSpPr/>
          <p:nvPr/>
        </p:nvSpPr>
        <p:spPr>
          <a:xfrm rot="10800000">
            <a:off x="2549446" y="3373428"/>
            <a:ext cx="482036" cy="316989"/>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nvGrpSpPr>
          <p:cNvPr id="3" name="Group 2">
            <a:extLst>
              <a:ext uri="{FF2B5EF4-FFF2-40B4-BE49-F238E27FC236}">
                <a16:creationId xmlns:a16="http://schemas.microsoft.com/office/drawing/2014/main" id="{C4B13964-642D-4F8F-BB9D-E136DC1C02B6}"/>
              </a:ext>
            </a:extLst>
          </p:cNvPr>
          <p:cNvGrpSpPr/>
          <p:nvPr/>
        </p:nvGrpSpPr>
        <p:grpSpPr>
          <a:xfrm>
            <a:off x="1236758" y="2663097"/>
            <a:ext cx="1269213" cy="1824708"/>
            <a:chOff x="1236758" y="2733433"/>
            <a:chExt cx="1269213" cy="1824708"/>
          </a:xfrm>
        </p:grpSpPr>
        <p:sp>
          <p:nvSpPr>
            <p:cNvPr id="116" name="Rectangle 115">
              <a:extLst>
                <a:ext uri="{FF2B5EF4-FFF2-40B4-BE49-F238E27FC236}">
                  <a16:creationId xmlns:a16="http://schemas.microsoft.com/office/drawing/2014/main" id="{3CF8B44F-9BEC-44D4-B694-A6D1BCACAFC5}"/>
                </a:ext>
              </a:extLst>
            </p:cNvPr>
            <p:cNvSpPr/>
            <p:nvPr/>
          </p:nvSpPr>
          <p:spPr>
            <a:xfrm>
              <a:off x="1236758" y="2733433"/>
              <a:ext cx="1269213" cy="1824708"/>
            </a:xfrm>
            <a:prstGeom prst="rect">
              <a:avLst/>
            </a:prstGeom>
            <a:solidFill>
              <a:srgbClr val="ADB9CA"/>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Data Exploration</a:t>
              </a:r>
            </a:p>
          </p:txBody>
        </p:sp>
        <p:sp>
          <p:nvSpPr>
            <p:cNvPr id="62" name="Rectangle: Rounded Corners 61">
              <a:extLst>
                <a:ext uri="{FF2B5EF4-FFF2-40B4-BE49-F238E27FC236}">
                  <a16:creationId xmlns:a16="http://schemas.microsoft.com/office/drawing/2014/main" id="{C54036F4-C2FC-4903-9F84-769E1CBCB7B0}"/>
                </a:ext>
              </a:extLst>
            </p:cNvPr>
            <p:cNvSpPr/>
            <p:nvPr/>
          </p:nvSpPr>
          <p:spPr>
            <a:xfrm>
              <a:off x="1373581" y="2961059"/>
              <a:ext cx="1073791" cy="524719"/>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nalytical database</a:t>
              </a:r>
            </a:p>
          </p:txBody>
        </p:sp>
        <p:sp>
          <p:nvSpPr>
            <p:cNvPr id="118" name="Rectangle: Rounded Corners 117">
              <a:extLst>
                <a:ext uri="{FF2B5EF4-FFF2-40B4-BE49-F238E27FC236}">
                  <a16:creationId xmlns:a16="http://schemas.microsoft.com/office/drawing/2014/main" id="{A9A6AD3F-E368-4CEE-8856-419B66A14A72}"/>
                </a:ext>
              </a:extLst>
            </p:cNvPr>
            <p:cNvSpPr/>
            <p:nvPr/>
          </p:nvSpPr>
          <p:spPr>
            <a:xfrm>
              <a:off x="1357281" y="3787001"/>
              <a:ext cx="1073791" cy="716214"/>
            </a:xfrm>
            <a:prstGeom prst="roundRect">
              <a:avLst/>
            </a:prstGeom>
            <a:solidFill>
              <a:schemeClr val="bg1"/>
            </a:solidFill>
            <a:ln>
              <a:solidFill>
                <a:schemeClr val="accent3">
                  <a:alpha val="10000"/>
                </a:schemeClr>
              </a:solidFill>
            </a:ln>
          </p:spPr>
          <p:style>
            <a:lnRef idx="2">
              <a:schemeClr val="accent3"/>
            </a:lnRef>
            <a:fillRef idx="1">
              <a:schemeClr val="lt1"/>
            </a:fillRef>
            <a:effectRef idx="0">
              <a:schemeClr val="accent3"/>
            </a:effectRef>
            <a:fontRef idx="minor">
              <a:schemeClr val="dk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Work Bench</a:t>
              </a:r>
            </a:p>
          </p:txBody>
        </p:sp>
        <p:pic>
          <p:nvPicPr>
            <p:cNvPr id="142" name="Picture 20" descr="Image result for data science">
              <a:extLst>
                <a:ext uri="{FF2B5EF4-FFF2-40B4-BE49-F238E27FC236}">
                  <a16:creationId xmlns:a16="http://schemas.microsoft.com/office/drawing/2014/main" id="{CF84AE49-D630-402C-A445-6D31EDD033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48923" y="3860890"/>
              <a:ext cx="897114" cy="311035"/>
            </a:xfrm>
            <a:prstGeom prst="rect">
              <a:avLst/>
            </a:prstGeom>
            <a:noFill/>
            <a:extLst>
              <a:ext uri="{909E8E84-426E-40DD-AFC4-6F175D3DCCD1}">
                <a14:hiddenFill xmlns:a14="http://schemas.microsoft.com/office/drawing/2010/main">
                  <a:solidFill>
                    <a:srgbClr val="FFFFFF"/>
                  </a:solidFill>
                </a14:hiddenFill>
              </a:ext>
            </a:extLst>
          </p:spPr>
        </p:pic>
        <p:sp>
          <p:nvSpPr>
            <p:cNvPr id="162" name="Arrow: Up-Down 161">
              <a:extLst>
                <a:ext uri="{FF2B5EF4-FFF2-40B4-BE49-F238E27FC236}">
                  <a16:creationId xmlns:a16="http://schemas.microsoft.com/office/drawing/2014/main" id="{71320983-B065-4740-8977-B3A2D6107776}"/>
                </a:ext>
              </a:extLst>
            </p:cNvPr>
            <p:cNvSpPr/>
            <p:nvPr/>
          </p:nvSpPr>
          <p:spPr>
            <a:xfrm rot="10800000">
              <a:off x="1752509" y="3485777"/>
              <a:ext cx="280638" cy="315086"/>
            </a:xfrm>
            <a:prstGeom prst="up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grpSp>
      <p:sp>
        <p:nvSpPr>
          <p:cNvPr id="163" name="Arrow: Up-Down 162">
            <a:extLst>
              <a:ext uri="{FF2B5EF4-FFF2-40B4-BE49-F238E27FC236}">
                <a16:creationId xmlns:a16="http://schemas.microsoft.com/office/drawing/2014/main" id="{074949B7-D7A0-4022-8B13-97325CAB75AF}"/>
              </a:ext>
            </a:extLst>
          </p:cNvPr>
          <p:cNvSpPr/>
          <p:nvPr/>
        </p:nvSpPr>
        <p:spPr>
          <a:xfrm>
            <a:off x="4031425" y="4373802"/>
            <a:ext cx="314587" cy="376553"/>
          </a:xfrm>
          <a:prstGeom prst="up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64" name="Arrow: Up-Down 163">
            <a:extLst>
              <a:ext uri="{FF2B5EF4-FFF2-40B4-BE49-F238E27FC236}">
                <a16:creationId xmlns:a16="http://schemas.microsoft.com/office/drawing/2014/main" id="{2FC85531-9B1A-4E71-9FCB-2881137EDE2F}"/>
              </a:ext>
            </a:extLst>
          </p:cNvPr>
          <p:cNvSpPr/>
          <p:nvPr/>
        </p:nvSpPr>
        <p:spPr>
          <a:xfrm>
            <a:off x="5863232" y="4369445"/>
            <a:ext cx="314587" cy="400991"/>
          </a:xfrm>
          <a:prstGeom prst="up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65" name="Arrow: Right 164">
            <a:extLst>
              <a:ext uri="{FF2B5EF4-FFF2-40B4-BE49-F238E27FC236}">
                <a16:creationId xmlns:a16="http://schemas.microsoft.com/office/drawing/2014/main" id="{C8F33763-130F-482C-A39E-41910073657D}"/>
              </a:ext>
            </a:extLst>
          </p:cNvPr>
          <p:cNvSpPr/>
          <p:nvPr/>
        </p:nvSpPr>
        <p:spPr>
          <a:xfrm rot="5400000">
            <a:off x="8410131" y="4379149"/>
            <a:ext cx="376554" cy="316989"/>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13" name="AutoShape 2" descr="Image result for conversational UI icons">
            <a:extLst>
              <a:ext uri="{FF2B5EF4-FFF2-40B4-BE49-F238E27FC236}">
                <a16:creationId xmlns:a16="http://schemas.microsoft.com/office/drawing/2014/main" id="{11DC36C9-9DEB-441B-8684-5AA61201CC64}"/>
              </a:ext>
            </a:extLst>
          </p:cNvPr>
          <p:cNvSpPr>
            <a:spLocks noChangeAspect="1" noChangeArrowheads="1"/>
          </p:cNvSpPr>
          <p:nvPr/>
        </p:nvSpPr>
        <p:spPr bwMode="auto">
          <a:xfrm>
            <a:off x="4807527" y="30677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AutoShape 4" descr="Image result for conversational UI icons">
            <a:extLst>
              <a:ext uri="{FF2B5EF4-FFF2-40B4-BE49-F238E27FC236}">
                <a16:creationId xmlns:a16="http://schemas.microsoft.com/office/drawing/2014/main" id="{92FA30B0-D184-4FCB-8839-EC358E8F43EF}"/>
              </a:ext>
            </a:extLst>
          </p:cNvPr>
          <p:cNvSpPr>
            <a:spLocks noChangeAspect="1" noChangeArrowheads="1"/>
          </p:cNvSpPr>
          <p:nvPr/>
        </p:nvSpPr>
        <p:spPr bwMode="auto">
          <a:xfrm>
            <a:off x="3082135" y="1615236"/>
            <a:ext cx="41563" cy="438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6326" name="Picture 6" descr="Image result for conversational UI vector">
            <a:extLst>
              <a:ext uri="{FF2B5EF4-FFF2-40B4-BE49-F238E27FC236}">
                <a16:creationId xmlns:a16="http://schemas.microsoft.com/office/drawing/2014/main" id="{2481566C-0B20-4E70-B879-8F7E354E7049}"/>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artisticPhotocopy/>
                    </a14:imgEffect>
                    <a14:imgEffect>
                      <a14:colorTemperature colorTemp="4700"/>
                    </a14:imgEffect>
                  </a14:imgLayer>
                </a14:imgProps>
              </a:ext>
              <a:ext uri="{28A0092B-C50C-407E-A947-70E740481C1C}">
                <a14:useLocalDpi xmlns:a14="http://schemas.microsoft.com/office/drawing/2010/main" val="0"/>
              </a:ext>
            </a:extLst>
          </a:blip>
          <a:srcRect b="13172"/>
          <a:stretch/>
        </p:blipFill>
        <p:spPr bwMode="auto">
          <a:xfrm>
            <a:off x="4513458" y="5978493"/>
            <a:ext cx="616169" cy="551892"/>
          </a:xfrm>
          <a:prstGeom prst="rect">
            <a:avLst/>
          </a:prstGeom>
          <a:noFill/>
          <a:extLst>
            <a:ext uri="{909E8E84-426E-40DD-AFC4-6F175D3DCCD1}">
              <a14:hiddenFill xmlns:a14="http://schemas.microsoft.com/office/drawing/2010/main">
                <a:solidFill>
                  <a:srgbClr val="FFFFFF"/>
                </a:solidFill>
              </a14:hiddenFill>
            </a:ext>
          </a:extLst>
        </p:spPr>
      </p:pic>
      <p:sp>
        <p:nvSpPr>
          <p:cNvPr id="173" name="TextBox 172">
            <a:extLst>
              <a:ext uri="{FF2B5EF4-FFF2-40B4-BE49-F238E27FC236}">
                <a16:creationId xmlns:a16="http://schemas.microsoft.com/office/drawing/2014/main" id="{DF192BEA-BE66-43AD-B762-7DAC78A637A3}"/>
              </a:ext>
            </a:extLst>
          </p:cNvPr>
          <p:cNvSpPr txBox="1"/>
          <p:nvPr/>
        </p:nvSpPr>
        <p:spPr>
          <a:xfrm>
            <a:off x="4421513" y="6497494"/>
            <a:ext cx="81792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rPr>
              <a:t>Conversational UI</a:t>
            </a:r>
          </a:p>
        </p:txBody>
      </p:sp>
      <p:sp>
        <p:nvSpPr>
          <p:cNvPr id="119" name="Rectangle 118">
            <a:extLst>
              <a:ext uri="{FF2B5EF4-FFF2-40B4-BE49-F238E27FC236}">
                <a16:creationId xmlns:a16="http://schemas.microsoft.com/office/drawing/2014/main" id="{329E6EFF-0778-4706-BD44-CAD6D855D768}"/>
              </a:ext>
            </a:extLst>
          </p:cNvPr>
          <p:cNvSpPr/>
          <p:nvPr/>
        </p:nvSpPr>
        <p:spPr>
          <a:xfrm>
            <a:off x="1809524" y="5824455"/>
            <a:ext cx="233964" cy="9321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Channels</a:t>
            </a:r>
          </a:p>
        </p:txBody>
      </p:sp>
      <p:sp>
        <p:nvSpPr>
          <p:cNvPr id="175" name="Arrow: Up-Down 174">
            <a:extLst>
              <a:ext uri="{FF2B5EF4-FFF2-40B4-BE49-F238E27FC236}">
                <a16:creationId xmlns:a16="http://schemas.microsoft.com/office/drawing/2014/main" id="{481C252C-A5B1-457D-B2EF-D99038642EFB}"/>
              </a:ext>
            </a:extLst>
          </p:cNvPr>
          <p:cNvSpPr/>
          <p:nvPr/>
        </p:nvSpPr>
        <p:spPr>
          <a:xfrm>
            <a:off x="5550807" y="5485035"/>
            <a:ext cx="314587" cy="346841"/>
          </a:xfrm>
          <a:prstGeom prst="up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76" name="Rectangle 175">
            <a:extLst>
              <a:ext uri="{FF2B5EF4-FFF2-40B4-BE49-F238E27FC236}">
                <a16:creationId xmlns:a16="http://schemas.microsoft.com/office/drawing/2014/main" id="{D0CEBA8D-51A9-451F-886B-514517E8DEB8}"/>
              </a:ext>
            </a:extLst>
          </p:cNvPr>
          <p:cNvSpPr/>
          <p:nvPr/>
        </p:nvSpPr>
        <p:spPr>
          <a:xfrm>
            <a:off x="6808994" y="5831876"/>
            <a:ext cx="248525" cy="90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Applications</a:t>
            </a:r>
          </a:p>
        </p:txBody>
      </p:sp>
      <p:sp>
        <p:nvSpPr>
          <p:cNvPr id="177" name="Rectangle 176">
            <a:extLst>
              <a:ext uri="{FF2B5EF4-FFF2-40B4-BE49-F238E27FC236}">
                <a16:creationId xmlns:a16="http://schemas.microsoft.com/office/drawing/2014/main" id="{DBADE317-E06F-4822-92D2-4C53016150F0}"/>
              </a:ext>
            </a:extLst>
          </p:cNvPr>
          <p:cNvSpPr/>
          <p:nvPr/>
        </p:nvSpPr>
        <p:spPr>
          <a:xfrm>
            <a:off x="5305479" y="5824455"/>
            <a:ext cx="1450512" cy="932138"/>
          </a:xfrm>
          <a:prstGeom prst="rect">
            <a:avLst/>
          </a:prstGeom>
          <a:solidFill>
            <a:srgbClr val="2F55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Rectangle: Rounded Corners 119">
            <a:extLst>
              <a:ext uri="{FF2B5EF4-FFF2-40B4-BE49-F238E27FC236}">
                <a16:creationId xmlns:a16="http://schemas.microsoft.com/office/drawing/2014/main" id="{7FF8AB33-6744-48C6-A1C5-C31352F0BC58}"/>
              </a:ext>
            </a:extLst>
          </p:cNvPr>
          <p:cNvSpPr/>
          <p:nvPr/>
        </p:nvSpPr>
        <p:spPr>
          <a:xfrm>
            <a:off x="5371343" y="5890472"/>
            <a:ext cx="621533" cy="45203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Data Analysts</a:t>
            </a:r>
          </a:p>
        </p:txBody>
      </p:sp>
      <p:sp>
        <p:nvSpPr>
          <p:cNvPr id="179" name="Rectangle: Rounded Corners 178">
            <a:extLst>
              <a:ext uri="{FF2B5EF4-FFF2-40B4-BE49-F238E27FC236}">
                <a16:creationId xmlns:a16="http://schemas.microsoft.com/office/drawing/2014/main" id="{DE668458-AD65-4C74-8EEE-BB6E40467028}"/>
              </a:ext>
            </a:extLst>
          </p:cNvPr>
          <p:cNvSpPr/>
          <p:nvPr/>
        </p:nvSpPr>
        <p:spPr>
          <a:xfrm>
            <a:off x="6043922" y="5890472"/>
            <a:ext cx="634920" cy="45203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Data Scientists</a:t>
            </a:r>
          </a:p>
        </p:txBody>
      </p:sp>
      <p:sp>
        <p:nvSpPr>
          <p:cNvPr id="180" name="Rectangle: Rounded Corners 179">
            <a:extLst>
              <a:ext uri="{FF2B5EF4-FFF2-40B4-BE49-F238E27FC236}">
                <a16:creationId xmlns:a16="http://schemas.microsoft.com/office/drawing/2014/main" id="{E5C96DBF-2ECA-4D29-8E60-4E37A0EED85E}"/>
              </a:ext>
            </a:extLst>
          </p:cNvPr>
          <p:cNvSpPr/>
          <p:nvPr/>
        </p:nvSpPr>
        <p:spPr>
          <a:xfrm>
            <a:off x="5378398" y="6373390"/>
            <a:ext cx="1313049" cy="35056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Operational Reporting</a:t>
            </a:r>
          </a:p>
        </p:txBody>
      </p:sp>
      <p:sp>
        <p:nvSpPr>
          <p:cNvPr id="181" name="Rectangle 180">
            <a:extLst>
              <a:ext uri="{FF2B5EF4-FFF2-40B4-BE49-F238E27FC236}">
                <a16:creationId xmlns:a16="http://schemas.microsoft.com/office/drawing/2014/main" id="{63103CAF-A0C6-420F-8594-D6C37A9A857B}"/>
              </a:ext>
            </a:extLst>
          </p:cNvPr>
          <p:cNvSpPr/>
          <p:nvPr/>
        </p:nvSpPr>
        <p:spPr>
          <a:xfrm>
            <a:off x="1231174" y="5828373"/>
            <a:ext cx="414352" cy="932137"/>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rPr>
              <a:t>Data Consump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rPr>
              <a:t>Layer </a:t>
            </a:r>
          </a:p>
        </p:txBody>
      </p:sp>
      <p:sp>
        <p:nvSpPr>
          <p:cNvPr id="121" name="Rectangle 120">
            <a:extLst>
              <a:ext uri="{FF2B5EF4-FFF2-40B4-BE49-F238E27FC236}">
                <a16:creationId xmlns:a16="http://schemas.microsoft.com/office/drawing/2014/main" id="{FB3C215F-4D50-4DB0-B9D3-0381C1484886}"/>
              </a:ext>
            </a:extLst>
          </p:cNvPr>
          <p:cNvSpPr/>
          <p:nvPr/>
        </p:nvSpPr>
        <p:spPr>
          <a:xfrm>
            <a:off x="10127755" y="575373"/>
            <a:ext cx="804560" cy="61485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3" name="Arrow: Up-Down 182">
            <a:extLst>
              <a:ext uri="{FF2B5EF4-FFF2-40B4-BE49-F238E27FC236}">
                <a16:creationId xmlns:a16="http://schemas.microsoft.com/office/drawing/2014/main" id="{5693FE93-1E80-4BCB-8CD1-9DC4C2F0030A}"/>
              </a:ext>
            </a:extLst>
          </p:cNvPr>
          <p:cNvSpPr/>
          <p:nvPr/>
        </p:nvSpPr>
        <p:spPr>
          <a:xfrm rot="5400000">
            <a:off x="9686377" y="1092251"/>
            <a:ext cx="280638" cy="485576"/>
          </a:xfrm>
          <a:prstGeom prst="up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84" name="Arrow: Up-Down 183">
            <a:extLst>
              <a:ext uri="{FF2B5EF4-FFF2-40B4-BE49-F238E27FC236}">
                <a16:creationId xmlns:a16="http://schemas.microsoft.com/office/drawing/2014/main" id="{D847DAA9-0D2B-4F07-95C2-7D4F94C10ADA}"/>
              </a:ext>
            </a:extLst>
          </p:cNvPr>
          <p:cNvSpPr/>
          <p:nvPr/>
        </p:nvSpPr>
        <p:spPr>
          <a:xfrm rot="5400000">
            <a:off x="9686377" y="3270959"/>
            <a:ext cx="280638" cy="485576"/>
          </a:xfrm>
          <a:prstGeom prst="up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sp>
        <p:nvSpPr>
          <p:cNvPr id="185" name="Arrow: Up-Down 184">
            <a:extLst>
              <a:ext uri="{FF2B5EF4-FFF2-40B4-BE49-F238E27FC236}">
                <a16:creationId xmlns:a16="http://schemas.microsoft.com/office/drawing/2014/main" id="{76E315A9-7E75-47B4-81DE-D7013C257837}"/>
              </a:ext>
            </a:extLst>
          </p:cNvPr>
          <p:cNvSpPr/>
          <p:nvPr/>
        </p:nvSpPr>
        <p:spPr>
          <a:xfrm rot="5400000">
            <a:off x="9721545" y="4828776"/>
            <a:ext cx="280638" cy="485576"/>
          </a:xfrm>
          <a:prstGeom prst="upDown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Verdana"/>
              <a:ea typeface="+mn-ea"/>
              <a:cs typeface="+mn-cs"/>
            </a:endParaRPr>
          </a:p>
        </p:txBody>
      </p:sp>
      <p:pic>
        <p:nvPicPr>
          <p:cNvPr id="56332" name="Picture 12" descr="Image result for kafka message broker vector">
            <a:extLst>
              <a:ext uri="{FF2B5EF4-FFF2-40B4-BE49-F238E27FC236}">
                <a16:creationId xmlns:a16="http://schemas.microsoft.com/office/drawing/2014/main" id="{48620AB5-489F-438C-AFA6-35E796880CA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6200000">
            <a:off x="10139252" y="5423901"/>
            <a:ext cx="781570" cy="80456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8C25081-1740-459D-940B-A6E51E68F1F4}"/>
              </a:ext>
            </a:extLst>
          </p:cNvPr>
          <p:cNvSpPr txBox="1"/>
          <p:nvPr/>
        </p:nvSpPr>
        <p:spPr>
          <a:xfrm rot="5400000">
            <a:off x="8146934" y="2481183"/>
            <a:ext cx="4607974" cy="646331"/>
          </a:xfrm>
          <a:prstGeom prst="rect">
            <a:avLst/>
          </a:prstGeom>
          <a:noFill/>
        </p:spPr>
        <p:txBody>
          <a:bodyPr wrap="square" rtlCol="0">
            <a:spAutoFit/>
          </a:bodyPr>
          <a:lstStyle/>
          <a:p>
            <a:pPr algn="ctr"/>
            <a:r>
              <a:rPr lang="en-US" b="1" dirty="0">
                <a:solidFill>
                  <a:prstClr val="white"/>
                </a:solidFill>
              </a:rPr>
              <a:t>High throughput, low latency message broker </a:t>
            </a:r>
          </a:p>
          <a:p>
            <a:endParaRPr lang="en-US" dirty="0"/>
          </a:p>
        </p:txBody>
      </p:sp>
      <p:sp>
        <p:nvSpPr>
          <p:cNvPr id="86" name="Title 3">
            <a:extLst>
              <a:ext uri="{FF2B5EF4-FFF2-40B4-BE49-F238E27FC236}">
                <a16:creationId xmlns:a16="http://schemas.microsoft.com/office/drawing/2014/main" id="{AA845236-D790-43AA-BC1F-162394AF4BA5}"/>
              </a:ext>
            </a:extLst>
          </p:cNvPr>
          <p:cNvSpPr txBox="1">
            <a:spLocks/>
          </p:cNvSpPr>
          <p:nvPr/>
        </p:nvSpPr>
        <p:spPr>
          <a:xfrm>
            <a:off x="-232768" y="-159892"/>
            <a:ext cx="12192000" cy="897460"/>
          </a:xfrm>
          <a:prstGeom prst="rect">
            <a:avLst/>
          </a:prstGeom>
        </p:spPr>
        <p:txBody>
          <a:bodyPr vert="horz" lIns="297529" tIns="33059" rIns="165294" bIns="33059" rtlCol="0" anchor="ctr" anchorCtr="0">
            <a:noAutofit/>
          </a:bodyPr>
          <a:lstStyle>
            <a:lvl1pPr algn="l" defTabSz="914342" rtl="0" eaLnBrk="1" latinLnBrk="0" hangingPunct="1">
              <a:lnSpc>
                <a:spcPct val="85000"/>
              </a:lnSpc>
              <a:spcBef>
                <a:spcPct val="0"/>
              </a:spcBef>
              <a:buNone/>
              <a:defRPr lang="en-US" sz="2400" b="0" kern="1200" noProof="0" dirty="0">
                <a:solidFill>
                  <a:schemeClr val="tx1"/>
                </a:solidFill>
                <a:latin typeface="Arial Narrow" pitchFamily="34" charset="0"/>
                <a:ea typeface="+mj-ea"/>
                <a:cs typeface="+mj-cs"/>
              </a:defRPr>
            </a:lvl1pPr>
          </a:lstStyle>
          <a:p>
            <a:pPr marL="0" marR="0" lvl="0" indent="0" algn="l" defTabSz="914342" rtl="0" eaLnBrk="1" fontAlgn="auto" latinLnBrk="0" hangingPunct="1">
              <a:lnSpc>
                <a:spcPct val="85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Narrow" pitchFamily="34" charset="0"/>
                <a:ea typeface="+mj-ea"/>
                <a:cs typeface="+mj-cs"/>
              </a:rPr>
              <a:t>Conceptual Architecture to address business imperatives….</a:t>
            </a:r>
          </a:p>
        </p:txBody>
      </p:sp>
    </p:spTree>
    <p:extLst>
      <p:ext uri="{BB962C8B-B14F-4D97-AF65-F5344CB8AC3E}">
        <p14:creationId xmlns:p14="http://schemas.microsoft.com/office/powerpoint/2010/main" val="70477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Capgemini">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ustom 4">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pgemini_Template" id="{E2474660-005E-46D9-8542-46EDD802F41B}" vid="{E6DCCCE5-C332-42F0-8F44-B9B6529D7E15}"/>
    </a:ext>
  </a:extLst>
</a:theme>
</file>

<file path=ppt/theme/theme2.xml><?xml version="1.0" encoding="utf-8"?>
<a:theme xmlns:a="http://schemas.openxmlformats.org/drawingml/2006/main" name="1_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pgemini_Briefing_AgileSoftwareDevelopment_HFS.potx" id="{A241D9EF-0C53-4803-8B4A-8FF72E78F591}" vid="{0F7472F1-032B-45FD-93E0-7AD8B242BAB8}"/>
    </a:ext>
  </a:extLst>
</a:theme>
</file>

<file path=ppt/theme/theme3.xml><?xml version="1.0" encoding="utf-8"?>
<a:theme xmlns:a="http://schemas.openxmlformats.org/drawingml/2006/main" name="Base">
  <a:themeElements>
    <a:clrScheme name="Custom 1">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4A730A"/>
      </a:accent5>
      <a:accent6>
        <a:srgbClr val="616700"/>
      </a:accent6>
      <a:hlink>
        <a:srgbClr val="005481"/>
      </a:hlink>
      <a:folHlink>
        <a:srgbClr val="861763"/>
      </a:folHlink>
    </a:clrScheme>
    <a:fontScheme name="Custom 2">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G_Theme1" id="{BE17CDB1-975F-4958-9A7C-CA6E4873C5E1}" vid="{FC4379FA-E032-4EBE-A885-DC42D510DF60}"/>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64C266D38ED174C8F0A81C800EDC486" ma:contentTypeVersion="2" ma:contentTypeDescription="Create a new document." ma:contentTypeScope="" ma:versionID="9e415c0bfac3aaf38b5ee3d3242fc912">
  <xsd:schema xmlns:xsd="http://www.w3.org/2001/XMLSchema" xmlns:xs="http://www.w3.org/2001/XMLSchema" xmlns:p="http://schemas.microsoft.com/office/2006/metadata/properties" xmlns:ns2="faa9c420-e780-4936-8573-e4cba540ac19" targetNamespace="http://schemas.microsoft.com/office/2006/metadata/properties" ma:root="true" ma:fieldsID="4dc97a6d0dc478e013f58927c9cd2e3c" ns2:_="">
    <xsd:import namespace="faa9c420-e780-4936-8573-e4cba540ac1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a9c420-e780-4936-8573-e4cba540ac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64877-B8E4-43F3-83E9-1BC4616C602B}">
  <ds:schemaRefs>
    <ds:schemaRef ds:uri="http://schemas.microsoft.com/sharepoint/v3/contenttype/forms"/>
  </ds:schemaRefs>
</ds:datastoreItem>
</file>

<file path=customXml/itemProps2.xml><?xml version="1.0" encoding="utf-8"?>
<ds:datastoreItem xmlns:ds="http://schemas.openxmlformats.org/officeDocument/2006/customXml" ds:itemID="{AFB8F217-9CE7-412E-9480-B4671D487961}">
  <ds:schemaRefs>
    <ds:schemaRef ds:uri="http://schemas.microsoft.com/office/2006/documentManagement/types"/>
    <ds:schemaRef ds:uri="http://schemas.microsoft.com/office/infopath/2007/PartnerControls"/>
    <ds:schemaRef ds:uri="http://purl.org/dc/elements/1.1/"/>
    <ds:schemaRef ds:uri="faa9c420-e780-4936-8573-e4cba540ac19"/>
    <ds:schemaRef ds:uri="http://purl.org/dc/terms/"/>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08CDE0A7-B7BE-4E12-99E3-CD88241706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a9c420-e780-4936-8573-e4cba540ac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7</TotalTime>
  <Words>489</Words>
  <Application>Microsoft Office PowerPoint</Application>
  <PresentationFormat>Widescreen</PresentationFormat>
  <Paragraphs>138</Paragraphs>
  <Slides>5</Slides>
  <Notes>1</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5</vt:i4>
      </vt:variant>
    </vt:vector>
  </HeadingPairs>
  <TitlesOfParts>
    <vt:vector size="22" baseType="lpstr">
      <vt:lpstr>Arial</vt:lpstr>
      <vt:lpstr>Arial Narrow</vt:lpstr>
      <vt:lpstr>Calibri</vt:lpstr>
      <vt:lpstr>Calibri Light</vt:lpstr>
      <vt:lpstr>Century Gothic</vt:lpstr>
      <vt:lpstr>Franklin Gothic Book</vt:lpstr>
      <vt:lpstr>Roboto</vt:lpstr>
      <vt:lpstr>Ubuntu</vt:lpstr>
      <vt:lpstr>Verdana</vt:lpstr>
      <vt:lpstr>Verdana (Body)</vt:lpstr>
      <vt:lpstr>Webdings</vt:lpstr>
      <vt:lpstr>Wingdings</vt:lpstr>
      <vt:lpstr>Capgemini 2017_Cover slides</vt:lpstr>
      <vt:lpstr>1_Capgemini Master</vt:lpstr>
      <vt:lpstr>Base</vt:lpstr>
      <vt:lpstr>1_Office Theme</vt:lpstr>
      <vt:lpstr>think-cell Slide</vt:lpstr>
      <vt:lpstr>PowerPoint Presentation</vt:lpstr>
      <vt:lpstr>Out Understanding – Current State</vt:lpstr>
      <vt:lpstr>Additional business imperatives that need to be addressed as we move forward…</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gare, Padmakar</dc:creator>
  <cp:lastModifiedBy>Adam, Aamer</cp:lastModifiedBy>
  <cp:revision>4</cp:revision>
  <dcterms:created xsi:type="dcterms:W3CDTF">2020-06-10T02:04:10Z</dcterms:created>
  <dcterms:modified xsi:type="dcterms:W3CDTF">2021-02-12T01:5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4C266D38ED174C8F0A81C800EDC486</vt:lpwstr>
  </property>
</Properties>
</file>